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sldIdLst>
    <p:sldId id="2147471524" r:id="rId5"/>
    <p:sldId id="381" r:id="rId6"/>
    <p:sldId id="357" r:id="rId7"/>
    <p:sldId id="392" r:id="rId8"/>
    <p:sldId id="2147478890" r:id="rId9"/>
    <p:sldId id="2147471523" r:id="rId10"/>
    <p:sldId id="2147478889" r:id="rId11"/>
    <p:sldId id="383" r:id="rId1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757D21-A35E-48B7-AE07-463131BD362A}" v="56" dt="2026-04-24T08:05:11.2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5" d="100"/>
          <a:sy n="95" d="100"/>
        </p:scale>
        <p:origin x="66" y="2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 Menzel" userId="51561353-c656-4223-b5db-5e0cf32b0687" providerId="ADAL" clId="{02D92836-6A36-49D4-863E-3905A20CA6DE}"/>
    <pc:docChg chg="undo custSel addSld delSld modSld sldOrd">
      <pc:chgData name="Christoph Menzel" userId="51561353-c656-4223-b5db-5e0cf32b0687" providerId="ADAL" clId="{02D92836-6A36-49D4-863E-3905A20CA6DE}" dt="2026-04-24T08:05:28.755" v="815" actId="6549"/>
      <pc:docMkLst>
        <pc:docMk/>
      </pc:docMkLst>
      <pc:sldChg chg="del">
        <pc:chgData name="Christoph Menzel" userId="51561353-c656-4223-b5db-5e0cf32b0687" providerId="ADAL" clId="{02D92836-6A36-49D4-863E-3905A20CA6DE}" dt="2026-04-23T09:28:33.541" v="3" actId="47"/>
        <pc:sldMkLst>
          <pc:docMk/>
          <pc:sldMk cId="3123476240" sldId="346"/>
        </pc:sldMkLst>
      </pc:sldChg>
      <pc:sldChg chg="del">
        <pc:chgData name="Christoph Menzel" userId="51561353-c656-4223-b5db-5e0cf32b0687" providerId="ADAL" clId="{02D92836-6A36-49D4-863E-3905A20CA6DE}" dt="2026-04-23T09:28:17.003" v="1" actId="47"/>
        <pc:sldMkLst>
          <pc:docMk/>
          <pc:sldMk cId="349368912" sldId="353"/>
        </pc:sldMkLst>
      </pc:sldChg>
      <pc:sldChg chg="del">
        <pc:chgData name="Christoph Menzel" userId="51561353-c656-4223-b5db-5e0cf32b0687" providerId="ADAL" clId="{02D92836-6A36-49D4-863E-3905A20CA6DE}" dt="2026-04-23T09:28:04.383" v="0" actId="47"/>
        <pc:sldMkLst>
          <pc:docMk/>
          <pc:sldMk cId="63402017" sldId="354"/>
        </pc:sldMkLst>
      </pc:sldChg>
      <pc:sldChg chg="modSp ord">
        <pc:chgData name="Christoph Menzel" userId="51561353-c656-4223-b5db-5e0cf32b0687" providerId="ADAL" clId="{02D92836-6A36-49D4-863E-3905A20CA6DE}" dt="2026-04-23T10:05:39.003" v="707"/>
        <pc:sldMkLst>
          <pc:docMk/>
          <pc:sldMk cId="3054852739" sldId="357"/>
        </pc:sldMkLst>
        <pc:spChg chg="mod">
          <ac:chgData name="Christoph Menzel" userId="51561353-c656-4223-b5db-5e0cf32b0687" providerId="ADAL" clId="{02D92836-6A36-49D4-863E-3905A20CA6DE}" dt="2026-04-23T10:05:39.003" v="707"/>
          <ac:spMkLst>
            <pc:docMk/>
            <pc:sldMk cId="3054852739" sldId="357"/>
            <ac:spMk id="4" creationId="{14EC77CF-D749-618F-BE90-A10381AD82C5}"/>
          </ac:spMkLst>
        </pc:spChg>
      </pc:sldChg>
      <pc:sldChg chg="modSp">
        <pc:chgData name="Christoph Menzel" userId="51561353-c656-4223-b5db-5e0cf32b0687" providerId="ADAL" clId="{02D92836-6A36-49D4-863E-3905A20CA6DE}" dt="2026-04-23T10:05:43.105" v="708"/>
        <pc:sldMkLst>
          <pc:docMk/>
          <pc:sldMk cId="3704352817" sldId="381"/>
        </pc:sldMkLst>
        <pc:spChg chg="mod">
          <ac:chgData name="Christoph Menzel" userId="51561353-c656-4223-b5db-5e0cf32b0687" providerId="ADAL" clId="{02D92836-6A36-49D4-863E-3905A20CA6DE}" dt="2026-04-23T10:05:43.105" v="708"/>
          <ac:spMkLst>
            <pc:docMk/>
            <pc:sldMk cId="3704352817" sldId="381"/>
            <ac:spMk id="4" creationId="{14EC77CF-D749-618F-BE90-A10381AD82C5}"/>
          </ac:spMkLst>
        </pc:spChg>
      </pc:sldChg>
      <pc:sldChg chg="modSp mod">
        <pc:chgData name="Christoph Menzel" userId="51561353-c656-4223-b5db-5e0cf32b0687" providerId="ADAL" clId="{02D92836-6A36-49D4-863E-3905A20CA6DE}" dt="2026-04-24T08:05:28.755" v="815" actId="6549"/>
        <pc:sldMkLst>
          <pc:docMk/>
          <pc:sldMk cId="2655148951" sldId="383"/>
        </pc:sldMkLst>
        <pc:spChg chg="mod">
          <ac:chgData name="Christoph Menzel" userId="51561353-c656-4223-b5db-5e0cf32b0687" providerId="ADAL" clId="{02D92836-6A36-49D4-863E-3905A20CA6DE}" dt="2026-04-24T08:05:28.755" v="815" actId="6549"/>
          <ac:spMkLst>
            <pc:docMk/>
            <pc:sldMk cId="2655148951" sldId="383"/>
            <ac:spMk id="6" creationId="{0093ED1E-17ED-4C75-9D2C-4832CEFED98E}"/>
          </ac:spMkLst>
        </pc:spChg>
      </pc:sldChg>
      <pc:sldChg chg="del">
        <pc:chgData name="Christoph Menzel" userId="51561353-c656-4223-b5db-5e0cf32b0687" providerId="ADAL" clId="{02D92836-6A36-49D4-863E-3905A20CA6DE}" dt="2026-04-23T09:28:20.046" v="2" actId="47"/>
        <pc:sldMkLst>
          <pc:docMk/>
          <pc:sldMk cId="3699692800" sldId="391"/>
        </pc:sldMkLst>
      </pc:sldChg>
      <pc:sldChg chg="addSp delSp modSp mod">
        <pc:chgData name="Christoph Menzel" userId="51561353-c656-4223-b5db-5e0cf32b0687" providerId="ADAL" clId="{02D92836-6A36-49D4-863E-3905A20CA6DE}" dt="2026-04-23T10:05:35.410" v="706"/>
        <pc:sldMkLst>
          <pc:docMk/>
          <pc:sldMk cId="2121402648" sldId="392"/>
        </pc:sldMkLst>
        <pc:spChg chg="del">
          <ac:chgData name="Christoph Menzel" userId="51561353-c656-4223-b5db-5e0cf32b0687" providerId="ADAL" clId="{02D92836-6A36-49D4-863E-3905A20CA6DE}" dt="2026-04-23T10:04:44.403" v="692" actId="478"/>
          <ac:spMkLst>
            <pc:docMk/>
            <pc:sldMk cId="2121402648" sldId="392"/>
            <ac:spMk id="4" creationId="{7F8A2A27-332F-8E62-FC56-335C1279EA33}"/>
          </ac:spMkLst>
        </pc:spChg>
        <pc:spChg chg="mod">
          <ac:chgData name="Christoph Menzel" userId="51561353-c656-4223-b5db-5e0cf32b0687" providerId="ADAL" clId="{02D92836-6A36-49D4-863E-3905A20CA6DE}" dt="2026-04-23T09:35:28.250" v="37" actId="1076"/>
          <ac:spMkLst>
            <pc:docMk/>
            <pc:sldMk cId="2121402648" sldId="392"/>
            <ac:spMk id="45" creationId="{7C9AA0B6-5C85-8C55-5EDD-66B304115940}"/>
          </ac:spMkLst>
        </pc:spChg>
        <pc:spChg chg="add mod">
          <ac:chgData name="Christoph Menzel" userId="51561353-c656-4223-b5db-5e0cf32b0687" providerId="ADAL" clId="{02D92836-6A36-49D4-863E-3905A20CA6DE}" dt="2026-04-23T10:05:35.410" v="706"/>
          <ac:spMkLst>
            <pc:docMk/>
            <pc:sldMk cId="2121402648" sldId="392"/>
            <ac:spMk id="480" creationId="{DFEBC3E8-2EED-2D6D-054B-1E97E78CB338}"/>
          </ac:spMkLst>
        </pc:spChg>
      </pc:sldChg>
      <pc:sldChg chg="del">
        <pc:chgData name="Christoph Menzel" userId="51561353-c656-4223-b5db-5e0cf32b0687" providerId="ADAL" clId="{02D92836-6A36-49D4-863E-3905A20CA6DE}" dt="2026-04-23T09:30:41.618" v="14" actId="47"/>
        <pc:sldMkLst>
          <pc:docMk/>
          <pc:sldMk cId="229047024" sldId="2147471457"/>
        </pc:sldMkLst>
      </pc:sldChg>
      <pc:sldChg chg="del">
        <pc:chgData name="Christoph Menzel" userId="51561353-c656-4223-b5db-5e0cf32b0687" providerId="ADAL" clId="{02D92836-6A36-49D4-863E-3905A20CA6DE}" dt="2026-04-23T09:29:32.847" v="7" actId="47"/>
        <pc:sldMkLst>
          <pc:docMk/>
          <pc:sldMk cId="1276054573" sldId="2147471460"/>
        </pc:sldMkLst>
      </pc:sldChg>
      <pc:sldChg chg="del">
        <pc:chgData name="Christoph Menzel" userId="51561353-c656-4223-b5db-5e0cf32b0687" providerId="ADAL" clId="{02D92836-6A36-49D4-863E-3905A20CA6DE}" dt="2026-04-23T09:29:16.417" v="6" actId="47"/>
        <pc:sldMkLst>
          <pc:docMk/>
          <pc:sldMk cId="385763518" sldId="2147471465"/>
        </pc:sldMkLst>
      </pc:sldChg>
      <pc:sldChg chg="del">
        <pc:chgData name="Christoph Menzel" userId="51561353-c656-4223-b5db-5e0cf32b0687" providerId="ADAL" clId="{02D92836-6A36-49D4-863E-3905A20CA6DE}" dt="2026-04-23T09:30:04.187" v="10" actId="47"/>
        <pc:sldMkLst>
          <pc:docMk/>
          <pc:sldMk cId="2820978028" sldId="2147471467"/>
        </pc:sldMkLst>
      </pc:sldChg>
      <pc:sldChg chg="addSp delSp modSp mod ord">
        <pc:chgData name="Christoph Menzel" userId="51561353-c656-4223-b5db-5e0cf32b0687" providerId="ADAL" clId="{02D92836-6A36-49D4-863E-3905A20CA6DE}" dt="2026-04-23T10:05:22.217" v="703" actId="113"/>
        <pc:sldMkLst>
          <pc:docMk/>
          <pc:sldMk cId="1303822649" sldId="2147471523"/>
        </pc:sldMkLst>
        <pc:spChg chg="mod">
          <ac:chgData name="Christoph Menzel" userId="51561353-c656-4223-b5db-5e0cf32b0687" providerId="ADAL" clId="{02D92836-6A36-49D4-863E-3905A20CA6DE}" dt="2026-04-23T10:05:22.217" v="703" actId="113"/>
          <ac:spMkLst>
            <pc:docMk/>
            <pc:sldMk cId="1303822649" sldId="2147471523"/>
            <ac:spMk id="3" creationId="{4E719027-8503-2CC8-6577-0C400B2F9BCF}"/>
          </ac:spMkLst>
        </pc:spChg>
        <pc:spChg chg="mod">
          <ac:chgData name="Christoph Menzel" userId="51561353-c656-4223-b5db-5e0cf32b0687" providerId="ADAL" clId="{02D92836-6A36-49D4-863E-3905A20CA6DE}" dt="2026-04-23T09:47:04.646" v="326"/>
          <ac:spMkLst>
            <pc:docMk/>
            <pc:sldMk cId="1303822649" sldId="2147471523"/>
            <ac:spMk id="10" creationId="{A900C6B7-F329-5065-6F62-48C37FC1ADF7}"/>
          </ac:spMkLst>
        </pc:spChg>
        <pc:spChg chg="mod">
          <ac:chgData name="Christoph Menzel" userId="51561353-c656-4223-b5db-5e0cf32b0687" providerId="ADAL" clId="{02D92836-6A36-49D4-863E-3905A20CA6DE}" dt="2026-04-23T09:46:40.101" v="277" actId="14100"/>
          <ac:spMkLst>
            <pc:docMk/>
            <pc:sldMk cId="1303822649" sldId="2147471523"/>
            <ac:spMk id="12" creationId="{B1E2A07F-4F5A-5CE5-B05F-8A6077410B20}"/>
          </ac:spMkLst>
        </pc:spChg>
        <pc:spChg chg="mod">
          <ac:chgData name="Christoph Menzel" userId="51561353-c656-4223-b5db-5e0cf32b0687" providerId="ADAL" clId="{02D92836-6A36-49D4-863E-3905A20CA6DE}" dt="2026-04-23T09:47:04.646" v="326"/>
          <ac:spMkLst>
            <pc:docMk/>
            <pc:sldMk cId="1303822649" sldId="2147471523"/>
            <ac:spMk id="13" creationId="{71BD3D7D-4309-FD55-2353-F7D706804B54}"/>
          </ac:spMkLst>
        </pc:spChg>
        <pc:spChg chg="mod">
          <ac:chgData name="Christoph Menzel" userId="51561353-c656-4223-b5db-5e0cf32b0687" providerId="ADAL" clId="{02D92836-6A36-49D4-863E-3905A20CA6DE}" dt="2026-04-23T09:47:04.646" v="326"/>
          <ac:spMkLst>
            <pc:docMk/>
            <pc:sldMk cId="1303822649" sldId="2147471523"/>
            <ac:spMk id="20" creationId="{178377BA-877B-2561-5F17-52D5494EE961}"/>
          </ac:spMkLst>
        </pc:spChg>
        <pc:spChg chg="mod">
          <ac:chgData name="Christoph Menzel" userId="51561353-c656-4223-b5db-5e0cf32b0687" providerId="ADAL" clId="{02D92836-6A36-49D4-863E-3905A20CA6DE}" dt="2026-04-23T09:47:04.646" v="326"/>
          <ac:spMkLst>
            <pc:docMk/>
            <pc:sldMk cId="1303822649" sldId="2147471523"/>
            <ac:spMk id="27" creationId="{61198F67-DBCB-C31C-DD3E-4ACE1D9E8FDA}"/>
          </ac:spMkLst>
        </pc:spChg>
        <pc:spChg chg="mod">
          <ac:chgData name="Christoph Menzel" userId="51561353-c656-4223-b5db-5e0cf32b0687" providerId="ADAL" clId="{02D92836-6A36-49D4-863E-3905A20CA6DE}" dt="2026-04-23T09:47:51.557" v="396" actId="1036"/>
          <ac:spMkLst>
            <pc:docMk/>
            <pc:sldMk cId="1303822649" sldId="2147471523"/>
            <ac:spMk id="28" creationId="{E18D87B1-36C9-C653-2415-C50896A1C140}"/>
          </ac:spMkLst>
        </pc:spChg>
        <pc:spChg chg="mod">
          <ac:chgData name="Christoph Menzel" userId="51561353-c656-4223-b5db-5e0cf32b0687" providerId="ADAL" clId="{02D92836-6A36-49D4-863E-3905A20CA6DE}" dt="2026-04-23T09:47:20.786" v="373" actId="20577"/>
          <ac:spMkLst>
            <pc:docMk/>
            <pc:sldMk cId="1303822649" sldId="2147471523"/>
            <ac:spMk id="57" creationId="{20828589-A045-196A-16BD-141226423B36}"/>
          </ac:spMkLst>
        </pc:spChg>
        <pc:spChg chg="mod">
          <ac:chgData name="Christoph Menzel" userId="51561353-c656-4223-b5db-5e0cf32b0687" providerId="ADAL" clId="{02D92836-6A36-49D4-863E-3905A20CA6DE}" dt="2026-04-23T09:48:54.527" v="411" actId="1035"/>
          <ac:spMkLst>
            <pc:docMk/>
            <pc:sldMk cId="1303822649" sldId="2147471523"/>
            <ac:spMk id="58" creationId="{B2D837A0-8854-E8B9-E145-015B92F2E57A}"/>
          </ac:spMkLst>
        </pc:spChg>
        <pc:spChg chg="del mod">
          <ac:chgData name="Christoph Menzel" userId="51561353-c656-4223-b5db-5e0cf32b0687" providerId="ADAL" clId="{02D92836-6A36-49D4-863E-3905A20CA6DE}" dt="2026-04-23T09:48:21.786" v="400" actId="478"/>
          <ac:spMkLst>
            <pc:docMk/>
            <pc:sldMk cId="1303822649" sldId="2147471523"/>
            <ac:spMk id="59" creationId="{9A3B4B39-F879-4F4A-A508-D751FE7DC22E}"/>
          </ac:spMkLst>
        </pc:spChg>
        <pc:spChg chg="add del mod">
          <ac:chgData name="Christoph Menzel" userId="51561353-c656-4223-b5db-5e0cf32b0687" providerId="ADAL" clId="{02D92836-6A36-49D4-863E-3905A20CA6DE}" dt="2026-04-23T09:48:31.489" v="402" actId="478"/>
          <ac:spMkLst>
            <pc:docMk/>
            <pc:sldMk cId="1303822649" sldId="2147471523"/>
            <ac:spMk id="60" creationId="{A456AFA1-BC8A-81F5-F83D-2A61415B01B9}"/>
          </ac:spMkLst>
        </pc:spChg>
        <pc:grpChg chg="add mod">
          <ac:chgData name="Christoph Menzel" userId="51561353-c656-4223-b5db-5e0cf32b0687" providerId="ADAL" clId="{02D92836-6A36-49D4-863E-3905A20CA6DE}" dt="2026-04-23T09:47:04.646" v="326"/>
          <ac:grpSpMkLst>
            <pc:docMk/>
            <pc:sldMk cId="1303822649" sldId="2147471523"/>
            <ac:grpSpMk id="6" creationId="{C2D48B65-FBC6-1F19-59EA-DA0927ADE7B8}"/>
          </ac:grpSpMkLst>
        </pc:grpChg>
        <pc:grpChg chg="mod">
          <ac:chgData name="Christoph Menzel" userId="51561353-c656-4223-b5db-5e0cf32b0687" providerId="ADAL" clId="{02D92836-6A36-49D4-863E-3905A20CA6DE}" dt="2026-04-23T09:46:48.748" v="290" actId="1035"/>
          <ac:grpSpMkLst>
            <pc:docMk/>
            <pc:sldMk cId="1303822649" sldId="2147471523"/>
            <ac:grpSpMk id="19" creationId="{2BD3454D-2DB9-3538-3BB7-81F4853CEEB7}"/>
          </ac:grpSpMkLst>
        </pc:grpChg>
        <pc:grpChg chg="mod">
          <ac:chgData name="Christoph Menzel" userId="51561353-c656-4223-b5db-5e0cf32b0687" providerId="ADAL" clId="{02D92836-6A36-49D4-863E-3905A20CA6DE}" dt="2026-04-23T09:46:45.122" v="284" actId="1035"/>
          <ac:grpSpMkLst>
            <pc:docMk/>
            <pc:sldMk cId="1303822649" sldId="2147471523"/>
            <ac:grpSpMk id="26" creationId="{9B9FC573-EB04-FC89-1CC2-83E1F38E8F46}"/>
          </ac:grpSpMkLst>
        </pc:grpChg>
        <pc:grpChg chg="mod">
          <ac:chgData name="Christoph Menzel" userId="51561353-c656-4223-b5db-5e0cf32b0687" providerId="ADAL" clId="{02D92836-6A36-49D4-863E-3905A20CA6DE}" dt="2026-04-23T09:46:52.287" v="299" actId="1035"/>
          <ac:grpSpMkLst>
            <pc:docMk/>
            <pc:sldMk cId="1303822649" sldId="2147471523"/>
            <ac:grpSpMk id="35" creationId="{B593D9A9-9D6E-A04B-BBB1-C9156BA9D83B}"/>
          </ac:grpSpMkLst>
        </pc:grpChg>
        <pc:grpChg chg="mod">
          <ac:chgData name="Christoph Menzel" userId="51561353-c656-4223-b5db-5e0cf32b0687" providerId="ADAL" clId="{02D92836-6A36-49D4-863E-3905A20CA6DE}" dt="2026-04-23T09:46:57.964" v="320" actId="1036"/>
          <ac:grpSpMkLst>
            <pc:docMk/>
            <pc:sldMk cId="1303822649" sldId="2147471523"/>
            <ac:grpSpMk id="49" creationId="{2002DE1D-6A57-824A-20A4-F0C2C7BDA4FA}"/>
          </ac:grpSpMkLst>
        </pc:grpChg>
        <pc:grpChg chg="add mod">
          <ac:chgData name="Christoph Menzel" userId="51561353-c656-4223-b5db-5e0cf32b0687" providerId="ADAL" clId="{02D92836-6A36-49D4-863E-3905A20CA6DE}" dt="2026-04-23T09:47:16.581" v="368" actId="1035"/>
          <ac:grpSpMkLst>
            <pc:docMk/>
            <pc:sldMk cId="1303822649" sldId="2147471523"/>
            <ac:grpSpMk id="50" creationId="{CC8A6835-2000-D592-8C28-07D4D03FC6AB}"/>
          </ac:grpSpMkLst>
        </pc:grpChg>
        <pc:grpChg chg="mod">
          <ac:chgData name="Christoph Menzel" userId="51561353-c656-4223-b5db-5e0cf32b0687" providerId="ADAL" clId="{02D92836-6A36-49D4-863E-3905A20CA6DE}" dt="2026-04-23T09:47:03.174" v="325" actId="1036"/>
          <ac:grpSpMkLst>
            <pc:docMk/>
            <pc:sldMk cId="1303822649" sldId="2147471523"/>
            <ac:grpSpMk id="56" creationId="{A77CD8E4-36D0-9551-02E0-B0946CAFC901}"/>
          </ac:grpSpMkLst>
        </pc:grpChg>
        <pc:picChg chg="mod">
          <ac:chgData name="Christoph Menzel" userId="51561353-c656-4223-b5db-5e0cf32b0687" providerId="ADAL" clId="{02D92836-6A36-49D4-863E-3905A20CA6DE}" dt="2026-04-23T09:47:07.292" v="328" actId="1076"/>
          <ac:picMkLst>
            <pc:docMk/>
            <pc:sldMk cId="1303822649" sldId="2147471523"/>
            <ac:picMk id="11" creationId="{C4C4ECC1-DCBE-BBD6-1155-AEFFC6701A80}"/>
          </ac:picMkLst>
        </pc:picChg>
        <pc:picChg chg="mod">
          <ac:chgData name="Christoph Menzel" userId="51561353-c656-4223-b5db-5e0cf32b0687" providerId="ADAL" clId="{02D92836-6A36-49D4-863E-3905A20CA6DE}" dt="2026-04-23T09:47:04.646" v="326"/>
          <ac:picMkLst>
            <pc:docMk/>
            <pc:sldMk cId="1303822649" sldId="2147471523"/>
            <ac:picMk id="36" creationId="{D27B618E-C33D-FB4C-D3B1-D76D80421A5D}"/>
          </ac:picMkLst>
        </pc:picChg>
        <pc:picChg chg="del mod">
          <ac:chgData name="Christoph Menzel" userId="51561353-c656-4223-b5db-5e0cf32b0687" providerId="ADAL" clId="{02D92836-6A36-49D4-863E-3905A20CA6DE}" dt="2026-04-23T09:48:39.784" v="403" actId="478"/>
          <ac:picMkLst>
            <pc:docMk/>
            <pc:sldMk cId="1303822649" sldId="2147471523"/>
            <ac:picMk id="61" creationId="{0086D254-6FCB-EB8A-2298-A5365932DF55}"/>
          </ac:picMkLst>
        </pc:picChg>
        <pc:picChg chg="add mod">
          <ac:chgData name="Christoph Menzel" userId="51561353-c656-4223-b5db-5e0cf32b0687" providerId="ADAL" clId="{02D92836-6A36-49D4-863E-3905A20CA6DE}" dt="2026-04-23T09:48:46.575" v="410" actId="1038"/>
          <ac:picMkLst>
            <pc:docMk/>
            <pc:sldMk cId="1303822649" sldId="2147471523"/>
            <ac:picMk id="63" creationId="{012B0EB3-E240-67EA-CE08-F0BC885627F5}"/>
          </ac:picMkLst>
        </pc:picChg>
      </pc:sldChg>
      <pc:sldChg chg="addSp modSp mod">
        <pc:chgData name="Christoph Menzel" userId="51561353-c656-4223-b5db-5e0cf32b0687" providerId="ADAL" clId="{02D92836-6A36-49D4-863E-3905A20CA6DE}" dt="2026-04-24T08:03:52.570" v="760" actId="1035"/>
        <pc:sldMkLst>
          <pc:docMk/>
          <pc:sldMk cId="1072685790" sldId="2147471524"/>
        </pc:sldMkLst>
        <pc:spChg chg="mod">
          <ac:chgData name="Christoph Menzel" userId="51561353-c656-4223-b5db-5e0cf32b0687" providerId="ADAL" clId="{02D92836-6A36-49D4-863E-3905A20CA6DE}" dt="2026-04-24T08:03:22.313" v="727" actId="1037"/>
          <ac:spMkLst>
            <pc:docMk/>
            <pc:sldMk cId="1072685790" sldId="2147471524"/>
            <ac:spMk id="2" creationId="{451FE9D0-9D75-A54D-AA6B-D8F318AE9883}"/>
          </ac:spMkLst>
        </pc:spChg>
        <pc:spChg chg="add mod">
          <ac:chgData name="Christoph Menzel" userId="51561353-c656-4223-b5db-5e0cf32b0687" providerId="ADAL" clId="{02D92836-6A36-49D4-863E-3905A20CA6DE}" dt="2026-04-24T08:03:47.258" v="756" actId="1038"/>
          <ac:spMkLst>
            <pc:docMk/>
            <pc:sldMk cId="1072685790" sldId="2147471524"/>
            <ac:spMk id="7" creationId="{E18C61AB-B1AE-2249-6A46-84119684A6CD}"/>
          </ac:spMkLst>
        </pc:spChg>
        <pc:picChg chg="mod">
          <ac:chgData name="Christoph Menzel" userId="51561353-c656-4223-b5db-5e0cf32b0687" providerId="ADAL" clId="{02D92836-6A36-49D4-863E-3905A20CA6DE}" dt="2026-04-24T08:03:52.570" v="760" actId="1035"/>
          <ac:picMkLst>
            <pc:docMk/>
            <pc:sldMk cId="1072685790" sldId="2147471524"/>
            <ac:picMk id="3" creationId="{F320D197-A6ED-621E-5866-C461E225B337}"/>
          </ac:picMkLst>
        </pc:picChg>
      </pc:sldChg>
      <pc:sldChg chg="del">
        <pc:chgData name="Christoph Menzel" userId="51561353-c656-4223-b5db-5e0cf32b0687" providerId="ADAL" clId="{02D92836-6A36-49D4-863E-3905A20CA6DE}" dt="2026-04-23T09:30:13.183" v="11" actId="47"/>
        <pc:sldMkLst>
          <pc:docMk/>
          <pc:sldMk cId="1860489987" sldId="2147473246"/>
        </pc:sldMkLst>
      </pc:sldChg>
      <pc:sldChg chg="modSp ord">
        <pc:chgData name="Christoph Menzel" userId="51561353-c656-4223-b5db-5e0cf32b0687" providerId="ADAL" clId="{02D92836-6A36-49D4-863E-3905A20CA6DE}" dt="2026-04-23T10:05:27.544" v="704"/>
        <pc:sldMkLst>
          <pc:docMk/>
          <pc:sldMk cId="1140787958" sldId="2147478889"/>
        </pc:sldMkLst>
        <pc:spChg chg="mod">
          <ac:chgData name="Christoph Menzel" userId="51561353-c656-4223-b5db-5e0cf32b0687" providerId="ADAL" clId="{02D92836-6A36-49D4-863E-3905A20CA6DE}" dt="2026-04-23T10:05:27.544" v="704"/>
          <ac:spMkLst>
            <pc:docMk/>
            <pc:sldMk cId="1140787958" sldId="2147478889"/>
            <ac:spMk id="3" creationId="{BFA97548-12EA-12C1-1092-CF2FB812B5D9}"/>
          </ac:spMkLst>
        </pc:spChg>
      </pc:sldChg>
      <pc:sldChg chg="addSp delSp modSp new mod">
        <pc:chgData name="Christoph Menzel" userId="51561353-c656-4223-b5db-5e0cf32b0687" providerId="ADAL" clId="{02D92836-6A36-49D4-863E-3905A20CA6DE}" dt="2026-04-23T14:39:15.021" v="710" actId="2085"/>
        <pc:sldMkLst>
          <pc:docMk/>
          <pc:sldMk cId="2944340841" sldId="2147478890"/>
        </pc:sldMkLst>
        <pc:spChg chg="mod">
          <ac:chgData name="Christoph Menzel" userId="51561353-c656-4223-b5db-5e0cf32b0687" providerId="ADAL" clId="{02D92836-6A36-49D4-863E-3905A20CA6DE}" dt="2026-04-23T10:02:23.930" v="642" actId="20577"/>
          <ac:spMkLst>
            <pc:docMk/>
            <pc:sldMk cId="2944340841" sldId="2147478890"/>
            <ac:spMk id="2" creationId="{3BF35AE2-7730-ED6D-C188-5E6B1B0ACABA}"/>
          </ac:spMkLst>
        </pc:spChg>
        <pc:spChg chg="mod">
          <ac:chgData name="Christoph Menzel" userId="51561353-c656-4223-b5db-5e0cf32b0687" providerId="ADAL" clId="{02D92836-6A36-49D4-863E-3905A20CA6DE}" dt="2026-04-23T10:05:30.481" v="705"/>
          <ac:spMkLst>
            <pc:docMk/>
            <pc:sldMk cId="2944340841" sldId="2147478890"/>
            <ac:spMk id="4" creationId="{F4A7843F-EC96-684F-3AF9-A3D9F29B713B}"/>
          </ac:spMkLst>
        </pc:spChg>
        <pc:spChg chg="mod">
          <ac:chgData name="Christoph Menzel" userId="51561353-c656-4223-b5db-5e0cf32b0687" providerId="ADAL" clId="{02D92836-6A36-49D4-863E-3905A20CA6DE}" dt="2026-04-23T09:31:22.504" v="35" actId="20577"/>
          <ac:spMkLst>
            <pc:docMk/>
            <pc:sldMk cId="2944340841" sldId="2147478890"/>
            <ac:spMk id="6" creationId="{4357D2E9-6CB1-58B6-9378-A938E181564F}"/>
          </ac:spMkLst>
        </pc:spChg>
        <pc:spChg chg="mod">
          <ac:chgData name="Christoph Menzel" userId="51561353-c656-4223-b5db-5e0cf32b0687" providerId="ADAL" clId="{02D92836-6A36-49D4-863E-3905A20CA6DE}" dt="2026-04-23T09:35:35.832" v="38"/>
          <ac:spMkLst>
            <pc:docMk/>
            <pc:sldMk cId="2944340841" sldId="2147478890"/>
            <ac:spMk id="32" creationId="{1232B957-D63A-8C8B-A736-6BE1115253CE}"/>
          </ac:spMkLst>
        </pc:spChg>
        <pc:spChg chg="mod">
          <ac:chgData name="Christoph Menzel" userId="51561353-c656-4223-b5db-5e0cf32b0687" providerId="ADAL" clId="{02D92836-6A36-49D4-863E-3905A20CA6DE}" dt="2026-04-23T09:35:35.832" v="38"/>
          <ac:spMkLst>
            <pc:docMk/>
            <pc:sldMk cId="2944340841" sldId="2147478890"/>
            <ac:spMk id="33" creationId="{74328D2A-8074-CFCD-D268-705DE3A72221}"/>
          </ac:spMkLst>
        </pc:spChg>
        <pc:spChg chg="mod">
          <ac:chgData name="Christoph Menzel" userId="51561353-c656-4223-b5db-5e0cf32b0687" providerId="ADAL" clId="{02D92836-6A36-49D4-863E-3905A20CA6DE}" dt="2026-04-23T09:35:35.832" v="38"/>
          <ac:spMkLst>
            <pc:docMk/>
            <pc:sldMk cId="2944340841" sldId="2147478890"/>
            <ac:spMk id="41" creationId="{910624D2-14E7-F322-937E-FB6C8F31010A}"/>
          </ac:spMkLst>
        </pc:spChg>
        <pc:spChg chg="mod">
          <ac:chgData name="Christoph Menzel" userId="51561353-c656-4223-b5db-5e0cf32b0687" providerId="ADAL" clId="{02D92836-6A36-49D4-863E-3905A20CA6DE}" dt="2026-04-23T09:35:35.832" v="38"/>
          <ac:spMkLst>
            <pc:docMk/>
            <pc:sldMk cId="2944340841" sldId="2147478890"/>
            <ac:spMk id="45" creationId="{E8C299D6-0252-9AC0-9515-87E9B735EC6B}"/>
          </ac:spMkLst>
        </pc:spChg>
        <pc:spChg chg="mod">
          <ac:chgData name="Christoph Menzel" userId="51561353-c656-4223-b5db-5e0cf32b0687" providerId="ADAL" clId="{02D92836-6A36-49D4-863E-3905A20CA6DE}" dt="2026-04-23T09:35:35.832" v="38"/>
          <ac:spMkLst>
            <pc:docMk/>
            <pc:sldMk cId="2944340841" sldId="2147478890"/>
            <ac:spMk id="49" creationId="{EE9332FC-47D6-EBCE-041C-04E89654E9D9}"/>
          </ac:spMkLst>
        </pc:spChg>
        <pc:spChg chg="mod">
          <ac:chgData name="Christoph Menzel" userId="51561353-c656-4223-b5db-5e0cf32b0687" providerId="ADAL" clId="{02D92836-6A36-49D4-863E-3905A20CA6DE}" dt="2026-04-23T09:35:35.832" v="38"/>
          <ac:spMkLst>
            <pc:docMk/>
            <pc:sldMk cId="2944340841" sldId="2147478890"/>
            <ac:spMk id="52" creationId="{C0E873A6-1238-74EF-FE4B-B5A3BF68A391}"/>
          </ac:spMkLst>
        </pc:spChg>
        <pc:spChg chg="mod">
          <ac:chgData name="Christoph Menzel" userId="51561353-c656-4223-b5db-5e0cf32b0687" providerId="ADAL" clId="{02D92836-6A36-49D4-863E-3905A20CA6DE}" dt="2026-04-23T09:35:35.832" v="38"/>
          <ac:spMkLst>
            <pc:docMk/>
            <pc:sldMk cId="2944340841" sldId="2147478890"/>
            <ac:spMk id="53" creationId="{B729F507-4E97-9574-AD49-D42BDBB184B7}"/>
          </ac:spMkLst>
        </pc:spChg>
        <pc:spChg chg="mod">
          <ac:chgData name="Christoph Menzel" userId="51561353-c656-4223-b5db-5e0cf32b0687" providerId="ADAL" clId="{02D92836-6A36-49D4-863E-3905A20CA6DE}" dt="2026-04-23T09:35:35.832" v="38"/>
          <ac:spMkLst>
            <pc:docMk/>
            <pc:sldMk cId="2944340841" sldId="2147478890"/>
            <ac:spMk id="62" creationId="{10602D42-A325-0F55-6F03-03E6A4D11917}"/>
          </ac:spMkLst>
        </pc:spChg>
        <pc:spChg chg="mod">
          <ac:chgData name="Christoph Menzel" userId="51561353-c656-4223-b5db-5e0cf32b0687" providerId="ADAL" clId="{02D92836-6A36-49D4-863E-3905A20CA6DE}" dt="2026-04-23T09:35:35.832" v="38"/>
          <ac:spMkLst>
            <pc:docMk/>
            <pc:sldMk cId="2944340841" sldId="2147478890"/>
            <ac:spMk id="65" creationId="{18E42F73-2955-EBA3-A7FF-AC8EEA0432B1}"/>
          </ac:spMkLst>
        </pc:spChg>
        <pc:spChg chg="mod">
          <ac:chgData name="Christoph Menzel" userId="51561353-c656-4223-b5db-5e0cf32b0687" providerId="ADAL" clId="{02D92836-6A36-49D4-863E-3905A20CA6DE}" dt="2026-04-23T09:35:35.832" v="38"/>
          <ac:spMkLst>
            <pc:docMk/>
            <pc:sldMk cId="2944340841" sldId="2147478890"/>
            <ac:spMk id="72" creationId="{722EAF05-260E-6BA7-8651-A0F97DEAFA85}"/>
          </ac:spMkLst>
        </pc:spChg>
        <pc:spChg chg="add mod">
          <ac:chgData name="Christoph Menzel" userId="51561353-c656-4223-b5db-5e0cf32b0687" providerId="ADAL" clId="{02D92836-6A36-49D4-863E-3905A20CA6DE}" dt="2026-04-23T09:42:19.928" v="131" actId="1076"/>
          <ac:spMkLst>
            <pc:docMk/>
            <pc:sldMk cId="2944340841" sldId="2147478890"/>
            <ac:spMk id="86" creationId="{FE99CA51-4499-CC6C-2075-209E0BD09539}"/>
          </ac:spMkLst>
        </pc:spChg>
        <pc:spChg chg="add mod">
          <ac:chgData name="Christoph Menzel" userId="51561353-c656-4223-b5db-5e0cf32b0687" providerId="ADAL" clId="{02D92836-6A36-49D4-863E-3905A20CA6DE}" dt="2026-04-23T09:37:49.993" v="64" actId="1076"/>
          <ac:spMkLst>
            <pc:docMk/>
            <pc:sldMk cId="2944340841" sldId="2147478890"/>
            <ac:spMk id="87" creationId="{E3BDA087-9806-7C4D-0C56-F20977424F01}"/>
          </ac:spMkLst>
        </pc:spChg>
        <pc:spChg chg="add mod">
          <ac:chgData name="Christoph Menzel" userId="51561353-c656-4223-b5db-5e0cf32b0687" providerId="ADAL" clId="{02D92836-6A36-49D4-863E-3905A20CA6DE}" dt="2026-04-23T10:03:50.886" v="690" actId="208"/>
          <ac:spMkLst>
            <pc:docMk/>
            <pc:sldMk cId="2944340841" sldId="2147478890"/>
            <ac:spMk id="88" creationId="{9B8F23B8-9301-8F70-AF7A-27DD4A2BB259}"/>
          </ac:spMkLst>
        </pc:spChg>
        <pc:spChg chg="add del mod">
          <ac:chgData name="Christoph Menzel" userId="51561353-c656-4223-b5db-5e0cf32b0687" providerId="ADAL" clId="{02D92836-6A36-49D4-863E-3905A20CA6DE}" dt="2026-04-23T09:43:32.889" v="141" actId="478"/>
          <ac:spMkLst>
            <pc:docMk/>
            <pc:sldMk cId="2944340841" sldId="2147478890"/>
            <ac:spMk id="89" creationId="{9300F2E1-E8FE-5705-1D5A-9AB0092F88C9}"/>
          </ac:spMkLst>
        </pc:spChg>
        <pc:spChg chg="add mod">
          <ac:chgData name="Christoph Menzel" userId="51561353-c656-4223-b5db-5e0cf32b0687" providerId="ADAL" clId="{02D92836-6A36-49D4-863E-3905A20CA6DE}" dt="2026-04-23T09:44:59.422" v="180" actId="20577"/>
          <ac:spMkLst>
            <pc:docMk/>
            <pc:sldMk cId="2944340841" sldId="2147478890"/>
            <ac:spMk id="90" creationId="{EFC7E93A-695B-CFD1-12F3-E7F476AC9BF7}"/>
          </ac:spMkLst>
        </pc:spChg>
        <pc:spChg chg="add mod">
          <ac:chgData name="Christoph Menzel" userId="51561353-c656-4223-b5db-5e0cf32b0687" providerId="ADAL" clId="{02D92836-6A36-49D4-863E-3905A20CA6DE}" dt="2026-04-23T09:46:25.655" v="260" actId="20577"/>
          <ac:spMkLst>
            <pc:docMk/>
            <pc:sldMk cId="2944340841" sldId="2147478890"/>
            <ac:spMk id="96" creationId="{3255C971-E9D2-D994-1527-5137859091B7}"/>
          </ac:spMkLst>
        </pc:spChg>
        <pc:spChg chg="add mod">
          <ac:chgData name="Christoph Menzel" userId="51561353-c656-4223-b5db-5e0cf32b0687" providerId="ADAL" clId="{02D92836-6A36-49D4-863E-3905A20CA6DE}" dt="2026-04-23T09:51:48.515" v="589" actId="1036"/>
          <ac:spMkLst>
            <pc:docMk/>
            <pc:sldMk cId="2944340841" sldId="2147478890"/>
            <ac:spMk id="97" creationId="{F7741652-1962-E2E1-0A5C-B4980ED0CEB3}"/>
          </ac:spMkLst>
        </pc:spChg>
        <pc:spChg chg="add mod">
          <ac:chgData name="Christoph Menzel" userId="51561353-c656-4223-b5db-5e0cf32b0687" providerId="ADAL" clId="{02D92836-6A36-49D4-863E-3905A20CA6DE}" dt="2026-04-23T10:02:38.249" v="645" actId="20577"/>
          <ac:spMkLst>
            <pc:docMk/>
            <pc:sldMk cId="2944340841" sldId="2147478890"/>
            <ac:spMk id="98" creationId="{D85EB62A-6E2A-D1E9-0BA1-C36510EE6454}"/>
          </ac:spMkLst>
        </pc:spChg>
        <pc:grpChg chg="mod">
          <ac:chgData name="Christoph Menzel" userId="51561353-c656-4223-b5db-5e0cf32b0687" providerId="ADAL" clId="{02D92836-6A36-49D4-863E-3905A20CA6DE}" dt="2026-04-23T09:37:34.791" v="60" actId="1076"/>
          <ac:grpSpMkLst>
            <pc:docMk/>
            <pc:sldMk cId="2944340841" sldId="2147478890"/>
            <ac:grpSpMk id="8" creationId="{32BD0852-F981-5F6A-E617-99E6180EE7CB}"/>
          </ac:grpSpMkLst>
        </pc:grpChg>
        <pc:grpChg chg="mod">
          <ac:chgData name="Christoph Menzel" userId="51561353-c656-4223-b5db-5e0cf32b0687" providerId="ADAL" clId="{02D92836-6A36-49D4-863E-3905A20CA6DE}" dt="2026-04-23T09:37:34.791" v="60" actId="1076"/>
          <ac:grpSpMkLst>
            <pc:docMk/>
            <pc:sldMk cId="2944340841" sldId="2147478890"/>
            <ac:grpSpMk id="77" creationId="{D632CC1B-50F9-3810-F323-D6B102F14185}"/>
          </ac:grpSpMkLst>
        </pc:grpChg>
        <pc:picChg chg="del">
          <ac:chgData name="Christoph Menzel" userId="51561353-c656-4223-b5db-5e0cf32b0687" providerId="ADAL" clId="{02D92836-6A36-49D4-863E-3905A20CA6DE}" dt="2026-04-23T09:35:46.898" v="46" actId="478"/>
          <ac:picMkLst>
            <pc:docMk/>
            <pc:sldMk cId="2944340841" sldId="2147478890"/>
            <ac:picMk id="7" creationId="{F4960E7D-BBF3-2467-C787-DDB1F48C68BE}"/>
          </ac:picMkLst>
        </pc:picChg>
        <pc:picChg chg="add mod">
          <ac:chgData name="Christoph Menzel" userId="51561353-c656-4223-b5db-5e0cf32b0687" providerId="ADAL" clId="{02D92836-6A36-49D4-863E-3905A20CA6DE}" dt="2026-04-23T09:37:40.027" v="62" actId="14100"/>
          <ac:picMkLst>
            <pc:docMk/>
            <pc:sldMk cId="2944340841" sldId="2147478890"/>
            <ac:picMk id="81" creationId="{95A90433-37DF-0B3D-9B1B-55BD309694AB}"/>
          </ac:picMkLst>
        </pc:picChg>
        <pc:picChg chg="add del mod">
          <ac:chgData name="Christoph Menzel" userId="51561353-c656-4223-b5db-5e0cf32b0687" providerId="ADAL" clId="{02D92836-6A36-49D4-863E-3905A20CA6DE}" dt="2026-04-23T09:43:34.980" v="142" actId="478"/>
          <ac:picMkLst>
            <pc:docMk/>
            <pc:sldMk cId="2944340841" sldId="2147478890"/>
            <ac:picMk id="92" creationId="{49A7A49C-E146-57BB-E470-7D2206D89447}"/>
          </ac:picMkLst>
        </pc:picChg>
        <pc:picChg chg="add del mod">
          <ac:chgData name="Christoph Menzel" userId="51561353-c656-4223-b5db-5e0cf32b0687" providerId="ADAL" clId="{02D92836-6A36-49D4-863E-3905A20CA6DE}" dt="2026-04-23T09:43:27.600" v="139" actId="207"/>
          <ac:picMkLst>
            <pc:docMk/>
            <pc:sldMk cId="2944340841" sldId="2147478890"/>
            <ac:picMk id="93" creationId="{23D92BC2-C1FC-3CBE-C026-439097C57F43}"/>
          </ac:picMkLst>
        </pc:picChg>
        <pc:picChg chg="add del mod">
          <ac:chgData name="Christoph Menzel" userId="51561353-c656-4223-b5db-5e0cf32b0687" providerId="ADAL" clId="{02D92836-6A36-49D4-863E-3905A20CA6DE}" dt="2026-04-23T09:45:24.616" v="189" actId="478"/>
          <ac:picMkLst>
            <pc:docMk/>
            <pc:sldMk cId="2944340841" sldId="2147478890"/>
            <ac:picMk id="94" creationId="{25EACC59-9E0A-2CF1-0E00-5F42D538D7DA}"/>
          </ac:picMkLst>
        </pc:picChg>
        <pc:picChg chg="del">
          <ac:chgData name="Christoph Menzel" userId="51561353-c656-4223-b5db-5e0cf32b0687" providerId="ADAL" clId="{02D92836-6A36-49D4-863E-3905A20CA6DE}" dt="2026-04-23T09:44:33.447" v="157" actId="478"/>
          <ac:picMkLst>
            <pc:docMk/>
            <pc:sldMk cId="2944340841" sldId="2147478890"/>
            <ac:picMk id="95" creationId="{54C456E4-C45E-F782-0CC6-0C5BCD7EC663}"/>
          </ac:picMkLst>
        </pc:picChg>
        <pc:picChg chg="add mod">
          <ac:chgData name="Christoph Menzel" userId="51561353-c656-4223-b5db-5e0cf32b0687" providerId="ADAL" clId="{02D92836-6A36-49D4-863E-3905A20CA6DE}" dt="2026-04-23T09:43:46.389" v="152" actId="1037"/>
          <ac:picMkLst>
            <pc:docMk/>
            <pc:sldMk cId="2944340841" sldId="2147478890"/>
            <ac:picMk id="102" creationId="{816953BE-087C-0C70-9CDC-23D38BC53D3B}"/>
          </ac:picMkLst>
        </pc:picChg>
        <pc:picChg chg="add del mod">
          <ac:chgData name="Christoph Menzel" userId="51561353-c656-4223-b5db-5e0cf32b0687" providerId="ADAL" clId="{02D92836-6A36-49D4-863E-3905A20CA6DE}" dt="2026-04-23T09:39:50.403" v="83" actId="478"/>
          <ac:picMkLst>
            <pc:docMk/>
            <pc:sldMk cId="2944340841" sldId="2147478890"/>
            <ac:picMk id="104" creationId="{6BA065AF-511B-35B6-4420-09271BC157C3}"/>
          </ac:picMkLst>
        </pc:picChg>
        <pc:picChg chg="add mod">
          <ac:chgData name="Christoph Menzel" userId="51561353-c656-4223-b5db-5e0cf32b0687" providerId="ADAL" clId="{02D92836-6A36-49D4-863E-3905A20CA6DE}" dt="2026-04-23T10:03:51.420" v="691" actId="1076"/>
          <ac:picMkLst>
            <pc:docMk/>
            <pc:sldMk cId="2944340841" sldId="2147478890"/>
            <ac:picMk id="106" creationId="{FBDBB06A-5D28-33A3-175A-ACE48C4FB774}"/>
          </ac:picMkLst>
        </pc:picChg>
        <pc:picChg chg="add mod">
          <ac:chgData name="Christoph Menzel" userId="51561353-c656-4223-b5db-5e0cf32b0687" providerId="ADAL" clId="{02D92836-6A36-49D4-863E-3905A20CA6DE}" dt="2026-04-23T14:39:15.021" v="710" actId="2085"/>
          <ac:picMkLst>
            <pc:docMk/>
            <pc:sldMk cId="2944340841" sldId="2147478890"/>
            <ac:picMk id="108" creationId="{8018E20E-BB66-5A89-5345-35C7B7836794}"/>
          </ac:picMkLst>
        </pc:picChg>
        <pc:picChg chg="add mod">
          <ac:chgData name="Christoph Menzel" userId="51561353-c656-4223-b5db-5e0cf32b0687" providerId="ADAL" clId="{02D92836-6A36-49D4-863E-3905A20CA6DE}" dt="2026-04-23T10:06:03.641" v="709"/>
          <ac:picMkLst>
            <pc:docMk/>
            <pc:sldMk cId="2944340841" sldId="2147478890"/>
            <ac:picMk id="109" creationId="{C89328CC-16B5-EA0F-7C32-BAE34EF3181A}"/>
          </ac:picMkLst>
        </pc:picChg>
        <pc:cxnChg chg="mod">
          <ac:chgData name="Christoph Menzel" userId="51561353-c656-4223-b5db-5e0cf32b0687" providerId="ADAL" clId="{02D92836-6A36-49D4-863E-3905A20CA6DE}" dt="2026-04-23T09:37:34.791" v="60" actId="1076"/>
          <ac:cxnSpMkLst>
            <pc:docMk/>
            <pc:sldMk cId="2944340841" sldId="2147478890"/>
            <ac:cxnSpMk id="75" creationId="{A2E6F9F6-C820-6F1E-673A-4B4FEFD25186}"/>
          </ac:cxnSpMkLst>
        </pc:cxnChg>
        <pc:cxnChg chg="mod">
          <ac:chgData name="Christoph Menzel" userId="51561353-c656-4223-b5db-5e0cf32b0687" providerId="ADAL" clId="{02D92836-6A36-49D4-863E-3905A20CA6DE}" dt="2026-04-23T09:37:34.791" v="60" actId="1076"/>
          <ac:cxnSpMkLst>
            <pc:docMk/>
            <pc:sldMk cId="2944340841" sldId="2147478890"/>
            <ac:cxnSpMk id="76" creationId="{7A2719A4-CF79-F86A-D2D6-0F22CE0C8EE7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1B3E27-0887-4835-AD1B-387D3604FBD0}" type="datetimeFigureOut">
              <a:rPr lang="de-DE" smtClean="0"/>
              <a:t>24.04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33CDF3-C07F-470F-814F-F7CF5378C8A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66216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07149A-990E-5351-FEED-69A8D02EA5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D589353-1A2D-F2C3-2384-3134EFE56B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B9F6078-9EF1-31F2-3663-4CE38FA07C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27D4C-4D71-9399-8941-06F8AB65B9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FC2AB-B90D-8049-869B-338E69C430A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0682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FC2AB-B90D-8049-869B-338E69C430A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7144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ypo DB / Logo 3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>
              <a:defRPr sz="1200"/>
            </a:lvl1pPr>
          </a:lstStyle>
          <a:p>
            <a:r>
              <a:rPr lang="de-DE"/>
              <a:t>Bild einfügen (33,67 x 19,05 cm) und in den Hintergrund setz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99736"/>
            <a:ext cx="7200000" cy="1440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200" b="1">
                <a:latin typeface="+mn-lt"/>
              </a:defRPr>
            </a:lvl1pPr>
          </a:lstStyle>
          <a:p>
            <a:r>
              <a:rPr lang="de-DE"/>
              <a:t>Titel der Präsentation </a:t>
            </a:r>
            <a:br>
              <a:rPr lang="de-DE"/>
            </a:br>
            <a:r>
              <a:rPr lang="de-DE"/>
              <a:t>in </a:t>
            </a:r>
            <a:r>
              <a:rPr lang="de-DE" err="1"/>
              <a:t>CalibBold</a:t>
            </a:r>
            <a:r>
              <a:rPr lang="de-DE"/>
              <a:t> 32pt kann </a:t>
            </a:r>
            <a:br>
              <a:rPr lang="de-DE"/>
            </a:br>
            <a:r>
              <a:rPr lang="de-DE"/>
              <a:t>über bis zu 3 Zeilen lauf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2902384"/>
            <a:ext cx="7199999" cy="251999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TT.MM.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1B05090-735A-3162-6A26-264BCF21FCF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5999" y="1011089"/>
            <a:ext cx="7200000" cy="251999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Optionaler Übertitel Calibri 16pt</a:t>
            </a:r>
          </a:p>
        </p:txBody>
      </p:sp>
    </p:spTree>
    <p:extLst>
      <p:ext uri="{BB962C8B-B14F-4D97-AF65-F5344CB8AC3E}">
        <p14:creationId xmlns:p14="http://schemas.microsoft.com/office/powerpoint/2010/main" val="16192388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ext 16pt /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/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949DE8-BBB9-783D-A816-195E23A1D8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1638000"/>
            <a:ext cx="5425844" cy="4446000"/>
          </a:xfrm>
        </p:spPr>
        <p:txBody>
          <a:bodyPr/>
          <a:lstStyle>
            <a:lvl3pPr>
              <a:buClr>
                <a:schemeClr val="accent1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908B4DAA-68E5-F0EC-C047-A57535C3C4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9896" y="1638000"/>
            <a:ext cx="5427430" cy="4446000"/>
          </a:xfrm>
        </p:spPr>
        <p:txBody>
          <a:bodyPr/>
          <a:lstStyle>
            <a:lvl3pPr>
              <a:buClr>
                <a:schemeClr val="accent1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706BCA08-7685-03EC-1860-70B6A78C57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10" name="Datumsplatzhalter 7">
            <a:extLst>
              <a:ext uri="{FF2B5EF4-FFF2-40B4-BE49-F238E27FC236}">
                <a16:creationId xmlns:a16="http://schemas.microsoft.com/office/drawing/2014/main" id="{E30618AD-908F-0444-92E2-EECB0F2DB9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7F7F4A6B-9291-1F80-88BA-229E3F117F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BDC8E18-7B34-5198-AF06-EBFCFE08CDC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344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>
          <p15:clr>
            <a:srgbClr val="FBAE40"/>
          </p15:clr>
        </p15:guide>
        <p15:guide id="3" pos="378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ext 12pt /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/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949DE8-BBB9-783D-A816-195E23A1D8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1656000"/>
            <a:ext cx="3556825" cy="4386274"/>
          </a:xfrm>
        </p:spPr>
        <p:txBody>
          <a:bodyPr/>
          <a:lstStyle>
            <a:lvl1pPr>
              <a:lnSpc>
                <a:spcPct val="128000"/>
              </a:lnSpc>
              <a:defRPr sz="1200"/>
            </a:lvl1pPr>
            <a:lvl2pPr marL="144000" indent="-144000">
              <a:lnSpc>
                <a:spcPct val="128000"/>
              </a:lnSpc>
              <a:defRPr sz="1200"/>
            </a:lvl2pPr>
            <a:lvl3pPr marL="288000" indent="-144000">
              <a:lnSpc>
                <a:spcPct val="128000"/>
              </a:lnSpc>
              <a:buClr>
                <a:schemeClr val="accent1"/>
              </a:buClr>
              <a:defRPr sz="1200"/>
            </a:lvl3pPr>
            <a:lvl4pPr marL="432000" indent="-144000">
              <a:lnSpc>
                <a:spcPct val="128000"/>
              </a:lnSpc>
              <a:buClr>
                <a:schemeClr val="accent2"/>
              </a:buClr>
              <a:defRPr sz="1200"/>
            </a:lvl4pPr>
            <a:lvl5pPr marL="432000" indent="-144000">
              <a:lnSpc>
                <a:spcPct val="128000"/>
              </a:lnSpc>
              <a:defRPr sz="1200"/>
            </a:lvl5pPr>
          </a:lstStyle>
          <a:p>
            <a:pPr lvl="0"/>
            <a:r>
              <a:rPr lang="de-DE"/>
              <a:t>Erste Textebene Calibri 12pt. Textüberschriften manuell in Großbuchstaben und Calibri </a:t>
            </a:r>
            <a:r>
              <a:rPr lang="de-DE" err="1"/>
              <a:t>Bold</a:t>
            </a:r>
            <a:r>
              <a:rPr lang="de-DE"/>
              <a:t> setzen. Hervorhebungen im Text Calibri </a:t>
            </a:r>
            <a:r>
              <a:rPr lang="de-DE" err="1"/>
              <a:t>Bold</a:t>
            </a:r>
            <a:r>
              <a:rPr lang="de-DE"/>
              <a:t>. 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908B4DAA-68E5-F0EC-C047-A57535C3C4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3088" y="1656000"/>
            <a:ext cx="3565826" cy="4386274"/>
          </a:xfrm>
        </p:spPr>
        <p:txBody>
          <a:bodyPr/>
          <a:lstStyle>
            <a:lvl1pPr>
              <a:defRPr sz="1200"/>
            </a:lvl1pPr>
            <a:lvl2pPr marL="144000" indent="-144000">
              <a:defRPr sz="1200"/>
            </a:lvl2pPr>
            <a:lvl3pPr marL="288000" indent="-144000">
              <a:buClr>
                <a:schemeClr val="accent1"/>
              </a:buClr>
              <a:defRPr sz="1200"/>
            </a:lvl3pPr>
            <a:lvl4pPr marL="432000" indent="-144000">
              <a:buClr>
                <a:schemeClr val="accent2"/>
              </a:buClr>
              <a:defRPr sz="1200"/>
            </a:lvl4pPr>
            <a:lvl5pPr marL="432000" indent="-144000">
              <a:defRPr sz="1200"/>
            </a:lvl5pPr>
          </a:lstStyle>
          <a:p>
            <a:pPr lvl="0"/>
            <a:r>
              <a:rPr lang="de-DE"/>
              <a:t>Erste Textebene Calibri 12pt. Textüberschriften manuell in Großbuchstaben und Calibri </a:t>
            </a:r>
            <a:r>
              <a:rPr lang="de-DE" err="1"/>
              <a:t>Bold</a:t>
            </a:r>
            <a:r>
              <a:rPr lang="de-DE"/>
              <a:t> setzen. Hervorhebungen im Text Calibri </a:t>
            </a:r>
            <a:r>
              <a:rPr lang="de-DE" err="1"/>
              <a:t>Bold</a:t>
            </a:r>
            <a:r>
              <a:rPr lang="de-DE"/>
              <a:t>. 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CDE693DE-ED8D-2EE9-53C2-371BE7A2AD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1499" y="1656000"/>
            <a:ext cx="3565826" cy="4386274"/>
          </a:xfrm>
        </p:spPr>
        <p:txBody>
          <a:bodyPr/>
          <a:lstStyle>
            <a:lvl1pPr>
              <a:defRPr sz="1200"/>
            </a:lvl1pPr>
            <a:lvl2pPr marL="144000" indent="-144000">
              <a:defRPr sz="1200"/>
            </a:lvl2pPr>
            <a:lvl3pPr marL="288000" indent="-144000">
              <a:buClr>
                <a:schemeClr val="accent1"/>
              </a:buClr>
              <a:defRPr sz="1200"/>
            </a:lvl3pPr>
            <a:lvl4pPr marL="432000" indent="-144000">
              <a:buClr>
                <a:schemeClr val="accent2"/>
              </a:buClr>
              <a:defRPr sz="1200"/>
            </a:lvl4pPr>
            <a:lvl5pPr marL="432000" indent="-144000">
              <a:defRPr sz="1200"/>
            </a:lvl5pPr>
          </a:lstStyle>
          <a:p>
            <a:pPr lvl="0"/>
            <a:r>
              <a:rPr lang="de-DE"/>
              <a:t>Erste Textebene Calibri 12pt. Textüberschriften manuell in Großbuchstaben und Calibri </a:t>
            </a:r>
            <a:r>
              <a:rPr lang="de-DE" err="1"/>
              <a:t>Bold</a:t>
            </a:r>
            <a:r>
              <a:rPr lang="de-DE"/>
              <a:t> setzen. Hervorhebungen im Text Calibri </a:t>
            </a:r>
            <a:r>
              <a:rPr lang="de-DE" err="1"/>
              <a:t>Bold</a:t>
            </a:r>
            <a:r>
              <a:rPr lang="de-DE"/>
              <a:t>. 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BC602FA7-2DF1-F2ED-D9E3-5483DDF811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10" name="Datumsplatzhalter 7">
            <a:extLst>
              <a:ext uri="{FF2B5EF4-FFF2-40B4-BE49-F238E27FC236}">
                <a16:creationId xmlns:a16="http://schemas.microsoft.com/office/drawing/2014/main" id="{661B20CA-FD2B-B25D-324C-BB0D8D37E7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38285C37-877F-FB7C-08BF-91087B023C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2C66416-3193-4B7B-F63B-F57E9F18BB0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878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16">
          <p15:clr>
            <a:srgbClr val="FBAE40"/>
          </p15:clr>
        </p15:guide>
        <p15:guide id="3" pos="2604">
          <p15:clr>
            <a:srgbClr val="FBAE40"/>
          </p15:clr>
        </p15:guide>
        <p15:guide id="4" pos="4958">
          <p15:clr>
            <a:srgbClr val="FBAE40"/>
          </p15:clr>
        </p15:guide>
        <p15:guide id="5" pos="507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/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6C5B5BD-04AA-9DA6-13AD-E31BBB4DC9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6000" y="1727199"/>
            <a:ext cx="11040000" cy="4267201"/>
          </a:xfrm>
        </p:spPr>
        <p:txBody>
          <a:bodyPr/>
          <a:lstStyle/>
          <a:p>
            <a:pPr lvl="0"/>
            <a:r>
              <a:rPr lang="de-DE"/>
              <a:t>Inhalt wie Tabelle, Diagramm, etc. einfüg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54D7AD2-E4A3-CCB1-ACE1-9044C0FD7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Datumsplatzhalter 7">
            <a:extLst>
              <a:ext uri="{FF2B5EF4-FFF2-40B4-BE49-F238E27FC236}">
                <a16:creationId xmlns:a16="http://schemas.microsoft.com/office/drawing/2014/main" id="{E6D92709-8FE7-C8DF-2EC1-8E4A48BD28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1C8A9F65-2985-DD56-DA67-8C6E9F5AEEF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56D078C-3408-E9C3-21B9-7BA2D5F0DBE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053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/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E1942E1-0ED9-9870-6515-E4258066D6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6000" y="1727199"/>
            <a:ext cx="5427925" cy="4267201"/>
          </a:xfrm>
        </p:spPr>
        <p:txBody>
          <a:bodyPr/>
          <a:lstStyle/>
          <a:p>
            <a:pPr lvl="0"/>
            <a:r>
              <a:rPr lang="de-DE"/>
              <a:t>Inhalt wie Tabelle, Diagramm, etc. einfüg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350271A-2ACE-18B3-F078-E85418669D6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89400" y="1727199"/>
            <a:ext cx="5427925" cy="4267201"/>
          </a:xfrm>
        </p:spPr>
        <p:txBody>
          <a:bodyPr/>
          <a:lstStyle/>
          <a:p>
            <a:pPr lvl="0"/>
            <a:r>
              <a:rPr lang="de-DE"/>
              <a:t>Inhalt wie Tabelle, Diagramm, etc. einfügen</a:t>
            </a:r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6D033B4A-44C8-12DD-245F-73916785C8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9" name="Datumsplatzhalter 7">
            <a:extLst>
              <a:ext uri="{FF2B5EF4-FFF2-40B4-BE49-F238E27FC236}">
                <a16:creationId xmlns:a16="http://schemas.microsoft.com/office/drawing/2014/main" id="{AD582A6A-B6ED-950D-8D94-ABDCB73C9B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FDFADF90-464C-0E98-5C10-94AA9AA8C3A4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21CB64E-B4CB-F680-980D-101F09E7005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41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>
          <p15:clr>
            <a:srgbClr val="FBAE40"/>
          </p15:clr>
        </p15:guide>
        <p15:guide id="3" pos="378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ext + Bi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/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9E4B5292-261B-57C4-33FF-1C70AB9F5F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1638000"/>
            <a:ext cx="5425844" cy="4446000"/>
          </a:xfrm>
        </p:spPr>
        <p:txBody>
          <a:bodyPr/>
          <a:lstStyle>
            <a:lvl3pPr>
              <a:buClr>
                <a:schemeClr val="accent1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AF0C938-8439-193D-266A-D9FE5C679E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1725" y="1727200"/>
            <a:ext cx="5435600" cy="4267200"/>
          </a:xfrm>
          <a:solidFill>
            <a:schemeClr val="bg2"/>
          </a:solidFill>
        </p:spPr>
        <p:txBody>
          <a:bodyPr lIns="36000" tIns="0"/>
          <a:lstStyle>
            <a:lvl1pPr>
              <a:defRPr sz="1200"/>
            </a:lvl1pPr>
          </a:lstStyle>
          <a:p>
            <a:r>
              <a:rPr lang="de-DE"/>
              <a:t>Bild einfügen (15,1 x 11,85 cm)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0BEDCD26-B09F-B8B7-DEAF-D91F8753A7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D19284F-15F4-AFEF-AE41-481DDF77DA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791D511-1A1B-D96D-7C8A-1096E7BF1C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EEFF6D9-49CC-2285-2748-EB9C9D39382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864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>
          <p15:clr>
            <a:srgbClr val="FBAE40"/>
          </p15:clr>
        </p15:guide>
        <p15:guide id="3" pos="378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Biil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/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9E4B5292-261B-57C4-33FF-1C70AB9F5F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1481" y="1638000"/>
            <a:ext cx="5425844" cy="4446000"/>
          </a:xfrm>
        </p:spPr>
        <p:txBody>
          <a:bodyPr/>
          <a:lstStyle>
            <a:lvl3pPr>
              <a:buClr>
                <a:schemeClr val="accent1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AF0C938-8439-193D-266A-D9FE5C679E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675" y="1727200"/>
            <a:ext cx="5435600" cy="4267200"/>
          </a:xfrm>
          <a:solidFill>
            <a:schemeClr val="bg2"/>
          </a:solidFill>
        </p:spPr>
        <p:txBody>
          <a:bodyPr lIns="36000" tIns="0"/>
          <a:lstStyle>
            <a:lvl1pPr>
              <a:defRPr sz="1200"/>
            </a:lvl1pPr>
          </a:lstStyle>
          <a:p>
            <a:r>
              <a:rPr lang="de-DE"/>
              <a:t>Bild einfügen (15,1 x 11,85 cm)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F2DA7F72-7EE5-6D7C-5895-E85440046F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85BD6A3-953E-77A6-E2C9-67113D0403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D3A18DEF-5463-7489-46F2-7DFCEBB761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244378D-E424-5AF7-5436-181931905CA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650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>
          <p15:clr>
            <a:srgbClr val="FBAE40"/>
          </p15:clr>
        </p15:guide>
        <p15:guide id="3" pos="378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97C344-DB78-E644-C16A-81A8C97AD4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/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93943B-4BDC-30A7-4BA0-7405A5710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D0F5D726-6B86-691E-F2C4-2F0EB3BF1F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7" name="Datumsplatzhalter 7">
            <a:extLst>
              <a:ext uri="{FF2B5EF4-FFF2-40B4-BE49-F238E27FC236}">
                <a16:creationId xmlns:a16="http://schemas.microsoft.com/office/drawing/2014/main" id="{0ED8AA8D-61AA-5AC4-942A-60DF6A0EA5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49AEF2C4-BEA1-7FD2-364B-791BE45E7B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556B4E9-0720-D89A-CF20-7A349FAEF7F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5338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/ Text 1-spaltig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949DE8-BBB9-783D-A816-195E23A1D8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1638000"/>
            <a:ext cx="11041062" cy="444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D7E59-4EEA-7691-654F-B72C10CF2A0A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B563A0F9-A0E4-9680-CC4C-B19ED307A4DA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3537408C-A96E-535E-9369-63C69AEAAF57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09C251E0-7DAC-F919-EA57-7C4A64C76641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21FAEC84-951F-5C30-3779-214D45DAFE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22" name="Datumsplatzhalter 7">
            <a:extLst>
              <a:ext uri="{FF2B5EF4-FFF2-40B4-BE49-F238E27FC236}">
                <a16:creationId xmlns:a16="http://schemas.microsoft.com/office/drawing/2014/main" id="{43549AB2-EEF7-5AD6-9A90-FF9249DB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B5940F9A-9430-685C-F44D-68B5FE74321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01C17AF-3B79-1783-14AD-F6E461BD32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8750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/ Text 16pt / 2-spaltig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6D30C43-0EDB-4E85-C1F4-B395B8518058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193CB15E-29D0-29D9-9DA1-B66F4DE3D71C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12EECF1C-F2E5-BB94-02CC-D19510E9749C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7296A66E-B4E7-263D-9004-6F9E9593115C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2733F103-51D0-DA04-B255-3EDE8ADDE4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algn="ctr"/>
            <a:r>
              <a:rPr lang="de-DE"/>
              <a:t>ENERTRAG Footer für alle Folie in »Kopf- und Fußzeile« anpassen</a:t>
            </a:r>
          </a:p>
        </p:txBody>
      </p:sp>
      <p:sp>
        <p:nvSpPr>
          <p:cNvPr id="23" name="Datumsplatzhalter 7">
            <a:extLst>
              <a:ext uri="{FF2B5EF4-FFF2-40B4-BE49-F238E27FC236}">
                <a16:creationId xmlns:a16="http://schemas.microsoft.com/office/drawing/2014/main" id="{E50D8CF4-649F-7583-37BD-8EECB14ACC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218E87AF-4868-37D6-B99A-08333D47B1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28A3AAA-E5FD-5B59-221F-B80F835800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84A1EC5-716F-0A92-3E50-4D9895567D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638000"/>
            <a:ext cx="5425844" cy="444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F69DD353-49BD-3DA0-489D-8C2B2AB32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2001" y="1638000"/>
            <a:ext cx="5425844" cy="444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1906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>
          <p15:clr>
            <a:srgbClr val="FBAE40"/>
          </p15:clr>
        </p15:guide>
        <p15:guide id="3" pos="37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6C5B5BD-04AA-9DA6-13AD-E31BBB4DC9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6000" y="1727199"/>
            <a:ext cx="11040000" cy="4267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Inhalt wie Tabelle, Diagramm, etc. einfüg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2B61A64-1D48-756E-739F-212CA2FC4779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794C8CA9-B33E-8C51-7AD5-16E09B07D103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98A8004-5FFA-F090-3020-22AE570874A5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CFD2826-20B0-3D0C-4FC4-A57B3B1187BA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Fußzeilenplatzhalter 4">
            <a:extLst>
              <a:ext uri="{FF2B5EF4-FFF2-40B4-BE49-F238E27FC236}">
                <a16:creationId xmlns:a16="http://schemas.microsoft.com/office/drawing/2014/main" id="{02EA6447-070C-6317-5E75-D670B99EA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22" name="Datumsplatzhalter 7">
            <a:extLst>
              <a:ext uri="{FF2B5EF4-FFF2-40B4-BE49-F238E27FC236}">
                <a16:creationId xmlns:a16="http://schemas.microsoft.com/office/drawing/2014/main" id="{11E7A79F-4CBF-4F12-8423-480A4B8540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86FD8D59-18A6-1931-8C0B-64D3EFE6E65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D60AA00-B953-E84F-A99F-9A85627B82E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7087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ypo DB / Logo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>
              <a:defRPr sz="1200"/>
            </a:lvl1pPr>
          </a:lstStyle>
          <a:p>
            <a:r>
              <a:rPr lang="de-DE"/>
              <a:t>Bild einfügen (33,67 x 19,05 cm) und in den Hintergrund setz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99736"/>
            <a:ext cx="7200000" cy="1440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200" b="1">
                <a:latin typeface="+mn-lt"/>
              </a:defRPr>
            </a:lvl1pPr>
          </a:lstStyle>
          <a:p>
            <a:r>
              <a:rPr lang="de-DE"/>
              <a:t>Titel der Präsentation </a:t>
            </a:r>
            <a:br>
              <a:rPr lang="de-DE"/>
            </a:br>
            <a:r>
              <a:rPr lang="de-DE"/>
              <a:t>in </a:t>
            </a:r>
            <a:r>
              <a:rPr lang="de-DE" err="1"/>
              <a:t>CalibBold</a:t>
            </a:r>
            <a:r>
              <a:rPr lang="de-DE"/>
              <a:t> 32pt kann </a:t>
            </a:r>
            <a:br>
              <a:rPr lang="de-DE"/>
            </a:br>
            <a:r>
              <a:rPr lang="de-DE"/>
              <a:t>über bis zu 3 Zeilen lauf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2902384"/>
            <a:ext cx="7199999" cy="251999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TT.MM.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1B05090-735A-3162-6A26-264BCF21FCF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5999" y="1011089"/>
            <a:ext cx="7200000" cy="251999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Optionaler Übertitel Calibri 16pt</a:t>
            </a:r>
          </a:p>
        </p:txBody>
      </p:sp>
    </p:spTree>
    <p:extLst>
      <p:ext uri="{BB962C8B-B14F-4D97-AF65-F5344CB8AC3E}">
        <p14:creationId xmlns:p14="http://schemas.microsoft.com/office/powerpoint/2010/main" val="41923572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/ 2 Inhalte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E1942E1-0ED9-9870-6515-E4258066D6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6000" y="1727199"/>
            <a:ext cx="5427925" cy="4267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Inhalt wie Tabelle, Diagramm, etc. einfüg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350271A-2ACE-18B3-F078-E85418669D6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89400" y="1727199"/>
            <a:ext cx="5427925" cy="4267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Inhalt wie Tabelle, Diagramm, etc. einfüg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45329F1-3B23-FF1F-D1FA-7677F9902DFD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95220D4-11BF-E183-61EF-7A46EA1EB10D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0BE7B55-E06E-1DDE-9CD1-FC3807D68C43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F4378A5-7DA5-B6C1-BB8E-280200692A7F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BFDC9C5-8EAB-DDF0-86A9-3D479BE287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algn="ctr"/>
            <a:r>
              <a:rPr lang="de-DE"/>
              <a:t>ENERTRAG Footer für alle Folie in »Kopf- und Fußzeile« anpassen</a:t>
            </a:r>
          </a:p>
        </p:txBody>
      </p:sp>
      <p:sp>
        <p:nvSpPr>
          <p:cNvPr id="23" name="Datumsplatzhalter 7">
            <a:extLst>
              <a:ext uri="{FF2B5EF4-FFF2-40B4-BE49-F238E27FC236}">
                <a16:creationId xmlns:a16="http://schemas.microsoft.com/office/drawing/2014/main" id="{FA4BF417-2E2A-AAB5-0A58-7D0F2438D7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66296BD5-608C-D961-B6C4-656DE9484941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48AC23-9261-E154-2102-E7E2B2C7C7D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154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>
          <p15:clr>
            <a:srgbClr val="FBAE40"/>
          </p15:clr>
        </p15:guide>
        <p15:guide id="3" pos="37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/ Text +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45329F1-3B23-FF1F-D1FA-7677F9902DFD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95220D4-11BF-E183-61EF-7A46EA1EB10D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0BE7B55-E06E-1DDE-9CD1-FC3807D68C43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F4378A5-7DA5-B6C1-BB8E-280200692A7F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3AA59C80-0C5D-48CA-2EB2-36A16B389A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1725" y="1727200"/>
            <a:ext cx="5435600" cy="4267200"/>
          </a:xfrm>
          <a:solidFill>
            <a:schemeClr val="bg2"/>
          </a:solidFill>
        </p:spPr>
        <p:txBody>
          <a:bodyPr lIns="36000" tIns="0"/>
          <a:lstStyle>
            <a:lvl1pPr>
              <a:defRPr sz="1200"/>
            </a:lvl1pPr>
          </a:lstStyle>
          <a:p>
            <a:r>
              <a:rPr lang="de-DE"/>
              <a:t>Bild einfügen (15,1 x 11,85 cm)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C8CC0DE5-7B0B-258A-9B21-CD8FBE68C6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23" name="Datumsplatzhalter 7">
            <a:extLst>
              <a:ext uri="{FF2B5EF4-FFF2-40B4-BE49-F238E27FC236}">
                <a16:creationId xmlns:a16="http://schemas.microsoft.com/office/drawing/2014/main" id="{00E1B95D-7189-EC9C-3EA6-33909094E4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FF816FCC-A81A-81C3-D8F7-AED3AE097C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CCFD17D-8E11-10CB-E535-D201329C7DA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5DF69704-C32C-B11F-5670-12F0779E616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432" y="1637800"/>
            <a:ext cx="5425844" cy="444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62564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>
          <p15:clr>
            <a:srgbClr val="FBAE40"/>
          </p15:clr>
        </p15:guide>
        <p15:guide id="3" pos="378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/  Bild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45329F1-3B23-FF1F-D1FA-7677F9902DFD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95220D4-11BF-E183-61EF-7A46EA1EB10D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0BE7B55-E06E-1DDE-9CD1-FC3807D68C43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F4378A5-7DA5-B6C1-BB8E-280200692A7F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3AA59C80-0C5D-48CA-2EB2-36A16B389A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675" y="1727200"/>
            <a:ext cx="5435600" cy="4267200"/>
          </a:xfrm>
          <a:solidFill>
            <a:schemeClr val="bg2"/>
          </a:solidFill>
        </p:spPr>
        <p:txBody>
          <a:bodyPr lIns="36000" tIns="0"/>
          <a:lstStyle>
            <a:lvl1pPr>
              <a:defRPr sz="1200"/>
            </a:lvl1pPr>
          </a:lstStyle>
          <a:p>
            <a:r>
              <a:rPr lang="de-DE"/>
              <a:t>Bild einfügen (15,1 x 11,85 cm)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BEC8B8FD-915E-0A63-39BB-B49974705F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23" name="Datumsplatzhalter 7">
            <a:extLst>
              <a:ext uri="{FF2B5EF4-FFF2-40B4-BE49-F238E27FC236}">
                <a16:creationId xmlns:a16="http://schemas.microsoft.com/office/drawing/2014/main" id="{99586746-F242-1B70-AED3-19A971058F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6B097BB7-4504-1195-DBD5-086C806A00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741836A-1AA8-FEE8-18DA-E705FE96D07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AEDAB478-7CA2-E7EE-DFD4-743B173800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2001" y="1638000"/>
            <a:ext cx="5425844" cy="444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9317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>
          <p15:clr>
            <a:srgbClr val="FBAE40"/>
          </p15:clr>
        </p15:guide>
        <p15:guide id="3" pos="378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93943B-4BDC-30A7-4BA0-7405A5710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6837BC49-E108-1BC3-CE2B-7A73E25582A0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AB5631D-C84A-A2AB-0164-F219E98E3437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976BB5F-33E9-7E0D-53F9-BF3ABA959C5E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93855B26-7DFA-033D-7E3F-4845A366AB90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92B21B50-5476-E038-9FDD-6F5E1FF661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7" name="Datumsplatzhalter 7">
            <a:extLst>
              <a:ext uri="{FF2B5EF4-FFF2-40B4-BE49-F238E27FC236}">
                <a16:creationId xmlns:a16="http://schemas.microsoft.com/office/drawing/2014/main" id="{ED89DFF1-0847-77A7-3F41-3E6BA36FE3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45F05085-DFC8-7452-2160-5047B7F771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70481C6E-B9F7-DD33-BB85-88546961AC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6B04EC6-A599-FA7E-FB89-17744F46753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1593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 + Motiv / Typo DB / Logo 3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>
              <a:defRPr sz="1200"/>
            </a:lvl1pPr>
          </a:lstStyle>
          <a:p>
            <a:r>
              <a:rPr lang="de-DE"/>
              <a:t>Bild einfügen (33,67 x 19,05 cm) und in den Hintergrund setz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68978"/>
            <a:ext cx="8202240" cy="5148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Gehen wir gemeinsam eine Energie voraus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1865565"/>
            <a:ext cx="8202240" cy="514800"/>
          </a:xfrm>
        </p:spPr>
        <p:txBody>
          <a:bodyPr/>
          <a:lstStyle>
            <a:lvl1pPr marL="0" indent="0" algn="l">
              <a:lnSpc>
                <a:spcPct val="125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NERTRAG | Gut </a:t>
            </a:r>
            <a:r>
              <a:rPr lang="de-DE" err="1"/>
              <a:t>Dauerthal</a:t>
            </a:r>
            <a:r>
              <a:rPr lang="de-DE"/>
              <a:t> | 17291 </a:t>
            </a:r>
            <a:r>
              <a:rPr lang="de-DE" err="1"/>
              <a:t>Dauerthal</a:t>
            </a:r>
            <a:r>
              <a:rPr lang="de-DE"/>
              <a:t> | +49 39854 6459-0 | </a:t>
            </a:r>
            <a:r>
              <a:rPr lang="de-DE" err="1"/>
              <a:t>enertrag@enertrag.com</a:t>
            </a:r>
            <a:br>
              <a:rPr lang="de-DE"/>
            </a:br>
            <a:r>
              <a:rPr lang="de-DE" err="1"/>
              <a:t>enertrag.com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59712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 + Motiv / Typo DB / Logo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>
              <a:defRPr sz="1200"/>
            </a:lvl1pPr>
          </a:lstStyle>
          <a:p>
            <a:r>
              <a:rPr lang="de-DE"/>
              <a:t>Bild einfügen (33,67 x 19,05 cm) und in den Hintergrund setz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68978"/>
            <a:ext cx="8202240" cy="5148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Gehen wir gemeinsam eine Energie voraus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1865565"/>
            <a:ext cx="8202240" cy="514800"/>
          </a:xfrm>
        </p:spPr>
        <p:txBody>
          <a:bodyPr/>
          <a:lstStyle>
            <a:lvl1pPr marL="0" indent="0" algn="l">
              <a:lnSpc>
                <a:spcPct val="125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NERTRAG | Gut </a:t>
            </a:r>
            <a:r>
              <a:rPr lang="de-DE" err="1"/>
              <a:t>Dauerthal</a:t>
            </a:r>
            <a:r>
              <a:rPr lang="de-DE"/>
              <a:t> | 17291 </a:t>
            </a:r>
            <a:r>
              <a:rPr lang="de-DE" err="1"/>
              <a:t>Dauerthal</a:t>
            </a:r>
            <a:r>
              <a:rPr lang="de-DE"/>
              <a:t> | +49 39854 6459-0 | </a:t>
            </a:r>
            <a:r>
              <a:rPr lang="de-DE" err="1"/>
              <a:t>enertrag@enertrag.com</a:t>
            </a:r>
            <a:br>
              <a:rPr lang="de-DE"/>
            </a:br>
            <a:r>
              <a:rPr lang="de-DE" err="1"/>
              <a:t>enertrag.com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04210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2496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0" hangingPunct="0"/>
            <a:endParaRPr lang="en-US" sz="2400" b="0" i="0" baseline="0">
              <a:latin typeface="Calibri" panose="020F0502020204030204" pitchFamily="34" charset="0"/>
              <a:ea typeface="Verdana" panose="020B060403050404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16A55F1B-5767-4B45-88E6-97B3145B008A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71755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249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0" hangingPunct="0"/>
            <a:endParaRPr lang="en-US" sz="2400" b="0" i="0" baseline="0">
              <a:latin typeface="Calibri" panose="020F0502020204030204" pitchFamily="34" charset="0"/>
              <a:ea typeface="Verdana" panose="020B060403050404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18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800">
                <a:latin typeface="Dax Offc" panose="020B0504030101020102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18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800">
                <a:latin typeface="Dax Offc" panose="020B0504030101020102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8D157155-8E83-4B52-BD16-CDA6F7F325CA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61644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 1"/>
          <p:cNvSpPr txBox="1">
            <a:spLocks/>
          </p:cNvSpPr>
          <p:nvPr userDrawn="1"/>
        </p:nvSpPr>
        <p:spPr>
          <a:xfrm>
            <a:off x="3689357" y="5735949"/>
            <a:ext cx="6172199" cy="28892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00" b="1" i="0" kern="1200">
                <a:solidFill>
                  <a:schemeClr val="bg1"/>
                </a:solidFill>
                <a:latin typeface="Dax Offc" charset="0"/>
                <a:ea typeface="Dax Offc" charset="0"/>
                <a:cs typeface="Dax Offc" charset="0"/>
              </a:defRPr>
            </a:lvl1pPr>
          </a:lstStyle>
          <a:p>
            <a:pPr rtl="0"/>
            <a:r>
              <a:rPr lang="de-DE" sz="70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89683" y="328910"/>
            <a:ext cx="8229571" cy="450226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20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de-DE"/>
              <a:t>Überschrift in </a:t>
            </a:r>
            <a:r>
              <a:rPr lang="de-DE" err="1"/>
              <a:t>Verdana</a:t>
            </a:r>
            <a:r>
              <a:rPr lang="de-DE"/>
              <a:t> 20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9326038" y="6561673"/>
            <a:ext cx="2877849" cy="220132"/>
          </a:xfrm>
          <a:prstGeom prst="rect">
            <a:avLst/>
          </a:prstGeom>
          <a:solidFill>
            <a:srgbClr val="0057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de-DE" sz="1013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9316504" y="6571568"/>
            <a:ext cx="2397131" cy="2012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71438" marR="0" lvl="0" indent="-171438" defTabSz="685750" fontAlgn="auto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00" b="1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514312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0"/>
            </a:lvl2pPr>
            <a:lvl3pPr marL="857185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/>
            </a:lvl3pPr>
            <a:lvl4pPr marL="1200061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4pPr>
            <a:lvl5pPr marL="1542936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5pPr>
            <a:lvl6pPr marL="1885809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6pPr>
            <a:lvl7pPr marL="2228683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7pPr>
            <a:lvl8pPr marL="2571558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8pPr>
            <a:lvl9pPr marL="2914432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9pPr>
          </a:lstStyle>
          <a:p>
            <a:pPr lvl="0" rtl="0"/>
            <a:endParaRPr lang="de-DE" sz="60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98987" y="6552146"/>
            <a:ext cx="1425600" cy="280063"/>
          </a:xfrm>
          <a:prstGeom prst="rect">
            <a:avLst/>
          </a:prstGeom>
        </p:spPr>
        <p:txBody>
          <a:bodyPr/>
          <a:lstStyle>
            <a:lvl1pPr algn="l" rtl="0">
              <a:defRPr sz="700" b="1" i="0">
                <a:solidFill>
                  <a:srgbClr val="00578E"/>
                </a:solidFill>
                <a:latin typeface="Dax Offc" charset="0"/>
                <a:ea typeface="Dax Offc" charset="0"/>
                <a:cs typeface="Dax Offc" charset="0"/>
              </a:defRPr>
            </a:lvl1pPr>
          </a:lstStyle>
          <a:p>
            <a:fld id="{52497671-7CCA-684E-A1E0-B78BC9700F48}" type="slidenum">
              <a:rPr lang="de-DE" sz="600" smtClean="0">
                <a:latin typeface="Verdana" charset="0"/>
                <a:ea typeface="Verdana" charset="0"/>
                <a:cs typeface="Verdana" charset="0"/>
              </a:rPr>
              <a:pPr/>
              <a:t>‹Nr.›</a:t>
            </a:fld>
            <a:r>
              <a:rPr lang="de-DE" sz="600" b="0">
                <a:latin typeface="Verdana" charset="0"/>
                <a:ea typeface="Verdana" charset="0"/>
                <a:cs typeface="Verdana" charset="0"/>
              </a:rPr>
              <a:t> | 18</a:t>
            </a:r>
          </a:p>
        </p:txBody>
      </p:sp>
    </p:spTree>
    <p:extLst>
      <p:ext uri="{BB962C8B-B14F-4D97-AF65-F5344CB8AC3E}">
        <p14:creationId xmlns:p14="http://schemas.microsoft.com/office/powerpoint/2010/main" val="3253327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15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>
          <p15:clr>
            <a:srgbClr val="FBAE40"/>
          </p15:clr>
        </p15:guide>
        <p15:guide id="4" pos="604">
          <p15:clr>
            <a:srgbClr val="FBAE40"/>
          </p15:clr>
        </p15:guide>
        <p15:guide id="5" pos="1801">
          <p15:clr>
            <a:srgbClr val="FBAE40"/>
          </p15:clr>
        </p15:guide>
        <p15:guide id="6" pos="1935">
          <p15:clr>
            <a:srgbClr val="FBAE40"/>
          </p15:clr>
        </p15:guide>
        <p15:guide id="7" pos="3127">
          <p15:clr>
            <a:srgbClr val="FBAE40"/>
          </p15:clr>
        </p15:guide>
        <p15:guide id="8" pos="3247">
          <p15:clr>
            <a:srgbClr val="FBAE40"/>
          </p15:clr>
        </p15:guide>
        <p15:guide id="9" pos="4441">
          <p15:clr>
            <a:srgbClr val="FBAE40"/>
          </p15:clr>
        </p15:guide>
        <p15:guide id="10" pos="4560">
          <p15:clr>
            <a:srgbClr val="FBAE40"/>
          </p15:clr>
        </p15:guide>
        <p15:guide id="11" pos="5760">
          <p15:clr>
            <a:srgbClr val="FBAE40"/>
          </p15:clr>
        </p15:guide>
        <p15:guide id="12" pos="5876">
          <p15:clr>
            <a:srgbClr val="FBAE40"/>
          </p15:clr>
        </p15:guide>
        <p15:guide id="13" orient="horz">
          <p15:clr>
            <a:srgbClr val="FBAE40"/>
          </p15:clr>
        </p15:guide>
        <p15:guide id="14" pos="7076">
          <p15:clr>
            <a:srgbClr val="FBAE40"/>
          </p15:clr>
        </p15:guide>
        <p15:guide id="15" orient="horz" pos="69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2_Layout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-4234" y="6484275"/>
            <a:ext cx="12198591" cy="374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13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71809" y="6552144"/>
            <a:ext cx="6172199" cy="288925"/>
          </a:xfrm>
        </p:spPr>
        <p:txBody>
          <a:bodyPr anchor="t">
            <a:normAutofit/>
          </a:bodyPr>
          <a:lstStyle>
            <a:lvl1pPr>
              <a:defRPr sz="600" b="1" i="0">
                <a:solidFill>
                  <a:srgbClr val="00578E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60000" y="6552146"/>
            <a:ext cx="1425600" cy="280063"/>
          </a:xfrm>
          <a:prstGeom prst="rect">
            <a:avLst/>
          </a:prstGeom>
        </p:spPr>
        <p:txBody>
          <a:bodyPr/>
          <a:lstStyle>
            <a:lvl1pPr algn="l">
              <a:defRPr sz="700" b="1" i="0">
                <a:solidFill>
                  <a:srgbClr val="00578E"/>
                </a:solidFill>
                <a:latin typeface="Dax Offc" charset="0"/>
                <a:ea typeface="Dax Offc" charset="0"/>
                <a:cs typeface="Dax Offc" charset="0"/>
              </a:defRPr>
            </a:lvl1pPr>
          </a:lstStyle>
          <a:p>
            <a:fld id="{52497671-7CCA-684E-A1E0-B78BC9700F48}" type="slidenum">
              <a:rPr lang="de-DE" sz="600" smtClean="0">
                <a:latin typeface="Verdana" charset="0"/>
                <a:ea typeface="Verdana" charset="0"/>
                <a:cs typeface="Verdana" charset="0"/>
              </a:rPr>
              <a:pPr/>
              <a:t>‹Nr.›</a:t>
            </a:fld>
            <a:r>
              <a:rPr lang="de-DE" sz="600" b="0">
                <a:latin typeface="Verdana" charset="0"/>
                <a:ea typeface="Verdana" charset="0"/>
                <a:cs typeface="Verdana" charset="0"/>
              </a:rPr>
              <a:t> | ??</a:t>
            </a:r>
          </a:p>
        </p:txBody>
      </p:sp>
      <p:sp>
        <p:nvSpPr>
          <p:cNvPr id="8" name="Titel 1"/>
          <p:cNvSpPr txBox="1">
            <a:spLocks/>
          </p:cNvSpPr>
          <p:nvPr userDrawn="1"/>
        </p:nvSpPr>
        <p:spPr>
          <a:xfrm>
            <a:off x="904975" y="5370658"/>
            <a:ext cx="11275915" cy="1019519"/>
          </a:xfrm>
          <a:prstGeom prst="rect">
            <a:avLst/>
          </a:prstGeom>
          <a:noFill/>
          <a:ln>
            <a:noFill/>
          </a:ln>
        </p:spPr>
        <p:txBody>
          <a:bodyPr vert="horz" lIns="68580" tIns="34291" rIns="68580" bIns="34291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bg1"/>
                </a:solidFill>
                <a:latin typeface="Dax Offc" charset="0"/>
                <a:ea typeface="Dax Offc" charset="0"/>
                <a:cs typeface="Dax Offc" charset="0"/>
              </a:defRPr>
            </a:lvl1pPr>
          </a:lstStyle>
          <a:p>
            <a:r>
              <a:rPr lang="de-DE" sz="2251"/>
              <a:t>Mastertitelformat bearbeiten</a:t>
            </a:r>
          </a:p>
        </p:txBody>
      </p:sp>
      <p:sp>
        <p:nvSpPr>
          <p:cNvPr id="33" name="Rechteck 32"/>
          <p:cNvSpPr/>
          <p:nvPr userDrawn="1"/>
        </p:nvSpPr>
        <p:spPr>
          <a:xfrm>
            <a:off x="9326040" y="6561674"/>
            <a:ext cx="2877849" cy="220132"/>
          </a:xfrm>
          <a:prstGeom prst="rect">
            <a:avLst/>
          </a:prstGeom>
          <a:solidFill>
            <a:srgbClr val="0057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13"/>
          </a:p>
        </p:txBody>
      </p:sp>
      <p:sp>
        <p:nvSpPr>
          <p:cNvPr id="34" name="Titel 1"/>
          <p:cNvSpPr txBox="1">
            <a:spLocks/>
          </p:cNvSpPr>
          <p:nvPr userDrawn="1"/>
        </p:nvSpPr>
        <p:spPr>
          <a:xfrm>
            <a:off x="3689358" y="5735948"/>
            <a:ext cx="6172199" cy="28892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00" b="1" i="0" kern="1200">
                <a:solidFill>
                  <a:schemeClr val="bg1"/>
                </a:solidFill>
                <a:latin typeface="Dax Offc" charset="0"/>
                <a:ea typeface="Dax Offc" charset="0"/>
                <a:cs typeface="Dax Offc" charset="0"/>
              </a:defRPr>
            </a:lvl1pPr>
          </a:lstStyle>
          <a:p>
            <a:r>
              <a:rPr lang="de-DE" sz="700"/>
              <a:t>Mastertitelformat bearbeiten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316504" y="6571568"/>
            <a:ext cx="2397131" cy="2012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71438" marR="0" lvl="0" indent="-171438" defTabSz="685750" fontAlgn="auto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00" b="1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514312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0"/>
            </a:lvl2pPr>
            <a:lvl3pPr marL="857185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/>
            </a:lvl3pPr>
            <a:lvl4pPr marL="1200061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4pPr>
            <a:lvl5pPr marL="1542936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5pPr>
            <a:lvl6pPr marL="1885809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6pPr>
            <a:lvl7pPr marL="2228683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7pPr>
            <a:lvl8pPr marL="2571558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8pPr>
            <a:lvl9pPr marL="2914432" indent="-171438" defTabSz="68575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/>
            </a:lvl9pPr>
          </a:lstStyle>
          <a:p>
            <a:pPr lvl="0"/>
            <a:endParaRPr lang="de-DE" sz="600"/>
          </a:p>
        </p:txBody>
      </p:sp>
    </p:spTree>
    <p:extLst>
      <p:ext uri="{BB962C8B-B14F-4D97-AF65-F5344CB8AC3E}">
        <p14:creationId xmlns:p14="http://schemas.microsoft.com/office/powerpoint/2010/main" val="210302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15">
          <p15:clr>
            <a:srgbClr val="FBAE40"/>
          </p15:clr>
        </p15:guide>
        <p15:guide id="2" orient="horz" pos="4133">
          <p15:clr>
            <a:srgbClr val="FBAE40"/>
          </p15:clr>
        </p15:guide>
        <p15:guide id="3">
          <p15:clr>
            <a:srgbClr val="FBAE40"/>
          </p15:clr>
        </p15:guide>
        <p15:guide id="4" pos="453">
          <p15:clr>
            <a:srgbClr val="FBAE40"/>
          </p15:clr>
        </p15:guide>
        <p15:guide id="5" pos="1351">
          <p15:clr>
            <a:srgbClr val="FBAE40"/>
          </p15:clr>
        </p15:guide>
        <p15:guide id="6" pos="1451">
          <p15:clr>
            <a:srgbClr val="FBAE40"/>
          </p15:clr>
        </p15:guide>
        <p15:guide id="7" pos="2345">
          <p15:clr>
            <a:srgbClr val="FBAE40"/>
          </p15:clr>
        </p15:guide>
        <p15:guide id="8" pos="2435">
          <p15:clr>
            <a:srgbClr val="FBAE40"/>
          </p15:clr>
        </p15:guide>
        <p15:guide id="9" pos="3331">
          <p15:clr>
            <a:srgbClr val="FBAE40"/>
          </p15:clr>
        </p15:guide>
        <p15:guide id="10" pos="3420">
          <p15:clr>
            <a:srgbClr val="FBAE40"/>
          </p15:clr>
        </p15:guide>
        <p15:guide id="11" pos="4320">
          <p15:clr>
            <a:srgbClr val="FBAE40"/>
          </p15:clr>
        </p15:guide>
        <p15:guide id="12" pos="4407">
          <p15:clr>
            <a:srgbClr val="FBAE40"/>
          </p15:clr>
        </p15:guide>
        <p15:guide id="13" orient="horz">
          <p15:clr>
            <a:srgbClr val="FBAE40"/>
          </p15:clr>
        </p15:guide>
        <p15:guide id="14" pos="530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ypo W / Logo 3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>
              <a:defRPr sz="1200"/>
            </a:lvl1pPr>
          </a:lstStyle>
          <a:p>
            <a:r>
              <a:rPr lang="de-DE"/>
              <a:t>Bild einfügen (33,67 x 19,05 cm) und in den Hintergrund setz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99736"/>
            <a:ext cx="7200000" cy="1440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Titel der Präsentation </a:t>
            </a:r>
            <a:br>
              <a:rPr lang="de-DE"/>
            </a:br>
            <a:r>
              <a:rPr lang="de-DE"/>
              <a:t>in </a:t>
            </a:r>
            <a:r>
              <a:rPr lang="de-DE" err="1"/>
              <a:t>CalibBold</a:t>
            </a:r>
            <a:r>
              <a:rPr lang="de-DE"/>
              <a:t> 32pt kann </a:t>
            </a:r>
            <a:br>
              <a:rPr lang="de-DE"/>
            </a:br>
            <a:r>
              <a:rPr lang="de-DE"/>
              <a:t>über bis zu 3 Zeilen lauf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2902384"/>
            <a:ext cx="7199999" cy="251999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TT.MM.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1B05090-735A-3162-6A26-264BCF21FCF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5999" y="1011089"/>
            <a:ext cx="7200000" cy="251999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Optionaler Übertitel Calibri 16pt</a:t>
            </a:r>
          </a:p>
        </p:txBody>
      </p:sp>
    </p:spTree>
    <p:extLst>
      <p:ext uri="{BB962C8B-B14F-4D97-AF65-F5344CB8AC3E}">
        <p14:creationId xmlns:p14="http://schemas.microsoft.com/office/powerpoint/2010/main" val="35977867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76000" y="187200"/>
            <a:ext cx="11014892" cy="309600"/>
          </a:xfrm>
        </p:spPr>
        <p:txBody>
          <a:bodyPr lIns="0"/>
          <a:lstStyle>
            <a:lvl1pPr marL="0" indent="0">
              <a:buFontTx/>
              <a:buNone/>
              <a:defRPr lang="de-DE" sz="14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de-DE" sz="1400"/>
              <a:t>Kapiteltitel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73384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Text singl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/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54D7AD2-E4A3-CCB1-ACE1-9044C0FD7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ENERTRAG Edit Footer for all slides in menu Insert &gt; Header &amp; 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949DE8-BBB9-783D-A816-195E23A1D8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1638000"/>
            <a:ext cx="11041062" cy="4446000"/>
          </a:xfrm>
        </p:spPr>
        <p:txBody>
          <a:bodyPr/>
          <a:lstStyle>
            <a:lvl3pPr>
              <a:buClr>
                <a:schemeClr val="accent1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GB" noProof="0"/>
              <a:t>First text level Calibri 16pt. Manually set text titles or text emphases in Calibri Bold.</a:t>
            </a:r>
            <a:br>
              <a:rPr lang="en-GB" noProof="0"/>
            </a:br>
            <a:r>
              <a:rPr lang="en-GB" noProof="0"/>
              <a:t>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sp>
        <p:nvSpPr>
          <p:cNvPr id="4" name="Datumsplatzhalter 7">
            <a:extLst>
              <a:ext uri="{FF2B5EF4-FFF2-40B4-BE49-F238E27FC236}">
                <a16:creationId xmlns:a16="http://schemas.microsoft.com/office/drawing/2014/main" id="{794588AC-65A9-832B-1844-7CA356EA3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B31420F-3AED-4072-A48F-C3C7B3EA5C0B}" type="datetime1">
              <a:rPr lang="en-GB" noProof="0" smtClean="0"/>
              <a:t>24/04/2026</a:t>
            </a:fld>
            <a:endParaRPr lang="en-GB" noProof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9AFC8BD6-682E-1A44-B559-C47137E78FE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3" name="Grafik 3">
            <a:extLst>
              <a:ext uri="{FF2B5EF4-FFF2-40B4-BE49-F238E27FC236}">
                <a16:creationId xmlns:a16="http://schemas.microsoft.com/office/drawing/2014/main" id="{8F97238A-7C97-7F58-2F1A-23D3B988A47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8211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ypo W / Logo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>
              <a:defRPr sz="1200"/>
            </a:lvl1pPr>
          </a:lstStyle>
          <a:p>
            <a:r>
              <a:rPr lang="de-DE"/>
              <a:t>Bild einfügen (33,67 x 19,05 cm) und in den Hintergrund setz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99736"/>
            <a:ext cx="7200000" cy="1440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Titel der Präsentation </a:t>
            </a:r>
            <a:br>
              <a:rPr lang="de-DE"/>
            </a:br>
            <a:r>
              <a:rPr lang="de-DE"/>
              <a:t>in </a:t>
            </a:r>
            <a:r>
              <a:rPr lang="de-DE" err="1"/>
              <a:t>CalibBold</a:t>
            </a:r>
            <a:r>
              <a:rPr lang="de-DE"/>
              <a:t> 32pt kann </a:t>
            </a:r>
            <a:br>
              <a:rPr lang="de-DE"/>
            </a:br>
            <a:r>
              <a:rPr lang="de-DE"/>
              <a:t>über bis zu 3 Zeilen lauf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2902384"/>
            <a:ext cx="7199999" cy="251999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TT.MM.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1B05090-735A-3162-6A26-264BCF21FCF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5999" y="1011089"/>
            <a:ext cx="7200000" cy="251999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Optionaler Übertitel Calibri 16pt</a:t>
            </a:r>
          </a:p>
        </p:txBody>
      </p:sp>
    </p:spTree>
    <p:extLst>
      <p:ext uri="{BB962C8B-B14F-4D97-AF65-F5344CB8AC3E}">
        <p14:creationId xmlns:p14="http://schemas.microsoft.com/office/powerpoint/2010/main" val="3728894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ypokasten / Logo 3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>
              <a:defRPr sz="1200"/>
            </a:lvl1pPr>
          </a:lstStyle>
          <a:p>
            <a:r>
              <a:rPr lang="de-DE"/>
              <a:t>Bild einfügen (33,67 x 19,05 cm) und in den Hintergrund setz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9035" y="689400"/>
            <a:ext cx="5940000" cy="2739600"/>
          </a:xfrm>
          <a:solidFill>
            <a:schemeClr val="bg1"/>
          </a:solidFill>
        </p:spPr>
        <p:txBody>
          <a:bodyPr lIns="503998" tIns="612000" anchor="t" anchorCtr="0"/>
          <a:lstStyle>
            <a:lvl1pPr algn="l">
              <a:lnSpc>
                <a:spcPct val="100000"/>
              </a:lnSpc>
              <a:defRPr sz="32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Titel der Präsentation </a:t>
            </a:r>
            <a:br>
              <a:rPr lang="de-DE"/>
            </a:br>
            <a:r>
              <a:rPr lang="de-DE"/>
              <a:t>in </a:t>
            </a:r>
            <a:r>
              <a:rPr lang="de-DE" err="1"/>
              <a:t>CalibBold</a:t>
            </a:r>
            <a:r>
              <a:rPr lang="de-DE"/>
              <a:t> 32pt kann </a:t>
            </a:r>
            <a:br>
              <a:rPr lang="de-DE"/>
            </a:br>
            <a:r>
              <a:rPr lang="de-DE"/>
              <a:t>über bis zu 3 Zeilen lauf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91475" y="2895439"/>
            <a:ext cx="5040000" cy="2492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TT.MM.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084CBE9-0A5A-EFC8-A723-CEE929AA16A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073034" y="999938"/>
            <a:ext cx="5040000" cy="251999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Optionaler Übertitel Calibri 16pt</a:t>
            </a:r>
          </a:p>
        </p:txBody>
      </p:sp>
    </p:spTree>
    <p:extLst>
      <p:ext uri="{BB962C8B-B14F-4D97-AF65-F5344CB8AC3E}">
        <p14:creationId xmlns:p14="http://schemas.microsoft.com/office/powerpoint/2010/main" val="2933222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ypokasten / Logo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>
              <a:defRPr sz="1200"/>
            </a:lvl1pPr>
          </a:lstStyle>
          <a:p>
            <a:r>
              <a:rPr lang="de-DE"/>
              <a:t>Bild einfügen (33,67 x 19,05 cm) und in den Hintergrund setz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9035" y="689400"/>
            <a:ext cx="5940000" cy="2739600"/>
          </a:xfrm>
          <a:solidFill>
            <a:schemeClr val="bg1"/>
          </a:solidFill>
        </p:spPr>
        <p:txBody>
          <a:bodyPr lIns="503998" tIns="612000" anchor="t" anchorCtr="0"/>
          <a:lstStyle>
            <a:lvl1pPr algn="l">
              <a:lnSpc>
                <a:spcPct val="100000"/>
              </a:lnSpc>
              <a:defRPr sz="32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Titel der Präsentation </a:t>
            </a:r>
            <a:br>
              <a:rPr lang="de-DE"/>
            </a:br>
            <a:r>
              <a:rPr lang="de-DE"/>
              <a:t>in </a:t>
            </a:r>
            <a:r>
              <a:rPr lang="de-DE" err="1"/>
              <a:t>CalibBold</a:t>
            </a:r>
            <a:r>
              <a:rPr lang="de-DE"/>
              <a:t> 32pt kann </a:t>
            </a:r>
            <a:br>
              <a:rPr lang="de-DE"/>
            </a:br>
            <a:r>
              <a:rPr lang="de-DE"/>
              <a:t>über bis zu 3 Zeilen lauf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91475" y="2895439"/>
            <a:ext cx="5040000" cy="2492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TT.MM.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084CBE9-0A5A-EFC8-A723-CEE929AA16A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073034" y="999938"/>
            <a:ext cx="5040000" cy="251999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Optionaler Übertitel Calibri 16pt</a:t>
            </a:r>
          </a:p>
        </p:txBody>
      </p:sp>
    </p:spTree>
    <p:extLst>
      <p:ext uri="{BB962C8B-B14F-4D97-AF65-F5344CB8AC3E}">
        <p14:creationId xmlns:p14="http://schemas.microsoft.com/office/powerpoint/2010/main" val="24872726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/ Motiv hell / Logo D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>
            <a:extLst>
              <a:ext uri="{FF2B5EF4-FFF2-40B4-BE49-F238E27FC236}">
                <a16:creationId xmlns:a16="http://schemas.microsoft.com/office/drawing/2014/main" id="{03A9AC97-8615-96A9-5507-ACED96090F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>
              <a:defRPr sz="1200"/>
            </a:lvl1pPr>
          </a:lstStyle>
          <a:p>
            <a:r>
              <a:rPr lang="de-DE"/>
              <a:t>Bild einfügen (33,67 x 19,05 cm) und in den Hintergrund setz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445C0B-EDB2-40FD-8471-9EE401C578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" y="0"/>
            <a:ext cx="12121200" cy="6858000"/>
          </a:xfrm>
          <a:solidFill>
            <a:schemeClr val="bg1">
              <a:alpha val="60000"/>
            </a:schemeClr>
          </a:solidFill>
        </p:spPr>
        <p:txBody>
          <a:bodyPr tIns="360000" anchor="ctr" anchorCtr="0"/>
          <a:lstStyle>
            <a:lvl1pPr algn="ctr">
              <a:lnSpc>
                <a:spcPct val="90000"/>
              </a:lnSpc>
              <a:defRPr sz="4000" b="1" i="0" spc="-100" baseline="0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de-DE"/>
              <a:t>Kapitel Calibri </a:t>
            </a:r>
            <a:r>
              <a:rPr lang="de-DE" err="1"/>
              <a:t>Bold</a:t>
            </a:r>
            <a:r>
              <a:rPr lang="de-DE"/>
              <a:t> 40pt kann </a:t>
            </a:r>
            <a:br>
              <a:rPr lang="de-DE"/>
            </a:br>
            <a:r>
              <a:rPr lang="de-DE"/>
              <a:t>bis zu 3 Zeilen laufen</a:t>
            </a:r>
            <a:br>
              <a:rPr lang="de-DE"/>
            </a:br>
            <a:r>
              <a:rPr lang="de-DE"/>
              <a:t>(Textrahmen in den Hintergrund setzen </a:t>
            </a:r>
            <a:br>
              <a:rPr lang="de-DE"/>
            </a:br>
            <a:r>
              <a:rPr lang="de-DE"/>
              <a:t>um Bild auszutauschen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D5D5661-E1A5-7834-E06C-67940157A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F967B9-3C9A-B95E-67EA-15919932D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E869C4-A6B7-C94B-8090-B1B23BF5850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Datumsplatzhalter 7">
            <a:extLst>
              <a:ext uri="{FF2B5EF4-FFF2-40B4-BE49-F238E27FC236}">
                <a16:creationId xmlns:a16="http://schemas.microsoft.com/office/drawing/2014/main" id="{A5F76BAF-2314-772A-90CC-94FA1467A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29E479F4-FDBB-4B9D-AC8B-CD93F9F4A3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65612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/ Motiv dunkel / Logo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>
            <a:extLst>
              <a:ext uri="{FF2B5EF4-FFF2-40B4-BE49-F238E27FC236}">
                <a16:creationId xmlns:a16="http://schemas.microsoft.com/office/drawing/2014/main" id="{03A9AC97-8615-96A9-5507-ACED96090F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>
              <a:defRPr sz="1200"/>
            </a:lvl1pPr>
          </a:lstStyle>
          <a:p>
            <a:r>
              <a:rPr lang="de-DE"/>
              <a:t>Bild einfügen (33,67 x 19,05 cm) und in den Hintergrund setz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445C0B-EDB2-40FD-8471-9EE401C578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999" y="431801"/>
            <a:ext cx="11041325" cy="5562600"/>
          </a:xfrm>
        </p:spPr>
        <p:txBody>
          <a:bodyPr tIns="360000" anchor="ctr" anchorCtr="0"/>
          <a:lstStyle>
            <a:lvl1pPr algn="ctr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de-DE"/>
              <a:t>Kapitel Calibri </a:t>
            </a:r>
            <a:r>
              <a:rPr lang="de-DE" err="1"/>
              <a:t>Bold</a:t>
            </a:r>
            <a:r>
              <a:rPr lang="de-DE"/>
              <a:t> </a:t>
            </a:r>
            <a:br>
              <a:rPr lang="de-DE"/>
            </a:br>
            <a:r>
              <a:rPr lang="de-DE"/>
              <a:t>40pt kann über bis zu </a:t>
            </a:r>
            <a:br>
              <a:rPr lang="de-DE"/>
            </a:br>
            <a:r>
              <a:rPr lang="de-DE"/>
              <a:t>3 Zeilen lauf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D5D5661-E1A5-7834-E06C-67940157A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F967B9-3C9A-B95E-67EA-15919932D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Datumsplatzhalter 7">
            <a:extLst>
              <a:ext uri="{FF2B5EF4-FFF2-40B4-BE49-F238E27FC236}">
                <a16:creationId xmlns:a16="http://schemas.microsoft.com/office/drawing/2014/main" id="{A5F76BAF-2314-772A-90CC-94FA1467A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29E479F4-FDBB-4B9D-AC8B-CD93F9F4A3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04336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ex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/>
          <a:lstStyle/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54D7AD2-E4A3-CCB1-ACE1-9044C0FD7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949DE8-BBB9-783D-A816-195E23A1D8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1638000"/>
            <a:ext cx="11041062" cy="4446000"/>
          </a:xfrm>
        </p:spPr>
        <p:txBody>
          <a:bodyPr/>
          <a:lstStyle>
            <a:lvl3pPr>
              <a:buClr>
                <a:schemeClr val="accent1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7">
            <a:extLst>
              <a:ext uri="{FF2B5EF4-FFF2-40B4-BE49-F238E27FC236}">
                <a16:creationId xmlns:a16="http://schemas.microsoft.com/office/drawing/2014/main" id="{794588AC-65A9-832B-1844-7CA356EA3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9AFC8BD6-682E-1A44-B559-C47137E78FE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/>
              <a:t>Optionale Kapitelbezeichnung Calibri 16pt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23DD3C5-5706-1C0C-D907-7A0FD0CCDB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109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0C01C7E-14CA-A984-CBA2-161084718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362823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592" imgH="591" progId="TCLayout.ActiveDocument.1">
                  <p:embed/>
                </p:oleObj>
              </mc:Choice>
              <mc:Fallback>
                <p:oleObj name="think-cell Slide" r:id="rId3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0C01C7E-14CA-A984-CBA2-161084718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2E9F7BA-B0C1-B70C-1AED-6BB562CCD0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ENERTRAG Footer für alle Folie in »Kopf- und Fußzeile« anpass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B5733E-133E-0390-9930-077D87B3E9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6000" y="6394450"/>
            <a:ext cx="27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6E869C4-A6B7-C94B-8090-B1B23BF5850A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5D05902-58D1-4668-8085-8730E3E299F7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67103B8-D951-7A8B-4D19-D40065BD08BF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04ED8B2-80C8-D25B-2BEB-3E9EF90AF61F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B1AEC67-4A98-1ACA-37F1-EC3F96E024DE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843CECE-878A-AE99-A635-FD96592FF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731101"/>
            <a:ext cx="11041325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eadline Calibri </a:t>
            </a:r>
            <a:r>
              <a:rPr lang="de-DE" err="1"/>
              <a:t>Bold</a:t>
            </a:r>
            <a:r>
              <a:rPr lang="de-DE"/>
              <a:t> 26pt ein- bis zweizeili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E971879-A025-3E92-B40F-9152EC1E6C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000" y="1639217"/>
            <a:ext cx="11040000" cy="444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Textebene Calibri 16pt. Textüberschriften oder Hervorhebungen manuell in Calibri </a:t>
            </a:r>
            <a:r>
              <a:rPr lang="de-DE" err="1"/>
              <a:t>Bold</a:t>
            </a:r>
            <a:r>
              <a:rPr lang="de-DE"/>
              <a:t> setzen.</a:t>
            </a:r>
            <a:br>
              <a:rPr lang="de-DE"/>
            </a:br>
            <a:r>
              <a:rPr lang="de-DE"/>
              <a:t>Bitte die Gliederungen nur über das Menü Absatz &gt; Einzug vergrößern bzw. verkleinern erstellen.</a:t>
            </a:r>
            <a:br>
              <a:rPr lang="de-DE"/>
            </a:br>
            <a:endParaRPr lang="de-DE"/>
          </a:p>
          <a:p>
            <a:pPr lvl="1"/>
            <a:r>
              <a:rPr lang="de-DE"/>
              <a:t>Zweite Ebene mit Kreis als Bulle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FDF60B9-C527-691E-CBAB-6FDFC043DB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l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3.05.2023</a:t>
            </a:r>
          </a:p>
        </p:txBody>
      </p:sp>
    </p:spTree>
    <p:extLst>
      <p:ext uri="{BB962C8B-B14F-4D97-AF65-F5344CB8AC3E}">
        <p14:creationId xmlns:p14="http://schemas.microsoft.com/office/powerpoint/2010/main" val="3908791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5000"/>
        </a:lnSpc>
        <a:spcBef>
          <a:spcPts val="0"/>
        </a:spcBef>
        <a:buFontTx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25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25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25000"/>
        </a:lnSpc>
        <a:spcBef>
          <a:spcPts val="0"/>
        </a:spcBef>
        <a:spcAft>
          <a:spcPts val="800"/>
        </a:spcAft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25000"/>
        </a:lnSpc>
        <a:spcBef>
          <a:spcPts val="0"/>
        </a:spcBef>
        <a:spcAft>
          <a:spcPts val="80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2">
          <p15:clr>
            <a:srgbClr val="F26B43"/>
          </p15:clr>
        </p15:guide>
        <p15:guide id="2" pos="362">
          <p15:clr>
            <a:srgbClr val="F26B43"/>
          </p15:clr>
        </p15:guide>
        <p15:guide id="3" orient="horz" pos="3776">
          <p15:clr>
            <a:srgbClr val="F26B43"/>
          </p15:clr>
        </p15:guide>
        <p15:guide id="4" pos="7318">
          <p15:clr>
            <a:srgbClr val="F26B43"/>
          </p15:clr>
        </p15:guide>
        <p15:guide id="5" orient="horz" pos="10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sv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5.svg"/><Relationship Id="rId5" Type="http://schemas.openxmlformats.org/officeDocument/2006/relationships/image" Target="../media/image14.svg"/><Relationship Id="rId4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sv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9.svg"/><Relationship Id="rId4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20.jpeg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.svg"/><Relationship Id="rId5" Type="http://schemas.openxmlformats.org/officeDocument/2006/relationships/image" Target="../media/image21.svg"/><Relationship Id="rId4" Type="http://schemas.openxmlformats.org/officeDocument/2006/relationships/image" Target="../media/image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7" Type="http://schemas.openxmlformats.org/officeDocument/2006/relationships/image" Target="../media/image9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6" Type="http://schemas.openxmlformats.org/officeDocument/2006/relationships/image" Target="../media/image32.svg"/><Relationship Id="rId5" Type="http://schemas.openxmlformats.org/officeDocument/2006/relationships/image" Target="../media/image31.svg"/><Relationship Id="rId4" Type="http://schemas.openxmlformats.org/officeDocument/2006/relationships/image" Target="../media/image9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sv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hyperlink" Target="mailto:christoph.menzel@enertrag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99DAD7-C3F7-A6B7-5836-1B5E902BE6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Luftfotografie, Luftbild, draußen, Vogelperspektive enthält.&#10;&#10;KI-generierte Inhalte können fehlerhaft sein.">
            <a:extLst>
              <a:ext uri="{FF2B5EF4-FFF2-40B4-BE49-F238E27FC236}">
                <a16:creationId xmlns:a16="http://schemas.microsoft.com/office/drawing/2014/main" id="{F320D197-A6ED-621E-5866-C461E225B33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85" t="4857" r="4995" b="23387"/>
          <a:stretch>
            <a:fillRect/>
          </a:stretch>
        </p:blipFill>
        <p:spPr>
          <a:xfrm>
            <a:off x="74817" y="0"/>
            <a:ext cx="12203801" cy="6868961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C09D53-F54A-53F3-6B5D-FE9856B04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1</a:t>
            </a:fld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9408A-0B5F-EED1-C1F5-DD67AFF90F3C}"/>
              </a:ext>
            </a:extLst>
          </p:cNvPr>
          <p:cNvSpPr/>
          <p:nvPr/>
        </p:nvSpPr>
        <p:spPr>
          <a:xfrm>
            <a:off x="460734" y="3999030"/>
            <a:ext cx="4930756" cy="25303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2600" b="1">
              <a:solidFill>
                <a:srgbClr val="003056"/>
              </a:solidFill>
              <a:ea typeface="Calibri"/>
              <a:cs typeface="Calibri"/>
            </a:endParaRPr>
          </a:p>
          <a:p>
            <a:pPr algn="ctr"/>
            <a:endParaRPr lang="de-DE">
              <a:ea typeface="Calibri"/>
              <a:cs typeface="Calibri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4E11FD6-4CAE-D185-E728-9A75D39DD87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82210" y="5401005"/>
            <a:ext cx="1903760" cy="720841"/>
          </a:xfrm>
          <a:prstGeom prst="rect">
            <a:avLst/>
          </a:prstGeom>
        </p:spPr>
      </p:pic>
      <p:sp>
        <p:nvSpPr>
          <p:cNvPr id="2" name="Datumsplatzhalter 5">
            <a:extLst>
              <a:ext uri="{FF2B5EF4-FFF2-40B4-BE49-F238E27FC236}">
                <a16:creationId xmlns:a16="http://schemas.microsoft.com/office/drawing/2014/main" id="{451FE9D0-9D75-A54D-AA6B-D8F318AE98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808" y="6364307"/>
            <a:ext cx="498874" cy="144000"/>
          </a:xfrm>
        </p:spPr>
        <p:txBody>
          <a:bodyPr/>
          <a:lstStyle/>
          <a:p>
            <a:fld id="{D4238CDE-D499-4352-90F9-E9806DBAE72F}" type="datetime1">
              <a:rPr lang="de-DE" sz="1000" smtClean="0"/>
              <a:t>24.04.2026</a:t>
            </a:fld>
            <a:endParaRPr lang="de-DE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5328A7F-871F-7289-6279-A6997A895EDC}"/>
              </a:ext>
            </a:extLst>
          </p:cNvPr>
          <p:cNvSpPr txBox="1"/>
          <p:nvPr/>
        </p:nvSpPr>
        <p:spPr>
          <a:xfrm>
            <a:off x="938029" y="4324900"/>
            <a:ext cx="4103076" cy="8002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600" b="1"/>
              <a:t>Green Fuels Lausitz – Grünes</a:t>
            </a:r>
            <a:endParaRPr lang="de-DE" b="1">
              <a:ea typeface="Calibri" panose="020F0502020204030204"/>
              <a:cs typeface="Calibri" panose="020F0502020204030204"/>
            </a:endParaRPr>
          </a:p>
          <a:p>
            <a:r>
              <a:rPr lang="de-DE" sz="2600" b="1"/>
              <a:t>Methanol aus der Lausitz</a:t>
            </a:r>
            <a:r>
              <a:rPr lang="de-DE" sz="2600" b="1">
                <a:ea typeface="Calibri"/>
                <a:cs typeface="Calibri"/>
              </a:rPr>
              <a:t>​</a:t>
            </a:r>
            <a:endParaRPr lang="de-DE" b="1">
              <a:ea typeface="Calibri"/>
              <a:cs typeface="Calibri"/>
            </a:endParaRPr>
          </a:p>
        </p:txBody>
      </p:sp>
      <p:pic>
        <p:nvPicPr>
          <p:cNvPr id="13" name="Grafik 12" descr="Ein Bild, das Schrift, Tex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6D8EF93D-CD8E-CE9D-E20C-5C4CB9492D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7275" y="5481637"/>
            <a:ext cx="1647827" cy="538165"/>
          </a:xfrm>
          <a:prstGeom prst="rect">
            <a:avLst/>
          </a:prstGeom>
          <a:ln>
            <a:noFill/>
          </a:ln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E18C61AB-B1AE-2249-6A46-84119684A6CD}"/>
              </a:ext>
            </a:extLst>
          </p:cNvPr>
          <p:cNvSpPr txBox="1"/>
          <p:nvPr/>
        </p:nvSpPr>
        <p:spPr>
          <a:xfrm>
            <a:off x="1396415" y="6316805"/>
            <a:ext cx="424070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„Energie braucht Netze“ - Netzwerkveranstaltung 24. April 2026 in Görlitz</a:t>
            </a:r>
          </a:p>
        </p:txBody>
      </p:sp>
    </p:spTree>
    <p:extLst>
      <p:ext uri="{BB962C8B-B14F-4D97-AF65-F5344CB8AC3E}">
        <p14:creationId xmlns:p14="http://schemas.microsoft.com/office/powerpoint/2010/main" val="10726857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6ECBC1B-A6D6-EA78-7D6A-61527D17A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EC77CF-D749-618F-BE90-A10381AD82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„Energie braucht Netze“ - Netzwerkveranstaltung 24. April 2026 in Görlitz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46C62478-178B-9551-3093-DAA2B72E8A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Unternehmenskennzahl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FCD2636-4C24-21C3-0E72-F9AF22D7A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f einen Blick </a:t>
            </a:r>
          </a:p>
        </p:txBody>
      </p:sp>
      <p:cxnSp>
        <p:nvCxnSpPr>
          <p:cNvPr id="83" name="Gerade Verbindung 82">
            <a:extLst>
              <a:ext uri="{FF2B5EF4-FFF2-40B4-BE49-F238E27FC236}">
                <a16:creationId xmlns:a16="http://schemas.microsoft.com/office/drawing/2014/main" id="{5BE60846-357A-AE5F-54F0-E9C46F6E65F8}"/>
              </a:ext>
            </a:extLst>
          </p:cNvPr>
          <p:cNvCxnSpPr/>
          <p:nvPr/>
        </p:nvCxnSpPr>
        <p:spPr>
          <a:xfrm>
            <a:off x="2752725" y="2035681"/>
            <a:ext cx="2905125" cy="0"/>
          </a:xfrm>
          <a:prstGeom prst="line">
            <a:avLst/>
          </a:prstGeom>
          <a:ln w="1270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4547A9A-DE60-A16D-4E2E-61A1F0BAD5C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A3FEBB-D2E5-4F12-8C33-A381769FBC27}" type="datetime1">
              <a:rPr lang="de-DE" smtClean="0"/>
              <a:t>24.04.2026</a:t>
            </a:fld>
            <a:endParaRPr lang="de-DE"/>
          </a:p>
        </p:txBody>
      </p:sp>
      <p:sp>
        <p:nvSpPr>
          <p:cNvPr id="5" name="Textfeld 18">
            <a:extLst>
              <a:ext uri="{FF2B5EF4-FFF2-40B4-BE49-F238E27FC236}">
                <a16:creationId xmlns:a16="http://schemas.microsoft.com/office/drawing/2014/main" id="{1FE217CD-315E-213B-26DE-D25720CF36C8}"/>
              </a:ext>
            </a:extLst>
          </p:cNvPr>
          <p:cNvSpPr txBox="1"/>
          <p:nvPr/>
        </p:nvSpPr>
        <p:spPr>
          <a:xfrm>
            <a:off x="1446283" y="2432354"/>
            <a:ext cx="1822100" cy="863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5000"/>
              </a:lnSpc>
            </a:pPr>
            <a:r>
              <a:rPr lang="de-DE" sz="2600">
                <a:solidFill>
                  <a:schemeClr val="bg1"/>
                </a:solidFill>
              </a:rPr>
              <a:t>945</a:t>
            </a:r>
          </a:p>
          <a:p>
            <a:pPr algn="ctr">
              <a:lnSpc>
                <a:spcPct val="125000"/>
              </a:lnSpc>
            </a:pPr>
            <a:r>
              <a:rPr lang="de-DE" sz="1000" spc="20">
                <a:solidFill>
                  <a:schemeClr val="bg1"/>
                </a:solidFill>
              </a:rPr>
              <a:t>Megawatt Wind und Solar</a:t>
            </a:r>
            <a:br>
              <a:rPr lang="de-DE" sz="1000" spc="20">
                <a:solidFill>
                  <a:schemeClr val="bg1"/>
                </a:solidFill>
              </a:rPr>
            </a:br>
            <a:r>
              <a:rPr lang="de-DE" sz="1000" spc="20">
                <a:solidFill>
                  <a:schemeClr val="bg1"/>
                </a:solidFill>
              </a:rPr>
              <a:t>im Eigenbestand</a:t>
            </a:r>
          </a:p>
        </p:txBody>
      </p:sp>
      <p:sp>
        <p:nvSpPr>
          <p:cNvPr id="8" name="Textfeld 19">
            <a:extLst>
              <a:ext uri="{FF2B5EF4-FFF2-40B4-BE49-F238E27FC236}">
                <a16:creationId xmlns:a16="http://schemas.microsoft.com/office/drawing/2014/main" id="{1F6691AA-A0E9-00C4-27EA-1C5EDBA729F1}"/>
              </a:ext>
            </a:extLst>
          </p:cNvPr>
          <p:cNvSpPr txBox="1"/>
          <p:nvPr/>
        </p:nvSpPr>
        <p:spPr>
          <a:xfrm>
            <a:off x="4991099" y="2432354"/>
            <a:ext cx="2209802" cy="10557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5000"/>
              </a:lnSpc>
            </a:pPr>
            <a:r>
              <a:rPr lang="de-DE" sz="2600">
                <a:solidFill>
                  <a:schemeClr val="bg1"/>
                </a:solidFill>
              </a:rPr>
              <a:t>&gt; 1.700</a:t>
            </a:r>
          </a:p>
          <a:p>
            <a:pPr algn="ctr">
              <a:lnSpc>
                <a:spcPct val="125000"/>
              </a:lnSpc>
            </a:pPr>
            <a:r>
              <a:rPr lang="de-DE" sz="1000">
                <a:solidFill>
                  <a:schemeClr val="bg1"/>
                </a:solidFill>
              </a:rPr>
              <a:t>Gigawattstunden</a:t>
            </a:r>
          </a:p>
          <a:p>
            <a:pPr algn="ctr">
              <a:lnSpc>
                <a:spcPct val="125000"/>
              </a:lnSpc>
            </a:pPr>
            <a:r>
              <a:rPr lang="de-DE" sz="1000">
                <a:solidFill>
                  <a:schemeClr val="bg1"/>
                </a:solidFill>
              </a:rPr>
              <a:t>Jahresstromproduktion</a:t>
            </a:r>
          </a:p>
          <a:p>
            <a:pPr algn="ctr">
              <a:lnSpc>
                <a:spcPct val="125000"/>
              </a:lnSpc>
            </a:pPr>
            <a:r>
              <a:rPr lang="de-DE" sz="1000">
                <a:solidFill>
                  <a:schemeClr val="bg1"/>
                </a:solidFill>
              </a:rPr>
              <a:t>im Eigenbestand</a:t>
            </a:r>
          </a:p>
        </p:txBody>
      </p:sp>
      <p:sp>
        <p:nvSpPr>
          <p:cNvPr id="9" name="Textfeld 20">
            <a:extLst>
              <a:ext uri="{FF2B5EF4-FFF2-40B4-BE49-F238E27FC236}">
                <a16:creationId xmlns:a16="http://schemas.microsoft.com/office/drawing/2014/main" id="{B09D3C09-58F7-F582-C76C-EAFBF12F25B4}"/>
              </a:ext>
            </a:extLst>
          </p:cNvPr>
          <p:cNvSpPr txBox="1"/>
          <p:nvPr/>
        </p:nvSpPr>
        <p:spPr>
          <a:xfrm>
            <a:off x="8627969" y="2432354"/>
            <a:ext cx="2422874" cy="10557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5000"/>
              </a:lnSpc>
            </a:pPr>
            <a:r>
              <a:rPr lang="de-DE" sz="2600" dirty="0">
                <a:solidFill>
                  <a:schemeClr val="bg1"/>
                </a:solidFill>
              </a:rPr>
              <a:t>2</a:t>
            </a:r>
          </a:p>
          <a:p>
            <a:pPr algn="ctr">
              <a:lnSpc>
                <a:spcPct val="125000"/>
              </a:lnSpc>
            </a:pPr>
            <a:r>
              <a:rPr lang="de-DE" sz="1000" dirty="0">
                <a:solidFill>
                  <a:schemeClr val="bg1"/>
                </a:solidFill>
              </a:rPr>
              <a:t>Gigawatt</a:t>
            </a:r>
          </a:p>
          <a:p>
            <a:pPr algn="ctr">
              <a:lnSpc>
                <a:spcPct val="125000"/>
              </a:lnSpc>
            </a:pPr>
            <a:r>
              <a:rPr lang="de-DE" sz="1000" dirty="0">
                <a:solidFill>
                  <a:schemeClr val="bg1"/>
                </a:solidFill>
              </a:rPr>
              <a:t>Erzeugungsleistung aller</a:t>
            </a:r>
          </a:p>
          <a:p>
            <a:pPr algn="ctr">
              <a:lnSpc>
                <a:spcPct val="125000"/>
              </a:lnSpc>
            </a:pPr>
            <a:r>
              <a:rPr lang="de-DE" sz="1000" dirty="0">
                <a:solidFill>
                  <a:schemeClr val="bg1"/>
                </a:solidFill>
              </a:rPr>
              <a:t>errichteten Anlage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F076331E-FBCF-7F09-175E-E2B3407FE20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528014" y="1744501"/>
            <a:ext cx="622785" cy="622785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1B91B2A7-AE00-78FB-EB78-BB914AD591D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2195" y="1744501"/>
            <a:ext cx="621792" cy="621792"/>
          </a:xfrm>
          <a:prstGeom prst="rect">
            <a:avLst/>
          </a:prstGeom>
        </p:spPr>
      </p:pic>
      <p:sp>
        <p:nvSpPr>
          <p:cNvPr id="10" name="Textfeld 21">
            <a:extLst>
              <a:ext uri="{FF2B5EF4-FFF2-40B4-BE49-F238E27FC236}">
                <a16:creationId xmlns:a16="http://schemas.microsoft.com/office/drawing/2014/main" id="{CE11DC25-613F-CCCA-01E4-ACE1178F96AF}"/>
              </a:ext>
            </a:extLst>
          </p:cNvPr>
          <p:cNvSpPr txBox="1"/>
          <p:nvPr/>
        </p:nvSpPr>
        <p:spPr>
          <a:xfrm>
            <a:off x="7005455" y="4717484"/>
            <a:ext cx="1822100" cy="863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5000"/>
              </a:lnSpc>
            </a:pPr>
            <a:r>
              <a:rPr lang="de-DE" sz="2600">
                <a:solidFill>
                  <a:schemeClr val="bg1"/>
                </a:solidFill>
              </a:rPr>
              <a:t>&gt; 1.200</a:t>
            </a:r>
          </a:p>
          <a:p>
            <a:pPr algn="ctr">
              <a:lnSpc>
                <a:spcPct val="125000"/>
              </a:lnSpc>
            </a:pPr>
            <a:r>
              <a:rPr lang="de-DE" sz="1000">
                <a:solidFill>
                  <a:schemeClr val="bg1"/>
                </a:solidFill>
              </a:rPr>
              <a:t>Mitarbeiterinnen</a:t>
            </a:r>
          </a:p>
          <a:p>
            <a:pPr algn="ctr">
              <a:lnSpc>
                <a:spcPct val="125000"/>
              </a:lnSpc>
            </a:pPr>
            <a:r>
              <a:rPr lang="de-DE" sz="1000">
                <a:solidFill>
                  <a:schemeClr val="bg1"/>
                </a:solidFill>
              </a:rPr>
              <a:t>und Mitarbeiter </a:t>
            </a:r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A1E53FD3-25A3-B014-2186-25BD515CAA88}"/>
              </a:ext>
            </a:extLst>
          </p:cNvPr>
          <p:cNvSpPr txBox="1"/>
          <p:nvPr/>
        </p:nvSpPr>
        <p:spPr>
          <a:xfrm>
            <a:off x="2952955" y="4717484"/>
            <a:ext cx="2449766" cy="10557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5000"/>
              </a:lnSpc>
            </a:pPr>
            <a:r>
              <a:rPr lang="de-DE" sz="2600">
                <a:solidFill>
                  <a:schemeClr val="bg1"/>
                </a:solidFill>
              </a:rPr>
              <a:t>&gt; 6,9</a:t>
            </a:r>
          </a:p>
          <a:p>
            <a:pPr algn="ctr">
              <a:lnSpc>
                <a:spcPct val="125000"/>
              </a:lnSpc>
            </a:pPr>
            <a:r>
              <a:rPr lang="de-DE" sz="1000">
                <a:solidFill>
                  <a:schemeClr val="bg1"/>
                </a:solidFill>
              </a:rPr>
              <a:t>Gigawatt Anlagenleistung</a:t>
            </a:r>
          </a:p>
          <a:p>
            <a:pPr algn="ctr">
              <a:lnSpc>
                <a:spcPct val="125000"/>
              </a:lnSpc>
            </a:pPr>
            <a:r>
              <a:rPr lang="de-DE" sz="1000">
                <a:solidFill>
                  <a:schemeClr val="bg1"/>
                </a:solidFill>
              </a:rPr>
              <a:t>angeschlossen an die</a:t>
            </a:r>
          </a:p>
          <a:p>
            <a:pPr algn="ctr">
              <a:lnSpc>
                <a:spcPct val="125000"/>
              </a:lnSpc>
            </a:pPr>
            <a:r>
              <a:rPr lang="de-DE" sz="1000">
                <a:solidFill>
                  <a:schemeClr val="bg1"/>
                </a:solidFill>
              </a:rPr>
              <a:t>Software Powersystem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4D841135-9381-23BD-4122-6BDF486C600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66446" y="4046066"/>
            <a:ext cx="622785" cy="622785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3EFC1831-9F01-2568-5AFA-96493C0B69E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05113" y="4046066"/>
            <a:ext cx="622785" cy="622785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221C11DF-40C6-772C-14E2-C350F11DB16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84608" y="1744501"/>
            <a:ext cx="622785" cy="62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3528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CD2636-4C24-21C3-0E72-F9AF22D7A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rneuerbare Energien Kraftwerksbetreib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6ECBC1B-A6D6-EA78-7D6A-61527D17A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EC77CF-D749-618F-BE90-A10381AD82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„Energie braucht Netze“ - Netzwerkveranstaltung 24. April 2026 in Görlitz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F5BD817B-16DF-B82E-C750-B76FAF1837B7}"/>
              </a:ext>
            </a:extLst>
          </p:cNvPr>
          <p:cNvSpPr txBox="1"/>
          <p:nvPr/>
        </p:nvSpPr>
        <p:spPr>
          <a:xfrm>
            <a:off x="1705569" y="1805947"/>
            <a:ext cx="160460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1400"/>
              <a:t>100% Erneuerbar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B8EC70D3-A844-7F89-4F6C-8AEA5984A9FD}"/>
              </a:ext>
            </a:extLst>
          </p:cNvPr>
          <p:cNvSpPr txBox="1"/>
          <p:nvPr/>
        </p:nvSpPr>
        <p:spPr>
          <a:xfrm>
            <a:off x="1705569" y="2743789"/>
            <a:ext cx="141147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1400"/>
              <a:t>Fahrplanbetrieb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A76AFAE6-FC23-BC40-E6AD-05E18103EB87}"/>
              </a:ext>
            </a:extLst>
          </p:cNvPr>
          <p:cNvSpPr txBox="1"/>
          <p:nvPr/>
        </p:nvSpPr>
        <p:spPr>
          <a:xfrm>
            <a:off x="1705569" y="3681631"/>
            <a:ext cx="177349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1400"/>
              <a:t>Systemdienstleister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E16ED7A0-6044-DD7C-F928-E9CE0D2CC9D6}"/>
              </a:ext>
            </a:extLst>
          </p:cNvPr>
          <p:cNvSpPr txBox="1"/>
          <p:nvPr/>
        </p:nvSpPr>
        <p:spPr>
          <a:xfrm>
            <a:off x="1705569" y="4619473"/>
            <a:ext cx="11723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1400"/>
              <a:t>Schwarzstart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87C4BE7F-87E1-DB0A-3C57-AE3C4B70B7CF}"/>
              </a:ext>
            </a:extLst>
          </p:cNvPr>
          <p:cNvSpPr txBox="1"/>
          <p:nvPr/>
        </p:nvSpPr>
        <p:spPr>
          <a:xfrm>
            <a:off x="1705569" y="5557315"/>
            <a:ext cx="227786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1400"/>
              <a:t>Grüne Wärmeversorgung</a:t>
            </a:r>
          </a:p>
        </p:txBody>
      </p: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87B2E7F1-2CB9-A705-D2F2-C65CE7328C56}"/>
              </a:ext>
            </a:extLst>
          </p:cNvPr>
          <p:cNvCxnSpPr>
            <a:cxnSpLocks/>
          </p:cNvCxnSpPr>
          <p:nvPr/>
        </p:nvCxnSpPr>
        <p:spPr>
          <a:xfrm>
            <a:off x="576000" y="2356285"/>
            <a:ext cx="11033294" cy="0"/>
          </a:xfrm>
          <a:prstGeom prst="line">
            <a:avLst/>
          </a:prstGeom>
          <a:ln w="635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feld 52">
            <a:extLst>
              <a:ext uri="{FF2B5EF4-FFF2-40B4-BE49-F238E27FC236}">
                <a16:creationId xmlns:a16="http://schemas.microsoft.com/office/drawing/2014/main" id="{3E613D82-3506-EEF3-84B5-2D40173228C4}"/>
              </a:ext>
            </a:extLst>
          </p:cNvPr>
          <p:cNvSpPr txBox="1"/>
          <p:nvPr/>
        </p:nvSpPr>
        <p:spPr>
          <a:xfrm>
            <a:off x="4847153" y="5454906"/>
            <a:ext cx="4748095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>
                <a:cs typeface="Verdana" panose="020B0604030504040204" pitchFamily="34" charset="0"/>
              </a:rPr>
              <a:t>Belieferung von Greenpeace Energy-Kunden mit </a:t>
            </a:r>
            <a:r>
              <a:rPr lang="de-DE" sz="1000" err="1">
                <a:cs typeface="Verdana" panose="020B0604030504040204" pitchFamily="34" charset="0"/>
              </a:rPr>
              <a:t>Windgas</a:t>
            </a:r>
            <a:endParaRPr lang="de-DE" sz="1000">
              <a:cs typeface="Verdana" panose="020B0604030504040204" pitchFamily="34" charset="0"/>
            </a:endParaRP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>
                <a:cs typeface="Verdana" panose="020B0604030504040204" pitchFamily="34" charset="0"/>
              </a:rPr>
              <a:t>2 MW </a:t>
            </a:r>
            <a:r>
              <a:rPr lang="de-DE" sz="1000" b="1">
                <a:latin typeface="Verdana" panose="020B0604030504040204" pitchFamily="34" charset="0"/>
                <a:cs typeface="Verdana" panose="020B0604030504040204" pitchFamily="34" charset="0"/>
              </a:rPr>
              <a:t>„Power-</a:t>
            </a:r>
            <a:r>
              <a:rPr lang="de-DE" sz="1000" b="1" err="1">
                <a:latin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1000" b="1">
                <a:latin typeface="Verdana" panose="020B0604030504040204" pitchFamily="34" charset="0"/>
                <a:cs typeface="Verdana" panose="020B0604030504040204" pitchFamily="34" charset="0"/>
              </a:rPr>
              <a:t>-Heat” </a:t>
            </a:r>
            <a:r>
              <a:rPr lang="de-DE" sz="1000">
                <a:cs typeface="Verdana" panose="020B0604030504040204" pitchFamily="34" charset="0"/>
              </a:rPr>
              <a:t>Anlage und Verknüpfung mit Nahwärmenetz</a:t>
            </a: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>
                <a:cs typeface="Verdana" panose="020B0604030504040204" pitchFamily="34" charset="0"/>
              </a:rPr>
              <a:t>Abwärme von Blockheizkraftwerken für rund 1.000 Haushalte </a:t>
            </a:r>
            <a:endParaRPr lang="de-DE" sz="1000"/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487938BB-5EE3-A7BD-A964-C2928161ADAF}"/>
              </a:ext>
            </a:extLst>
          </p:cNvPr>
          <p:cNvSpPr txBox="1"/>
          <p:nvPr/>
        </p:nvSpPr>
        <p:spPr>
          <a:xfrm>
            <a:off x="4847153" y="1710625"/>
            <a:ext cx="5725926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>
                <a:cs typeface="Verdana" panose="020B0604030504040204" pitchFamily="34" charset="0"/>
              </a:rPr>
              <a:t>Verzahnung aus PV, Windkraft, </a:t>
            </a:r>
            <a:r>
              <a:rPr lang="de-DE" sz="1000" err="1">
                <a:cs typeface="Verdana" panose="020B0604030504040204" pitchFamily="34" charset="0"/>
              </a:rPr>
              <a:t>Windgas</a:t>
            </a:r>
            <a:r>
              <a:rPr lang="de-DE" sz="1000">
                <a:cs typeface="Verdana" panose="020B0604030504040204" pitchFamily="34" charset="0"/>
              </a:rPr>
              <a:t> und Biogas</a:t>
            </a: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>
                <a:cs typeface="Verdana" panose="020B0604030504040204" pitchFamily="34" charset="0"/>
              </a:rPr>
              <a:t>Mehr als 1.000 km eigenes Netz gespeist mit </a:t>
            </a:r>
            <a:r>
              <a:rPr lang="de-DE" sz="1000" b="1">
                <a:latin typeface="Verdana" panose="020B0604030504040204" pitchFamily="34" charset="0"/>
                <a:cs typeface="Verdana" panose="020B0604030504040204" pitchFamily="34" charset="0"/>
              </a:rPr>
              <a:t>Strom aus erneuerbarer Erzeugung</a:t>
            </a: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>
                <a:cs typeface="Verdana" panose="020B0604030504040204" pitchFamily="34" charset="0"/>
              </a:rPr>
              <a:t>100 % physikalisch erneuerbar</a:t>
            </a:r>
            <a:endParaRPr lang="de-DE" sz="1000"/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9C72CDEA-2108-5CCA-2191-A09660B75FF0}"/>
              </a:ext>
            </a:extLst>
          </p:cNvPr>
          <p:cNvSpPr txBox="1"/>
          <p:nvPr/>
        </p:nvSpPr>
        <p:spPr>
          <a:xfrm>
            <a:off x="4847153" y="2685692"/>
            <a:ext cx="524662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>
                <a:cs typeface="Verdana" panose="020B0604030504040204" pitchFamily="34" charset="0"/>
              </a:rPr>
              <a:t>Verbundkraftwerk Uckermark ist </a:t>
            </a:r>
            <a:r>
              <a:rPr lang="de-DE" sz="1000" b="1">
                <a:latin typeface="Verdana" panose="020B0604030504040204" pitchFamily="34" charset="0"/>
                <a:cs typeface="Verdana" panose="020B0604030504040204" pitchFamily="34" charset="0"/>
              </a:rPr>
              <a:t>stufenlos regelbar </a:t>
            </a:r>
            <a:r>
              <a:rPr lang="de-DE" sz="1000">
                <a:cs typeface="Verdana" panose="020B0604030504040204" pitchFamily="34" charset="0"/>
              </a:rPr>
              <a:t>durch den ÜNB 50Hertz</a:t>
            </a: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>
                <a:cs typeface="Verdana" panose="020B0604030504040204" pitchFamily="34" charset="0"/>
              </a:rPr>
              <a:t>Leitwarte steuert </a:t>
            </a:r>
            <a:r>
              <a:rPr lang="de-DE" sz="1000" b="1">
                <a:latin typeface="Verdana" panose="020B0604030504040204" pitchFamily="34" charset="0"/>
                <a:cs typeface="Verdana" panose="020B0604030504040204" pitchFamily="34" charset="0"/>
              </a:rPr>
              <a:t>24/7 </a:t>
            </a:r>
            <a:r>
              <a:rPr lang="de-DE" sz="1000">
                <a:cs typeface="Verdana" panose="020B0604030504040204" pitchFamily="34" charset="0"/>
              </a:rPr>
              <a:t>Betrieb und Energieerzeugung</a:t>
            </a:r>
            <a:endParaRPr lang="de-DE" sz="1000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C1BAC917-384C-7AAA-6EBF-45CCF19FF926}"/>
              </a:ext>
            </a:extLst>
          </p:cNvPr>
          <p:cNvSpPr txBox="1"/>
          <p:nvPr/>
        </p:nvSpPr>
        <p:spPr>
          <a:xfrm>
            <a:off x="4847153" y="3630698"/>
            <a:ext cx="489396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>
                <a:cs typeface="Verdana" panose="020B0604030504040204" pitchFamily="34" charset="0"/>
              </a:rPr>
              <a:t> </a:t>
            </a:r>
            <a:r>
              <a:rPr lang="de-DE" sz="1000" b="1">
                <a:latin typeface="Verdana" panose="020B0604030504040204" pitchFamily="34" charset="0"/>
                <a:cs typeface="Verdana" panose="020B0604030504040204" pitchFamily="34" charset="0"/>
              </a:rPr>
              <a:t>22 MW Batteriespeicher </a:t>
            </a:r>
            <a:r>
              <a:rPr lang="de-DE" sz="1000">
                <a:cs typeface="Verdana" panose="020B0604030504040204" pitchFamily="34" charset="0"/>
              </a:rPr>
              <a:t>erzeugt systemdienliche Primärregelenergie </a:t>
            </a: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>
                <a:cs typeface="Verdana" panose="020B0604030504040204" pitchFamily="34" charset="0"/>
              </a:rPr>
              <a:t> </a:t>
            </a:r>
            <a:r>
              <a:rPr lang="de-DE" sz="1000" b="1">
                <a:latin typeface="Verdana" panose="020B0604030504040204" pitchFamily="34" charset="0"/>
                <a:cs typeface="Verdana" panose="020B0604030504040204" pitchFamily="34" charset="0"/>
              </a:rPr>
              <a:t>Teil der Frequenzregelung </a:t>
            </a:r>
            <a:r>
              <a:rPr lang="de-DE" sz="1000">
                <a:cs typeface="Verdana" panose="020B0604030504040204" pitchFamily="34" charset="0"/>
              </a:rPr>
              <a:t>im europäischen Verbundnetz </a:t>
            </a:r>
            <a:endParaRPr lang="de-DE" sz="100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5220FE48-C0BB-EA92-00D3-95A172D21C2F}"/>
              </a:ext>
            </a:extLst>
          </p:cNvPr>
          <p:cNvSpPr txBox="1"/>
          <p:nvPr/>
        </p:nvSpPr>
        <p:spPr>
          <a:xfrm>
            <a:off x="4847153" y="4585291"/>
            <a:ext cx="474809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de-DE" sz="1000" b="1">
                <a:latin typeface="Verdana" panose="020B0604030504040204" pitchFamily="34" charset="0"/>
                <a:cs typeface="Verdana" panose="020B0604030504040204" pitchFamily="34" charset="0"/>
              </a:rPr>
              <a:t>Schwarzstartfähigkeit</a:t>
            </a:r>
            <a:r>
              <a:rPr lang="de-DE" sz="1000">
                <a:cs typeface="Verdana" panose="020B0604030504040204" pitchFamily="34" charset="0"/>
              </a:rPr>
              <a:t> durch Batteriespeicher und Biogasanlage im </a:t>
            </a:r>
            <a:br>
              <a:rPr lang="de-DE" sz="1000">
                <a:cs typeface="Verdana" panose="020B0604030504040204" pitchFamily="34" charset="0"/>
              </a:rPr>
            </a:br>
            <a:r>
              <a:rPr lang="de-DE" sz="1000">
                <a:cs typeface="Verdana" panose="020B0604030504040204" pitchFamily="34" charset="0"/>
              </a:rPr>
              <a:t>Verbundkraftwerk Uckermark</a:t>
            </a:r>
            <a:endParaRPr lang="de-DE" sz="1000"/>
          </a:p>
        </p:txBody>
      </p:sp>
      <p:sp>
        <p:nvSpPr>
          <p:cNvPr id="448" name="Untertitel 447">
            <a:extLst>
              <a:ext uri="{FF2B5EF4-FFF2-40B4-BE49-F238E27FC236}">
                <a16:creationId xmlns:a16="http://schemas.microsoft.com/office/drawing/2014/main" id="{45EC8026-D460-756B-760C-86FCBE7527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89" name="Freihandform 488">
            <a:extLst>
              <a:ext uri="{FF2B5EF4-FFF2-40B4-BE49-F238E27FC236}">
                <a16:creationId xmlns:a16="http://schemas.microsoft.com/office/drawing/2014/main" id="{7103A14E-96F8-46CA-03D4-BCCDE9D3A2A2}"/>
              </a:ext>
            </a:extLst>
          </p:cNvPr>
          <p:cNvSpPr/>
          <p:nvPr/>
        </p:nvSpPr>
        <p:spPr>
          <a:xfrm>
            <a:off x="610338" y="5262964"/>
            <a:ext cx="792000" cy="792000"/>
          </a:xfrm>
          <a:custGeom>
            <a:avLst/>
            <a:gdLst>
              <a:gd name="connsiteX0" fmla="*/ 3884581 w 3884580"/>
              <a:gd name="connsiteY0" fmla="*/ 1942290 h 3884580"/>
              <a:gd name="connsiteX1" fmla="*/ 1942291 w 3884580"/>
              <a:gd name="connsiteY1" fmla="*/ 3884581 h 3884580"/>
              <a:gd name="connsiteX2" fmla="*/ 0 w 3884580"/>
              <a:gd name="connsiteY2" fmla="*/ 1942290 h 3884580"/>
              <a:gd name="connsiteX3" fmla="*/ 1942291 w 3884580"/>
              <a:gd name="connsiteY3" fmla="*/ 0 h 3884580"/>
              <a:gd name="connsiteX4" fmla="*/ 3884581 w 3884580"/>
              <a:gd name="connsiteY4" fmla="*/ 1942290 h 3884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4580" h="3884580">
                <a:moveTo>
                  <a:pt x="3884581" y="1942290"/>
                </a:moveTo>
                <a:cubicBezTo>
                  <a:pt x="3884581" y="3014988"/>
                  <a:pt x="3014988" y="3884581"/>
                  <a:pt x="1942291" y="3884581"/>
                </a:cubicBezTo>
                <a:cubicBezTo>
                  <a:pt x="869593" y="3884581"/>
                  <a:pt x="0" y="3014988"/>
                  <a:pt x="0" y="1942290"/>
                </a:cubicBezTo>
                <a:cubicBezTo>
                  <a:pt x="0" y="869593"/>
                  <a:pt x="869593" y="0"/>
                  <a:pt x="1942291" y="0"/>
                </a:cubicBezTo>
                <a:cubicBezTo>
                  <a:pt x="3014988" y="0"/>
                  <a:pt x="3884581" y="869593"/>
                  <a:pt x="3884581" y="1942290"/>
                </a:cubicBezTo>
                <a:close/>
              </a:path>
            </a:pathLst>
          </a:custGeom>
          <a:noFill/>
          <a:ln w="20241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93" name="Freihandform 492">
            <a:extLst>
              <a:ext uri="{FF2B5EF4-FFF2-40B4-BE49-F238E27FC236}">
                <a16:creationId xmlns:a16="http://schemas.microsoft.com/office/drawing/2014/main" id="{2C130BD9-4614-C865-1867-1DD9A952B011}"/>
              </a:ext>
            </a:extLst>
          </p:cNvPr>
          <p:cNvSpPr/>
          <p:nvPr/>
        </p:nvSpPr>
        <p:spPr>
          <a:xfrm>
            <a:off x="900034" y="5505037"/>
            <a:ext cx="199568" cy="212031"/>
          </a:xfrm>
          <a:custGeom>
            <a:avLst/>
            <a:gdLst>
              <a:gd name="connsiteX0" fmla="*/ 754975 w 978836"/>
              <a:gd name="connsiteY0" fmla="*/ 1009198 h 1039963"/>
              <a:gd name="connsiteX1" fmla="*/ 224671 w 978836"/>
              <a:gd name="connsiteY1" fmla="*/ 1009198 h 1039963"/>
              <a:gd name="connsiteX2" fmla="*/ 198358 w 978836"/>
              <a:gd name="connsiteY2" fmla="*/ 982885 h 1039963"/>
              <a:gd name="connsiteX3" fmla="*/ 197953 w 978836"/>
              <a:gd name="connsiteY3" fmla="*/ 982075 h 1039963"/>
              <a:gd name="connsiteX4" fmla="*/ 136827 w 978836"/>
              <a:gd name="connsiteY4" fmla="*/ 784527 h 1039963"/>
              <a:gd name="connsiteX5" fmla="*/ 134398 w 978836"/>
              <a:gd name="connsiteY5" fmla="*/ 779669 h 1039963"/>
              <a:gd name="connsiteX6" fmla="*/ 30766 w 978836"/>
              <a:gd name="connsiteY6" fmla="*/ 489418 h 1039963"/>
              <a:gd name="connsiteX7" fmla="*/ 489013 w 978836"/>
              <a:gd name="connsiteY7" fmla="*/ 31171 h 1039963"/>
              <a:gd name="connsiteX8" fmla="*/ 947261 w 978836"/>
              <a:gd name="connsiteY8" fmla="*/ 489418 h 1039963"/>
              <a:gd name="connsiteX9" fmla="*/ 846058 w 978836"/>
              <a:gd name="connsiteY9" fmla="*/ 776835 h 1039963"/>
              <a:gd name="connsiteX10" fmla="*/ 843224 w 978836"/>
              <a:gd name="connsiteY10" fmla="*/ 782908 h 1039963"/>
              <a:gd name="connsiteX11" fmla="*/ 780883 w 978836"/>
              <a:gd name="connsiteY11" fmla="*/ 982075 h 1039963"/>
              <a:gd name="connsiteX12" fmla="*/ 780883 w 978836"/>
              <a:gd name="connsiteY12" fmla="*/ 983290 h 1039963"/>
              <a:gd name="connsiteX13" fmla="*/ 754975 w 978836"/>
              <a:gd name="connsiteY13" fmla="*/ 1009198 h 1039963"/>
              <a:gd name="connsiteX14" fmla="*/ 978837 w 978836"/>
              <a:gd name="connsiteY14" fmla="*/ 489418 h 1039963"/>
              <a:gd name="connsiteX15" fmla="*/ 489418 w 978836"/>
              <a:gd name="connsiteY15" fmla="*/ 0 h 1039963"/>
              <a:gd name="connsiteX16" fmla="*/ 0 w 978836"/>
              <a:gd name="connsiteY16" fmla="*/ 489418 h 1039963"/>
              <a:gd name="connsiteX17" fmla="*/ 107275 w 978836"/>
              <a:gd name="connsiteY17" fmla="*/ 795052 h 1039963"/>
              <a:gd name="connsiteX18" fmla="*/ 107275 w 978836"/>
              <a:gd name="connsiteY18" fmla="*/ 795052 h 1039963"/>
              <a:gd name="connsiteX19" fmla="*/ 167188 w 978836"/>
              <a:gd name="connsiteY19" fmla="*/ 986123 h 1039963"/>
              <a:gd name="connsiteX20" fmla="*/ 167592 w 978836"/>
              <a:gd name="connsiteY20" fmla="*/ 988552 h 1039963"/>
              <a:gd name="connsiteX21" fmla="*/ 224266 w 978836"/>
              <a:gd name="connsiteY21" fmla="*/ 1039963 h 1039963"/>
              <a:gd name="connsiteX22" fmla="*/ 754166 w 978836"/>
              <a:gd name="connsiteY22" fmla="*/ 1039963 h 1039963"/>
              <a:gd name="connsiteX23" fmla="*/ 811244 w 978836"/>
              <a:gd name="connsiteY23" fmla="*/ 988147 h 1039963"/>
              <a:gd name="connsiteX24" fmla="*/ 811649 w 978836"/>
              <a:gd name="connsiteY24" fmla="*/ 986123 h 1039963"/>
              <a:gd name="connsiteX25" fmla="*/ 871561 w 978836"/>
              <a:gd name="connsiteY25" fmla="*/ 795052 h 1039963"/>
              <a:gd name="connsiteX26" fmla="*/ 872371 w 978836"/>
              <a:gd name="connsiteY26" fmla="*/ 792623 h 1039963"/>
              <a:gd name="connsiteX27" fmla="*/ 978837 w 978836"/>
              <a:gd name="connsiteY27" fmla="*/ 489418 h 1039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978836" h="1039963">
                <a:moveTo>
                  <a:pt x="754975" y="1009198"/>
                </a:moveTo>
                <a:lnTo>
                  <a:pt x="224671" y="1009198"/>
                </a:lnTo>
                <a:cubicBezTo>
                  <a:pt x="210098" y="1009198"/>
                  <a:pt x="198358" y="997458"/>
                  <a:pt x="198358" y="982885"/>
                </a:cubicBezTo>
                <a:cubicBezTo>
                  <a:pt x="198358" y="982480"/>
                  <a:pt x="198358" y="982075"/>
                  <a:pt x="197953" y="982075"/>
                </a:cubicBezTo>
                <a:cubicBezTo>
                  <a:pt x="196739" y="964263"/>
                  <a:pt x="187833" y="868323"/>
                  <a:pt x="136827" y="784527"/>
                </a:cubicBezTo>
                <a:cubicBezTo>
                  <a:pt x="136422" y="782908"/>
                  <a:pt x="135612" y="781288"/>
                  <a:pt x="134398" y="779669"/>
                </a:cubicBezTo>
                <a:cubicBezTo>
                  <a:pt x="67604" y="698302"/>
                  <a:pt x="30766" y="595074"/>
                  <a:pt x="30766" y="489418"/>
                </a:cubicBezTo>
                <a:cubicBezTo>
                  <a:pt x="30766" y="236815"/>
                  <a:pt x="236410" y="31171"/>
                  <a:pt x="489013" y="31171"/>
                </a:cubicBezTo>
                <a:cubicBezTo>
                  <a:pt x="741617" y="31171"/>
                  <a:pt x="947261" y="236815"/>
                  <a:pt x="947261" y="489418"/>
                </a:cubicBezTo>
                <a:cubicBezTo>
                  <a:pt x="947261" y="593860"/>
                  <a:pt x="911233" y="695873"/>
                  <a:pt x="846058" y="776835"/>
                </a:cubicBezTo>
                <a:cubicBezTo>
                  <a:pt x="844439" y="778859"/>
                  <a:pt x="843629" y="780883"/>
                  <a:pt x="843224" y="782908"/>
                </a:cubicBezTo>
                <a:cubicBezTo>
                  <a:pt x="791408" y="867108"/>
                  <a:pt x="782098" y="963858"/>
                  <a:pt x="780883" y="982075"/>
                </a:cubicBezTo>
                <a:cubicBezTo>
                  <a:pt x="780883" y="982480"/>
                  <a:pt x="780883" y="982885"/>
                  <a:pt x="780883" y="983290"/>
                </a:cubicBezTo>
                <a:cubicBezTo>
                  <a:pt x="781288" y="997458"/>
                  <a:pt x="769548" y="1009198"/>
                  <a:pt x="754975" y="1009198"/>
                </a:cubicBezTo>
                <a:close/>
                <a:moveTo>
                  <a:pt x="978837" y="489418"/>
                </a:moveTo>
                <a:cubicBezTo>
                  <a:pt x="978837" y="219408"/>
                  <a:pt x="759428" y="0"/>
                  <a:pt x="489418" y="0"/>
                </a:cubicBezTo>
                <a:cubicBezTo>
                  <a:pt x="219408" y="0"/>
                  <a:pt x="0" y="219408"/>
                  <a:pt x="0" y="489418"/>
                </a:cubicBezTo>
                <a:cubicBezTo>
                  <a:pt x="0" y="600337"/>
                  <a:pt x="38052" y="708422"/>
                  <a:pt x="107275" y="795052"/>
                </a:cubicBezTo>
                <a:lnTo>
                  <a:pt x="107275" y="795052"/>
                </a:lnTo>
                <a:cubicBezTo>
                  <a:pt x="161520" y="880063"/>
                  <a:pt x="167188" y="985314"/>
                  <a:pt x="167188" y="986123"/>
                </a:cubicBezTo>
                <a:cubicBezTo>
                  <a:pt x="167188" y="986933"/>
                  <a:pt x="167592" y="987743"/>
                  <a:pt x="167592" y="988552"/>
                </a:cubicBezTo>
                <a:cubicBezTo>
                  <a:pt x="170426" y="1017294"/>
                  <a:pt x="194715" y="1039963"/>
                  <a:pt x="224266" y="1039963"/>
                </a:cubicBezTo>
                <a:lnTo>
                  <a:pt x="754166" y="1039963"/>
                </a:lnTo>
                <a:cubicBezTo>
                  <a:pt x="783717" y="1039963"/>
                  <a:pt x="808006" y="1017294"/>
                  <a:pt x="811244" y="988147"/>
                </a:cubicBezTo>
                <a:cubicBezTo>
                  <a:pt x="811244" y="987338"/>
                  <a:pt x="811649" y="986528"/>
                  <a:pt x="811649" y="986123"/>
                </a:cubicBezTo>
                <a:cubicBezTo>
                  <a:pt x="811649" y="984909"/>
                  <a:pt x="817721" y="879658"/>
                  <a:pt x="871561" y="795052"/>
                </a:cubicBezTo>
                <a:cubicBezTo>
                  <a:pt x="871966" y="794242"/>
                  <a:pt x="871966" y="793433"/>
                  <a:pt x="872371" y="792623"/>
                </a:cubicBezTo>
                <a:cubicBezTo>
                  <a:pt x="941189" y="706803"/>
                  <a:pt x="978837" y="599527"/>
                  <a:pt x="978837" y="489418"/>
                </a:cubicBezTo>
                <a:close/>
              </a:path>
            </a:pathLst>
          </a:custGeom>
          <a:noFill/>
          <a:ln w="32385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94" name="Freihandform 493">
            <a:extLst>
              <a:ext uri="{FF2B5EF4-FFF2-40B4-BE49-F238E27FC236}">
                <a16:creationId xmlns:a16="http://schemas.microsoft.com/office/drawing/2014/main" id="{28DC9927-255C-48F3-3D63-642FFD2028FA}"/>
              </a:ext>
            </a:extLst>
          </p:cNvPr>
          <p:cNvSpPr/>
          <p:nvPr/>
        </p:nvSpPr>
        <p:spPr>
          <a:xfrm>
            <a:off x="932552" y="5723258"/>
            <a:ext cx="134696" cy="25090"/>
          </a:xfrm>
          <a:custGeom>
            <a:avLst/>
            <a:gdLst>
              <a:gd name="connsiteX0" fmla="*/ 600742 w 660654"/>
              <a:gd name="connsiteY0" fmla="*/ 91892 h 123062"/>
              <a:gd name="connsiteX1" fmla="*/ 59912 w 660654"/>
              <a:gd name="connsiteY1" fmla="*/ 91892 h 123062"/>
              <a:gd name="connsiteX2" fmla="*/ 31171 w 660654"/>
              <a:gd name="connsiteY2" fmla="*/ 60317 h 123062"/>
              <a:gd name="connsiteX3" fmla="*/ 59912 w 660654"/>
              <a:gd name="connsiteY3" fmla="*/ 31575 h 123062"/>
              <a:gd name="connsiteX4" fmla="*/ 600742 w 660654"/>
              <a:gd name="connsiteY4" fmla="*/ 31575 h 123062"/>
              <a:gd name="connsiteX5" fmla="*/ 629483 w 660654"/>
              <a:gd name="connsiteY5" fmla="*/ 63151 h 123062"/>
              <a:gd name="connsiteX6" fmla="*/ 600742 w 660654"/>
              <a:gd name="connsiteY6" fmla="*/ 91892 h 123062"/>
              <a:gd name="connsiteX7" fmla="*/ 600742 w 660654"/>
              <a:gd name="connsiteY7" fmla="*/ 0 h 123062"/>
              <a:gd name="connsiteX8" fmla="*/ 59912 w 660654"/>
              <a:gd name="connsiteY8" fmla="*/ 0 h 123062"/>
              <a:gd name="connsiteX9" fmla="*/ 0 w 660654"/>
              <a:gd name="connsiteY9" fmla="*/ 63151 h 123062"/>
              <a:gd name="connsiteX10" fmla="*/ 59912 w 660654"/>
              <a:gd name="connsiteY10" fmla="*/ 123063 h 123062"/>
              <a:gd name="connsiteX11" fmla="*/ 600742 w 660654"/>
              <a:gd name="connsiteY11" fmla="*/ 123063 h 123062"/>
              <a:gd name="connsiteX12" fmla="*/ 660654 w 660654"/>
              <a:gd name="connsiteY12" fmla="*/ 60317 h 123062"/>
              <a:gd name="connsiteX13" fmla="*/ 600742 w 660654"/>
              <a:gd name="connsiteY13" fmla="*/ 0 h 123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60654" h="123062">
                <a:moveTo>
                  <a:pt x="600742" y="91892"/>
                </a:moveTo>
                <a:lnTo>
                  <a:pt x="59912" y="91892"/>
                </a:lnTo>
                <a:cubicBezTo>
                  <a:pt x="44125" y="91892"/>
                  <a:pt x="31171" y="78938"/>
                  <a:pt x="31171" y="60317"/>
                </a:cubicBezTo>
                <a:cubicBezTo>
                  <a:pt x="31171" y="44529"/>
                  <a:pt x="44125" y="31575"/>
                  <a:pt x="59912" y="31575"/>
                </a:cubicBezTo>
                <a:lnTo>
                  <a:pt x="600742" y="31575"/>
                </a:lnTo>
                <a:cubicBezTo>
                  <a:pt x="616530" y="31575"/>
                  <a:pt x="629483" y="44529"/>
                  <a:pt x="629483" y="63151"/>
                </a:cubicBezTo>
                <a:cubicBezTo>
                  <a:pt x="629483" y="78938"/>
                  <a:pt x="616530" y="91892"/>
                  <a:pt x="600742" y="91892"/>
                </a:cubicBezTo>
                <a:moveTo>
                  <a:pt x="600742" y="0"/>
                </a:moveTo>
                <a:lnTo>
                  <a:pt x="59912" y="0"/>
                </a:lnTo>
                <a:cubicBezTo>
                  <a:pt x="26718" y="0"/>
                  <a:pt x="0" y="27122"/>
                  <a:pt x="0" y="63151"/>
                </a:cubicBezTo>
                <a:cubicBezTo>
                  <a:pt x="0" y="96345"/>
                  <a:pt x="27122" y="123063"/>
                  <a:pt x="59912" y="123063"/>
                </a:cubicBezTo>
                <a:lnTo>
                  <a:pt x="600742" y="123063"/>
                </a:lnTo>
                <a:cubicBezTo>
                  <a:pt x="633936" y="123063"/>
                  <a:pt x="660654" y="96345"/>
                  <a:pt x="660654" y="60317"/>
                </a:cubicBezTo>
                <a:cubicBezTo>
                  <a:pt x="660654" y="26718"/>
                  <a:pt x="633936" y="0"/>
                  <a:pt x="600742" y="0"/>
                </a:cubicBezTo>
              </a:path>
            </a:pathLst>
          </a:custGeom>
          <a:solidFill>
            <a:srgbClr val="FFFFF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95" name="Freihandform 494">
            <a:extLst>
              <a:ext uri="{FF2B5EF4-FFF2-40B4-BE49-F238E27FC236}">
                <a16:creationId xmlns:a16="http://schemas.microsoft.com/office/drawing/2014/main" id="{34882688-B2DA-92E7-6E6C-4F30FC3BD52B}"/>
              </a:ext>
            </a:extLst>
          </p:cNvPr>
          <p:cNvSpPr/>
          <p:nvPr/>
        </p:nvSpPr>
        <p:spPr>
          <a:xfrm>
            <a:off x="932552" y="5723258"/>
            <a:ext cx="134696" cy="25090"/>
          </a:xfrm>
          <a:custGeom>
            <a:avLst/>
            <a:gdLst>
              <a:gd name="connsiteX0" fmla="*/ 600742 w 660654"/>
              <a:gd name="connsiteY0" fmla="*/ 91892 h 123062"/>
              <a:gd name="connsiteX1" fmla="*/ 59912 w 660654"/>
              <a:gd name="connsiteY1" fmla="*/ 91892 h 123062"/>
              <a:gd name="connsiteX2" fmla="*/ 31171 w 660654"/>
              <a:gd name="connsiteY2" fmla="*/ 60317 h 123062"/>
              <a:gd name="connsiteX3" fmla="*/ 59912 w 660654"/>
              <a:gd name="connsiteY3" fmla="*/ 31575 h 123062"/>
              <a:gd name="connsiteX4" fmla="*/ 600742 w 660654"/>
              <a:gd name="connsiteY4" fmla="*/ 31575 h 123062"/>
              <a:gd name="connsiteX5" fmla="*/ 629483 w 660654"/>
              <a:gd name="connsiteY5" fmla="*/ 63151 h 123062"/>
              <a:gd name="connsiteX6" fmla="*/ 600742 w 660654"/>
              <a:gd name="connsiteY6" fmla="*/ 91892 h 123062"/>
              <a:gd name="connsiteX7" fmla="*/ 600742 w 660654"/>
              <a:gd name="connsiteY7" fmla="*/ 0 h 123062"/>
              <a:gd name="connsiteX8" fmla="*/ 59912 w 660654"/>
              <a:gd name="connsiteY8" fmla="*/ 0 h 123062"/>
              <a:gd name="connsiteX9" fmla="*/ 0 w 660654"/>
              <a:gd name="connsiteY9" fmla="*/ 63151 h 123062"/>
              <a:gd name="connsiteX10" fmla="*/ 59912 w 660654"/>
              <a:gd name="connsiteY10" fmla="*/ 123063 h 123062"/>
              <a:gd name="connsiteX11" fmla="*/ 600742 w 660654"/>
              <a:gd name="connsiteY11" fmla="*/ 123063 h 123062"/>
              <a:gd name="connsiteX12" fmla="*/ 660654 w 660654"/>
              <a:gd name="connsiteY12" fmla="*/ 60317 h 123062"/>
              <a:gd name="connsiteX13" fmla="*/ 600742 w 660654"/>
              <a:gd name="connsiteY13" fmla="*/ 0 h 123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60654" h="123062">
                <a:moveTo>
                  <a:pt x="600742" y="91892"/>
                </a:moveTo>
                <a:lnTo>
                  <a:pt x="59912" y="91892"/>
                </a:lnTo>
                <a:cubicBezTo>
                  <a:pt x="44125" y="91892"/>
                  <a:pt x="31171" y="78938"/>
                  <a:pt x="31171" y="60317"/>
                </a:cubicBezTo>
                <a:cubicBezTo>
                  <a:pt x="31171" y="44529"/>
                  <a:pt x="44125" y="31575"/>
                  <a:pt x="59912" y="31575"/>
                </a:cubicBezTo>
                <a:lnTo>
                  <a:pt x="600742" y="31575"/>
                </a:lnTo>
                <a:cubicBezTo>
                  <a:pt x="616530" y="31575"/>
                  <a:pt x="629483" y="44529"/>
                  <a:pt x="629483" y="63151"/>
                </a:cubicBezTo>
                <a:cubicBezTo>
                  <a:pt x="629483" y="78938"/>
                  <a:pt x="616530" y="91892"/>
                  <a:pt x="600742" y="91892"/>
                </a:cubicBezTo>
                <a:close/>
                <a:moveTo>
                  <a:pt x="600742" y="0"/>
                </a:moveTo>
                <a:lnTo>
                  <a:pt x="59912" y="0"/>
                </a:lnTo>
                <a:cubicBezTo>
                  <a:pt x="26718" y="0"/>
                  <a:pt x="0" y="27122"/>
                  <a:pt x="0" y="63151"/>
                </a:cubicBezTo>
                <a:cubicBezTo>
                  <a:pt x="0" y="96345"/>
                  <a:pt x="27122" y="123063"/>
                  <a:pt x="59912" y="123063"/>
                </a:cubicBezTo>
                <a:lnTo>
                  <a:pt x="600742" y="123063"/>
                </a:lnTo>
                <a:cubicBezTo>
                  <a:pt x="633936" y="123063"/>
                  <a:pt x="660654" y="96345"/>
                  <a:pt x="660654" y="60317"/>
                </a:cubicBezTo>
                <a:cubicBezTo>
                  <a:pt x="660654" y="26718"/>
                  <a:pt x="633936" y="0"/>
                  <a:pt x="600742" y="0"/>
                </a:cubicBezTo>
                <a:close/>
              </a:path>
            </a:pathLst>
          </a:custGeom>
          <a:noFill/>
          <a:ln w="3238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97" name="Freihandform 496">
            <a:extLst>
              <a:ext uri="{FF2B5EF4-FFF2-40B4-BE49-F238E27FC236}">
                <a16:creationId xmlns:a16="http://schemas.microsoft.com/office/drawing/2014/main" id="{EDC49A0C-2CFB-B20D-00F8-307E16739283}"/>
              </a:ext>
            </a:extLst>
          </p:cNvPr>
          <p:cNvSpPr/>
          <p:nvPr/>
        </p:nvSpPr>
        <p:spPr>
          <a:xfrm>
            <a:off x="945263" y="5753714"/>
            <a:ext cx="109194" cy="51254"/>
          </a:xfrm>
          <a:custGeom>
            <a:avLst/>
            <a:gdLst>
              <a:gd name="connsiteX0" fmla="*/ 476059 w 535571"/>
              <a:gd name="connsiteY0" fmla="*/ 91892 h 251388"/>
              <a:gd name="connsiteX1" fmla="*/ 59912 w 535571"/>
              <a:gd name="connsiteY1" fmla="*/ 91892 h 251388"/>
              <a:gd name="connsiteX2" fmla="*/ 31171 w 535571"/>
              <a:gd name="connsiteY2" fmla="*/ 60317 h 251388"/>
              <a:gd name="connsiteX3" fmla="*/ 59912 w 535571"/>
              <a:gd name="connsiteY3" fmla="*/ 31575 h 251388"/>
              <a:gd name="connsiteX4" fmla="*/ 475655 w 535571"/>
              <a:gd name="connsiteY4" fmla="*/ 31575 h 251388"/>
              <a:gd name="connsiteX5" fmla="*/ 504396 w 535571"/>
              <a:gd name="connsiteY5" fmla="*/ 63151 h 251388"/>
              <a:gd name="connsiteX6" fmla="*/ 476059 w 535571"/>
              <a:gd name="connsiteY6" fmla="*/ 91892 h 251388"/>
              <a:gd name="connsiteX7" fmla="*/ 277297 w 535571"/>
              <a:gd name="connsiteY7" fmla="*/ 220218 h 251388"/>
              <a:gd name="connsiteX8" fmla="*/ 255032 w 535571"/>
              <a:gd name="connsiteY8" fmla="*/ 220218 h 251388"/>
              <a:gd name="connsiteX9" fmla="*/ 135207 w 535571"/>
              <a:gd name="connsiteY9" fmla="*/ 123063 h 251388"/>
              <a:gd name="connsiteX10" fmla="*/ 397526 w 535571"/>
              <a:gd name="connsiteY10" fmla="*/ 123063 h 251388"/>
              <a:gd name="connsiteX11" fmla="*/ 277297 w 535571"/>
              <a:gd name="connsiteY11" fmla="*/ 220218 h 251388"/>
              <a:gd name="connsiteX12" fmla="*/ 476059 w 535571"/>
              <a:gd name="connsiteY12" fmla="*/ 0 h 251388"/>
              <a:gd name="connsiteX13" fmla="*/ 59912 w 535571"/>
              <a:gd name="connsiteY13" fmla="*/ 0 h 251388"/>
              <a:gd name="connsiteX14" fmla="*/ 0 w 535571"/>
              <a:gd name="connsiteY14" fmla="*/ 63151 h 251388"/>
              <a:gd name="connsiteX15" fmla="*/ 59912 w 535571"/>
              <a:gd name="connsiteY15" fmla="*/ 123063 h 251388"/>
              <a:gd name="connsiteX16" fmla="*/ 102822 w 535571"/>
              <a:gd name="connsiteY16" fmla="*/ 123063 h 251388"/>
              <a:gd name="connsiteX17" fmla="*/ 102822 w 535571"/>
              <a:gd name="connsiteY17" fmla="*/ 123468 h 251388"/>
              <a:gd name="connsiteX18" fmla="*/ 254627 w 535571"/>
              <a:gd name="connsiteY18" fmla="*/ 251389 h 251388"/>
              <a:gd name="connsiteX19" fmla="*/ 277297 w 535571"/>
              <a:gd name="connsiteY19" fmla="*/ 251389 h 251388"/>
              <a:gd name="connsiteX20" fmla="*/ 428697 w 535571"/>
              <a:gd name="connsiteY20" fmla="*/ 123063 h 251388"/>
              <a:gd name="connsiteX21" fmla="*/ 475655 w 535571"/>
              <a:gd name="connsiteY21" fmla="*/ 123063 h 251388"/>
              <a:gd name="connsiteX22" fmla="*/ 535567 w 535571"/>
              <a:gd name="connsiteY22" fmla="*/ 60317 h 251388"/>
              <a:gd name="connsiteX23" fmla="*/ 476059 w 535571"/>
              <a:gd name="connsiteY23" fmla="*/ 0 h 251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35571" h="251388">
                <a:moveTo>
                  <a:pt x="476059" y="91892"/>
                </a:moveTo>
                <a:lnTo>
                  <a:pt x="59912" y="91892"/>
                </a:lnTo>
                <a:cubicBezTo>
                  <a:pt x="44125" y="91892"/>
                  <a:pt x="31171" y="78938"/>
                  <a:pt x="31171" y="60317"/>
                </a:cubicBezTo>
                <a:cubicBezTo>
                  <a:pt x="31171" y="44529"/>
                  <a:pt x="44125" y="31575"/>
                  <a:pt x="59912" y="31575"/>
                </a:cubicBezTo>
                <a:lnTo>
                  <a:pt x="475655" y="31575"/>
                </a:lnTo>
                <a:cubicBezTo>
                  <a:pt x="491442" y="31575"/>
                  <a:pt x="504396" y="44529"/>
                  <a:pt x="504396" y="63151"/>
                </a:cubicBezTo>
                <a:cubicBezTo>
                  <a:pt x="504801" y="78938"/>
                  <a:pt x="491847" y="91892"/>
                  <a:pt x="476059" y="91892"/>
                </a:cubicBezTo>
                <a:close/>
                <a:moveTo>
                  <a:pt x="277297" y="220218"/>
                </a:moveTo>
                <a:lnTo>
                  <a:pt x="255032" y="220218"/>
                </a:lnTo>
                <a:cubicBezTo>
                  <a:pt x="196739" y="220218"/>
                  <a:pt x="146947" y="179737"/>
                  <a:pt x="135207" y="123063"/>
                </a:cubicBezTo>
                <a:lnTo>
                  <a:pt x="397526" y="123063"/>
                </a:lnTo>
                <a:cubicBezTo>
                  <a:pt x="384977" y="178927"/>
                  <a:pt x="335590" y="220218"/>
                  <a:pt x="277297" y="220218"/>
                </a:cubicBezTo>
                <a:close/>
                <a:moveTo>
                  <a:pt x="476059" y="0"/>
                </a:moveTo>
                <a:lnTo>
                  <a:pt x="59912" y="0"/>
                </a:lnTo>
                <a:cubicBezTo>
                  <a:pt x="26718" y="0"/>
                  <a:pt x="0" y="27122"/>
                  <a:pt x="0" y="63151"/>
                </a:cubicBezTo>
                <a:cubicBezTo>
                  <a:pt x="0" y="96345"/>
                  <a:pt x="27122" y="123063"/>
                  <a:pt x="59912" y="123063"/>
                </a:cubicBezTo>
                <a:lnTo>
                  <a:pt x="102822" y="123063"/>
                </a:lnTo>
                <a:lnTo>
                  <a:pt x="102822" y="123468"/>
                </a:lnTo>
                <a:cubicBezTo>
                  <a:pt x="115372" y="197548"/>
                  <a:pt x="179332" y="251389"/>
                  <a:pt x="254627" y="251389"/>
                </a:cubicBezTo>
                <a:lnTo>
                  <a:pt x="277297" y="251389"/>
                </a:lnTo>
                <a:cubicBezTo>
                  <a:pt x="352187" y="251389"/>
                  <a:pt x="416552" y="196334"/>
                  <a:pt x="428697" y="123063"/>
                </a:cubicBezTo>
                <a:lnTo>
                  <a:pt x="475655" y="123063"/>
                </a:lnTo>
                <a:cubicBezTo>
                  <a:pt x="508849" y="123063"/>
                  <a:pt x="535567" y="96345"/>
                  <a:pt x="535567" y="60317"/>
                </a:cubicBezTo>
                <a:cubicBezTo>
                  <a:pt x="535972" y="27122"/>
                  <a:pt x="509254" y="0"/>
                  <a:pt x="476059" y="0"/>
                </a:cubicBezTo>
                <a:close/>
              </a:path>
            </a:pathLst>
          </a:custGeom>
          <a:noFill/>
          <a:ln w="32385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98" name="Freihandform 497">
            <a:extLst>
              <a:ext uri="{FF2B5EF4-FFF2-40B4-BE49-F238E27FC236}">
                <a16:creationId xmlns:a16="http://schemas.microsoft.com/office/drawing/2014/main" id="{FC3531C5-4B39-CFEE-F5E9-AAE5EFB57E7F}"/>
              </a:ext>
            </a:extLst>
          </p:cNvPr>
          <p:cNvSpPr/>
          <p:nvPr/>
        </p:nvSpPr>
        <p:spPr>
          <a:xfrm>
            <a:off x="953350" y="5560418"/>
            <a:ext cx="81160" cy="113154"/>
          </a:xfrm>
          <a:custGeom>
            <a:avLst/>
            <a:gdLst>
              <a:gd name="connsiteX0" fmla="*/ 70038 w 398073"/>
              <a:gd name="connsiteY0" fmla="*/ 210098 h 554997"/>
              <a:gd name="connsiteX1" fmla="*/ 372838 w 398073"/>
              <a:gd name="connsiteY1" fmla="*/ 17407 h 554997"/>
              <a:gd name="connsiteX2" fmla="*/ 371219 w 398073"/>
              <a:gd name="connsiteY2" fmla="*/ 298752 h 554997"/>
              <a:gd name="connsiteX3" fmla="*/ 377696 w 398073"/>
              <a:gd name="connsiteY3" fmla="*/ 307253 h 554997"/>
              <a:gd name="connsiteX4" fmla="*/ 386197 w 398073"/>
              <a:gd name="connsiteY4" fmla="*/ 301180 h 554997"/>
              <a:gd name="connsiteX5" fmla="*/ 386197 w 398073"/>
              <a:gd name="connsiteY5" fmla="*/ 6882 h 554997"/>
              <a:gd name="connsiteX6" fmla="*/ 384578 w 398073"/>
              <a:gd name="connsiteY6" fmla="*/ 0 h 554997"/>
              <a:gd name="connsiteX7" fmla="*/ 377696 w 398073"/>
              <a:gd name="connsiteY7" fmla="*/ 1619 h 554997"/>
              <a:gd name="connsiteX8" fmla="*/ 57894 w 398073"/>
              <a:gd name="connsiteY8" fmla="*/ 202811 h 554997"/>
              <a:gd name="connsiteX9" fmla="*/ 14174 w 398073"/>
              <a:gd name="connsiteY9" fmla="*/ 549735 h 554997"/>
              <a:gd name="connsiteX10" fmla="*/ 21461 w 398073"/>
              <a:gd name="connsiteY10" fmla="*/ 554998 h 554997"/>
              <a:gd name="connsiteX11" fmla="*/ 23485 w 398073"/>
              <a:gd name="connsiteY11" fmla="*/ 554593 h 554997"/>
              <a:gd name="connsiteX12" fmla="*/ 28747 w 398073"/>
              <a:gd name="connsiteY12" fmla="*/ 545282 h 554997"/>
              <a:gd name="connsiteX13" fmla="*/ 70038 w 398073"/>
              <a:gd name="connsiteY13" fmla="*/ 210098 h 554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8073" h="554997">
                <a:moveTo>
                  <a:pt x="70038" y="210098"/>
                </a:moveTo>
                <a:cubicBezTo>
                  <a:pt x="128331" y="113752"/>
                  <a:pt x="229939" y="48982"/>
                  <a:pt x="372838" y="17407"/>
                </a:cubicBezTo>
                <a:cubicBezTo>
                  <a:pt x="378101" y="43720"/>
                  <a:pt x="393483" y="143708"/>
                  <a:pt x="371219" y="298752"/>
                </a:cubicBezTo>
                <a:cubicBezTo>
                  <a:pt x="370814" y="302800"/>
                  <a:pt x="373648" y="306443"/>
                  <a:pt x="377696" y="307253"/>
                </a:cubicBezTo>
                <a:cubicBezTo>
                  <a:pt x="381744" y="307658"/>
                  <a:pt x="385387" y="305229"/>
                  <a:pt x="386197" y="301180"/>
                </a:cubicBezTo>
                <a:cubicBezTo>
                  <a:pt x="412510" y="116586"/>
                  <a:pt x="387007" y="11335"/>
                  <a:pt x="386197" y="6882"/>
                </a:cubicBezTo>
                <a:lnTo>
                  <a:pt x="384578" y="0"/>
                </a:lnTo>
                <a:lnTo>
                  <a:pt x="377696" y="1619"/>
                </a:lnTo>
                <a:cubicBezTo>
                  <a:pt x="227106" y="33195"/>
                  <a:pt x="119425" y="101203"/>
                  <a:pt x="57894" y="202811"/>
                </a:cubicBezTo>
                <a:cubicBezTo>
                  <a:pt x="-37642" y="360688"/>
                  <a:pt x="13769" y="547711"/>
                  <a:pt x="14174" y="549735"/>
                </a:cubicBezTo>
                <a:cubicBezTo>
                  <a:pt x="14984" y="552974"/>
                  <a:pt x="18222" y="554998"/>
                  <a:pt x="21461" y="554998"/>
                </a:cubicBezTo>
                <a:cubicBezTo>
                  <a:pt x="22270" y="554998"/>
                  <a:pt x="22675" y="554998"/>
                  <a:pt x="23485" y="554593"/>
                </a:cubicBezTo>
                <a:cubicBezTo>
                  <a:pt x="27533" y="553379"/>
                  <a:pt x="29557" y="549331"/>
                  <a:pt x="28747" y="545282"/>
                </a:cubicBezTo>
                <a:cubicBezTo>
                  <a:pt x="27533" y="543258"/>
                  <a:pt x="-21854" y="362712"/>
                  <a:pt x="70038" y="210098"/>
                </a:cubicBezTo>
              </a:path>
            </a:pathLst>
          </a:custGeom>
          <a:solidFill>
            <a:srgbClr val="FFFFF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99" name="Freihandform 498">
            <a:extLst>
              <a:ext uri="{FF2B5EF4-FFF2-40B4-BE49-F238E27FC236}">
                <a16:creationId xmlns:a16="http://schemas.microsoft.com/office/drawing/2014/main" id="{62C6F1CD-F643-2DAE-ADB2-D92C60C1F602}"/>
              </a:ext>
            </a:extLst>
          </p:cNvPr>
          <p:cNvSpPr/>
          <p:nvPr/>
        </p:nvSpPr>
        <p:spPr>
          <a:xfrm>
            <a:off x="953350" y="5560418"/>
            <a:ext cx="81160" cy="113154"/>
          </a:xfrm>
          <a:custGeom>
            <a:avLst/>
            <a:gdLst>
              <a:gd name="connsiteX0" fmla="*/ 70038 w 398073"/>
              <a:gd name="connsiteY0" fmla="*/ 210098 h 554997"/>
              <a:gd name="connsiteX1" fmla="*/ 372838 w 398073"/>
              <a:gd name="connsiteY1" fmla="*/ 17407 h 554997"/>
              <a:gd name="connsiteX2" fmla="*/ 371219 w 398073"/>
              <a:gd name="connsiteY2" fmla="*/ 298752 h 554997"/>
              <a:gd name="connsiteX3" fmla="*/ 377696 w 398073"/>
              <a:gd name="connsiteY3" fmla="*/ 307253 h 554997"/>
              <a:gd name="connsiteX4" fmla="*/ 386197 w 398073"/>
              <a:gd name="connsiteY4" fmla="*/ 301180 h 554997"/>
              <a:gd name="connsiteX5" fmla="*/ 386197 w 398073"/>
              <a:gd name="connsiteY5" fmla="*/ 6882 h 554997"/>
              <a:gd name="connsiteX6" fmla="*/ 384578 w 398073"/>
              <a:gd name="connsiteY6" fmla="*/ 0 h 554997"/>
              <a:gd name="connsiteX7" fmla="*/ 377696 w 398073"/>
              <a:gd name="connsiteY7" fmla="*/ 1619 h 554997"/>
              <a:gd name="connsiteX8" fmla="*/ 57894 w 398073"/>
              <a:gd name="connsiteY8" fmla="*/ 202811 h 554997"/>
              <a:gd name="connsiteX9" fmla="*/ 14174 w 398073"/>
              <a:gd name="connsiteY9" fmla="*/ 549735 h 554997"/>
              <a:gd name="connsiteX10" fmla="*/ 21461 w 398073"/>
              <a:gd name="connsiteY10" fmla="*/ 554998 h 554997"/>
              <a:gd name="connsiteX11" fmla="*/ 23485 w 398073"/>
              <a:gd name="connsiteY11" fmla="*/ 554593 h 554997"/>
              <a:gd name="connsiteX12" fmla="*/ 28747 w 398073"/>
              <a:gd name="connsiteY12" fmla="*/ 545282 h 554997"/>
              <a:gd name="connsiteX13" fmla="*/ 70038 w 398073"/>
              <a:gd name="connsiteY13" fmla="*/ 210098 h 554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8073" h="554997">
                <a:moveTo>
                  <a:pt x="70038" y="210098"/>
                </a:moveTo>
                <a:cubicBezTo>
                  <a:pt x="128331" y="113752"/>
                  <a:pt x="229939" y="48982"/>
                  <a:pt x="372838" y="17407"/>
                </a:cubicBezTo>
                <a:cubicBezTo>
                  <a:pt x="378101" y="43720"/>
                  <a:pt x="393483" y="143708"/>
                  <a:pt x="371219" y="298752"/>
                </a:cubicBezTo>
                <a:cubicBezTo>
                  <a:pt x="370814" y="302800"/>
                  <a:pt x="373648" y="306443"/>
                  <a:pt x="377696" y="307253"/>
                </a:cubicBezTo>
                <a:cubicBezTo>
                  <a:pt x="381744" y="307658"/>
                  <a:pt x="385387" y="305229"/>
                  <a:pt x="386197" y="301180"/>
                </a:cubicBezTo>
                <a:cubicBezTo>
                  <a:pt x="412510" y="116586"/>
                  <a:pt x="387007" y="11335"/>
                  <a:pt x="386197" y="6882"/>
                </a:cubicBezTo>
                <a:lnTo>
                  <a:pt x="384578" y="0"/>
                </a:lnTo>
                <a:lnTo>
                  <a:pt x="377696" y="1619"/>
                </a:lnTo>
                <a:cubicBezTo>
                  <a:pt x="227106" y="33195"/>
                  <a:pt x="119425" y="101203"/>
                  <a:pt x="57894" y="202811"/>
                </a:cubicBezTo>
                <a:cubicBezTo>
                  <a:pt x="-37642" y="360688"/>
                  <a:pt x="13769" y="547711"/>
                  <a:pt x="14174" y="549735"/>
                </a:cubicBezTo>
                <a:cubicBezTo>
                  <a:pt x="14984" y="552974"/>
                  <a:pt x="18222" y="554998"/>
                  <a:pt x="21461" y="554998"/>
                </a:cubicBezTo>
                <a:cubicBezTo>
                  <a:pt x="22270" y="554998"/>
                  <a:pt x="22675" y="554998"/>
                  <a:pt x="23485" y="554593"/>
                </a:cubicBezTo>
                <a:cubicBezTo>
                  <a:pt x="27533" y="553379"/>
                  <a:pt x="29557" y="549331"/>
                  <a:pt x="28747" y="545282"/>
                </a:cubicBezTo>
                <a:cubicBezTo>
                  <a:pt x="27533" y="543258"/>
                  <a:pt x="-21854" y="362712"/>
                  <a:pt x="70038" y="210098"/>
                </a:cubicBezTo>
                <a:close/>
              </a:path>
            </a:pathLst>
          </a:custGeom>
          <a:noFill/>
          <a:ln w="4048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500" name="Freihandform 499">
            <a:extLst>
              <a:ext uri="{FF2B5EF4-FFF2-40B4-BE49-F238E27FC236}">
                <a16:creationId xmlns:a16="http://schemas.microsoft.com/office/drawing/2014/main" id="{3F9A4FC1-31E8-A361-ADD2-28155168A86F}"/>
              </a:ext>
            </a:extLst>
          </p:cNvPr>
          <p:cNvSpPr/>
          <p:nvPr/>
        </p:nvSpPr>
        <p:spPr>
          <a:xfrm>
            <a:off x="961192" y="5587268"/>
            <a:ext cx="100857" cy="105618"/>
          </a:xfrm>
          <a:custGeom>
            <a:avLst/>
            <a:gdLst>
              <a:gd name="connsiteX0" fmla="*/ 486989 w 494680"/>
              <a:gd name="connsiteY0" fmla="*/ 250855 h 518030"/>
              <a:gd name="connsiteX1" fmla="*/ 166378 w 494680"/>
              <a:gd name="connsiteY1" fmla="*/ 243163 h 518030"/>
              <a:gd name="connsiteX2" fmla="*/ 60722 w 494680"/>
              <a:gd name="connsiteY2" fmla="*/ 338294 h 518030"/>
              <a:gd name="connsiteX3" fmla="*/ 253817 w 494680"/>
              <a:gd name="connsiteY3" fmla="*/ 13230 h 518030"/>
              <a:gd name="connsiteX4" fmla="*/ 254627 w 494680"/>
              <a:gd name="connsiteY4" fmla="*/ 2705 h 518030"/>
              <a:gd name="connsiteX5" fmla="*/ 244102 w 494680"/>
              <a:gd name="connsiteY5" fmla="*/ 1895 h 518030"/>
              <a:gd name="connsiteX6" fmla="*/ 41291 w 494680"/>
              <a:gd name="connsiteY6" fmla="*/ 378371 h 518030"/>
              <a:gd name="connsiteX7" fmla="*/ 55864 w 494680"/>
              <a:gd name="connsiteY7" fmla="*/ 380800 h 518030"/>
              <a:gd name="connsiteX8" fmla="*/ 172855 w 494680"/>
              <a:gd name="connsiteY8" fmla="*/ 256522 h 518030"/>
              <a:gd name="connsiteX9" fmla="*/ 474845 w 494680"/>
              <a:gd name="connsiteY9" fmla="*/ 262190 h 518030"/>
              <a:gd name="connsiteX10" fmla="*/ 259890 w 494680"/>
              <a:gd name="connsiteY10" fmla="*/ 488480 h 518030"/>
              <a:gd name="connsiteX11" fmla="*/ 28337 w 494680"/>
              <a:gd name="connsiteY11" fmla="*/ 463381 h 518030"/>
              <a:gd name="connsiteX12" fmla="*/ 376881 w 494680"/>
              <a:gd name="connsiteY12" fmla="*/ 315625 h 518030"/>
              <a:gd name="connsiteX13" fmla="*/ 383358 w 494680"/>
              <a:gd name="connsiteY13" fmla="*/ 307528 h 518030"/>
              <a:gd name="connsiteX14" fmla="*/ 375261 w 494680"/>
              <a:gd name="connsiteY14" fmla="*/ 301051 h 518030"/>
              <a:gd name="connsiteX15" fmla="*/ 9716 w 494680"/>
              <a:gd name="connsiteY15" fmla="*/ 458119 h 518030"/>
              <a:gd name="connsiteX16" fmla="*/ 0 w 494680"/>
              <a:gd name="connsiteY16" fmla="*/ 465001 h 518030"/>
              <a:gd name="connsiteX17" fmla="*/ 10525 w 494680"/>
              <a:gd name="connsiteY17" fmla="*/ 470668 h 518030"/>
              <a:gd name="connsiteX18" fmla="*/ 176498 w 494680"/>
              <a:gd name="connsiteY18" fmla="*/ 518031 h 518030"/>
              <a:gd name="connsiteX19" fmla="*/ 265152 w 494680"/>
              <a:gd name="connsiteY19" fmla="*/ 502648 h 518030"/>
              <a:gd name="connsiteX20" fmla="*/ 491847 w 494680"/>
              <a:gd name="connsiteY20" fmla="*/ 260975 h 518030"/>
              <a:gd name="connsiteX21" fmla="*/ 494681 w 494680"/>
              <a:gd name="connsiteY21" fmla="*/ 253688 h 518030"/>
              <a:gd name="connsiteX22" fmla="*/ 486989 w 494680"/>
              <a:gd name="connsiteY22" fmla="*/ 250855 h 518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94680" h="518030">
                <a:moveTo>
                  <a:pt x="486989" y="250855"/>
                </a:moveTo>
                <a:cubicBezTo>
                  <a:pt x="358259" y="204706"/>
                  <a:pt x="250579" y="202277"/>
                  <a:pt x="166378" y="243163"/>
                </a:cubicBezTo>
                <a:cubicBezTo>
                  <a:pt x="111323" y="269881"/>
                  <a:pt x="78534" y="309552"/>
                  <a:pt x="60722" y="338294"/>
                </a:cubicBezTo>
                <a:cubicBezTo>
                  <a:pt x="71652" y="271500"/>
                  <a:pt x="111323" y="132649"/>
                  <a:pt x="253817" y="13230"/>
                </a:cubicBezTo>
                <a:cubicBezTo>
                  <a:pt x="257056" y="10801"/>
                  <a:pt x="257461" y="5943"/>
                  <a:pt x="254627" y="2705"/>
                </a:cubicBezTo>
                <a:cubicBezTo>
                  <a:pt x="252198" y="-534"/>
                  <a:pt x="247341" y="-939"/>
                  <a:pt x="244102" y="1895"/>
                </a:cubicBezTo>
                <a:cubicBezTo>
                  <a:pt x="43720" y="169892"/>
                  <a:pt x="41291" y="376346"/>
                  <a:pt x="41291" y="378371"/>
                </a:cubicBezTo>
                <a:lnTo>
                  <a:pt x="55864" y="380800"/>
                </a:lnTo>
                <a:cubicBezTo>
                  <a:pt x="56269" y="379990"/>
                  <a:pt x="83796" y="299837"/>
                  <a:pt x="172855" y="256522"/>
                </a:cubicBezTo>
                <a:cubicBezTo>
                  <a:pt x="251793" y="218065"/>
                  <a:pt x="353401" y="220089"/>
                  <a:pt x="474845" y="262190"/>
                </a:cubicBezTo>
                <a:cubicBezTo>
                  <a:pt x="459867" y="296194"/>
                  <a:pt x="389025" y="441521"/>
                  <a:pt x="259890" y="488480"/>
                </a:cubicBezTo>
                <a:cubicBezTo>
                  <a:pt x="188643" y="514388"/>
                  <a:pt x="110514" y="505886"/>
                  <a:pt x="28337" y="463381"/>
                </a:cubicBezTo>
                <a:cubicBezTo>
                  <a:pt x="71652" y="435449"/>
                  <a:pt x="241673" y="330603"/>
                  <a:pt x="376881" y="315625"/>
                </a:cubicBezTo>
                <a:cubicBezTo>
                  <a:pt x="380929" y="315220"/>
                  <a:pt x="383762" y="311576"/>
                  <a:pt x="383358" y="307528"/>
                </a:cubicBezTo>
                <a:cubicBezTo>
                  <a:pt x="382953" y="303480"/>
                  <a:pt x="379309" y="300647"/>
                  <a:pt x="375261" y="301051"/>
                </a:cubicBezTo>
                <a:cubicBezTo>
                  <a:pt x="216170" y="318863"/>
                  <a:pt x="18217" y="452451"/>
                  <a:pt x="9716" y="458119"/>
                </a:cubicBezTo>
                <a:lnTo>
                  <a:pt x="0" y="465001"/>
                </a:lnTo>
                <a:lnTo>
                  <a:pt x="10525" y="470668"/>
                </a:lnTo>
                <a:cubicBezTo>
                  <a:pt x="68008" y="502243"/>
                  <a:pt x="123468" y="518031"/>
                  <a:pt x="176498" y="518031"/>
                </a:cubicBezTo>
                <a:cubicBezTo>
                  <a:pt x="206859" y="518031"/>
                  <a:pt x="236411" y="512768"/>
                  <a:pt x="265152" y="502648"/>
                </a:cubicBezTo>
                <a:cubicBezTo>
                  <a:pt x="416957" y="447594"/>
                  <a:pt x="489013" y="268262"/>
                  <a:pt x="491847" y="260975"/>
                </a:cubicBezTo>
                <a:lnTo>
                  <a:pt x="494681" y="253688"/>
                </a:lnTo>
                <a:lnTo>
                  <a:pt x="486989" y="250855"/>
                </a:lnTo>
                <a:close/>
              </a:path>
            </a:pathLst>
          </a:custGeom>
          <a:solidFill>
            <a:srgbClr val="FFFFF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501" name="Freihandform 500">
            <a:extLst>
              <a:ext uri="{FF2B5EF4-FFF2-40B4-BE49-F238E27FC236}">
                <a16:creationId xmlns:a16="http://schemas.microsoft.com/office/drawing/2014/main" id="{5662A22C-671C-DFA1-AEC1-8E0A320F41C2}"/>
              </a:ext>
            </a:extLst>
          </p:cNvPr>
          <p:cNvSpPr/>
          <p:nvPr/>
        </p:nvSpPr>
        <p:spPr>
          <a:xfrm>
            <a:off x="961192" y="5587268"/>
            <a:ext cx="100857" cy="105618"/>
          </a:xfrm>
          <a:custGeom>
            <a:avLst/>
            <a:gdLst>
              <a:gd name="connsiteX0" fmla="*/ 486989 w 494680"/>
              <a:gd name="connsiteY0" fmla="*/ 250855 h 518030"/>
              <a:gd name="connsiteX1" fmla="*/ 166378 w 494680"/>
              <a:gd name="connsiteY1" fmla="*/ 243163 h 518030"/>
              <a:gd name="connsiteX2" fmla="*/ 60722 w 494680"/>
              <a:gd name="connsiteY2" fmla="*/ 338294 h 518030"/>
              <a:gd name="connsiteX3" fmla="*/ 253817 w 494680"/>
              <a:gd name="connsiteY3" fmla="*/ 13230 h 518030"/>
              <a:gd name="connsiteX4" fmla="*/ 254627 w 494680"/>
              <a:gd name="connsiteY4" fmla="*/ 2705 h 518030"/>
              <a:gd name="connsiteX5" fmla="*/ 244102 w 494680"/>
              <a:gd name="connsiteY5" fmla="*/ 1895 h 518030"/>
              <a:gd name="connsiteX6" fmla="*/ 41291 w 494680"/>
              <a:gd name="connsiteY6" fmla="*/ 378371 h 518030"/>
              <a:gd name="connsiteX7" fmla="*/ 55864 w 494680"/>
              <a:gd name="connsiteY7" fmla="*/ 380800 h 518030"/>
              <a:gd name="connsiteX8" fmla="*/ 172855 w 494680"/>
              <a:gd name="connsiteY8" fmla="*/ 256522 h 518030"/>
              <a:gd name="connsiteX9" fmla="*/ 474845 w 494680"/>
              <a:gd name="connsiteY9" fmla="*/ 262190 h 518030"/>
              <a:gd name="connsiteX10" fmla="*/ 259890 w 494680"/>
              <a:gd name="connsiteY10" fmla="*/ 488480 h 518030"/>
              <a:gd name="connsiteX11" fmla="*/ 28337 w 494680"/>
              <a:gd name="connsiteY11" fmla="*/ 463381 h 518030"/>
              <a:gd name="connsiteX12" fmla="*/ 376881 w 494680"/>
              <a:gd name="connsiteY12" fmla="*/ 315625 h 518030"/>
              <a:gd name="connsiteX13" fmla="*/ 383358 w 494680"/>
              <a:gd name="connsiteY13" fmla="*/ 307528 h 518030"/>
              <a:gd name="connsiteX14" fmla="*/ 375261 w 494680"/>
              <a:gd name="connsiteY14" fmla="*/ 301051 h 518030"/>
              <a:gd name="connsiteX15" fmla="*/ 9716 w 494680"/>
              <a:gd name="connsiteY15" fmla="*/ 458119 h 518030"/>
              <a:gd name="connsiteX16" fmla="*/ 0 w 494680"/>
              <a:gd name="connsiteY16" fmla="*/ 465001 h 518030"/>
              <a:gd name="connsiteX17" fmla="*/ 10525 w 494680"/>
              <a:gd name="connsiteY17" fmla="*/ 470668 h 518030"/>
              <a:gd name="connsiteX18" fmla="*/ 176498 w 494680"/>
              <a:gd name="connsiteY18" fmla="*/ 518031 h 518030"/>
              <a:gd name="connsiteX19" fmla="*/ 265152 w 494680"/>
              <a:gd name="connsiteY19" fmla="*/ 502648 h 518030"/>
              <a:gd name="connsiteX20" fmla="*/ 491847 w 494680"/>
              <a:gd name="connsiteY20" fmla="*/ 260975 h 518030"/>
              <a:gd name="connsiteX21" fmla="*/ 494681 w 494680"/>
              <a:gd name="connsiteY21" fmla="*/ 253688 h 518030"/>
              <a:gd name="connsiteX22" fmla="*/ 486989 w 494680"/>
              <a:gd name="connsiteY22" fmla="*/ 250855 h 518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94680" h="518030">
                <a:moveTo>
                  <a:pt x="486989" y="250855"/>
                </a:moveTo>
                <a:cubicBezTo>
                  <a:pt x="358259" y="204706"/>
                  <a:pt x="250579" y="202277"/>
                  <a:pt x="166378" y="243163"/>
                </a:cubicBezTo>
                <a:cubicBezTo>
                  <a:pt x="111323" y="269881"/>
                  <a:pt x="78534" y="309552"/>
                  <a:pt x="60722" y="338294"/>
                </a:cubicBezTo>
                <a:cubicBezTo>
                  <a:pt x="71652" y="271500"/>
                  <a:pt x="111323" y="132649"/>
                  <a:pt x="253817" y="13230"/>
                </a:cubicBezTo>
                <a:cubicBezTo>
                  <a:pt x="257056" y="10801"/>
                  <a:pt x="257461" y="5943"/>
                  <a:pt x="254627" y="2705"/>
                </a:cubicBezTo>
                <a:cubicBezTo>
                  <a:pt x="252198" y="-534"/>
                  <a:pt x="247341" y="-939"/>
                  <a:pt x="244102" y="1895"/>
                </a:cubicBezTo>
                <a:cubicBezTo>
                  <a:pt x="43720" y="169892"/>
                  <a:pt x="41291" y="376346"/>
                  <a:pt x="41291" y="378371"/>
                </a:cubicBezTo>
                <a:lnTo>
                  <a:pt x="55864" y="380800"/>
                </a:lnTo>
                <a:cubicBezTo>
                  <a:pt x="56269" y="379990"/>
                  <a:pt x="83796" y="299837"/>
                  <a:pt x="172855" y="256522"/>
                </a:cubicBezTo>
                <a:cubicBezTo>
                  <a:pt x="251793" y="218065"/>
                  <a:pt x="353401" y="220089"/>
                  <a:pt x="474845" y="262190"/>
                </a:cubicBezTo>
                <a:cubicBezTo>
                  <a:pt x="459867" y="296194"/>
                  <a:pt x="389025" y="441521"/>
                  <a:pt x="259890" y="488480"/>
                </a:cubicBezTo>
                <a:cubicBezTo>
                  <a:pt x="188643" y="514388"/>
                  <a:pt x="110514" y="505886"/>
                  <a:pt x="28337" y="463381"/>
                </a:cubicBezTo>
                <a:cubicBezTo>
                  <a:pt x="71652" y="435449"/>
                  <a:pt x="241673" y="330603"/>
                  <a:pt x="376881" y="315625"/>
                </a:cubicBezTo>
                <a:cubicBezTo>
                  <a:pt x="380929" y="315220"/>
                  <a:pt x="383762" y="311576"/>
                  <a:pt x="383358" y="307528"/>
                </a:cubicBezTo>
                <a:cubicBezTo>
                  <a:pt x="382953" y="303480"/>
                  <a:pt x="379309" y="300647"/>
                  <a:pt x="375261" y="301051"/>
                </a:cubicBezTo>
                <a:cubicBezTo>
                  <a:pt x="216170" y="318863"/>
                  <a:pt x="18217" y="452451"/>
                  <a:pt x="9716" y="458119"/>
                </a:cubicBezTo>
                <a:lnTo>
                  <a:pt x="0" y="465001"/>
                </a:lnTo>
                <a:lnTo>
                  <a:pt x="10525" y="470668"/>
                </a:lnTo>
                <a:cubicBezTo>
                  <a:pt x="68008" y="502243"/>
                  <a:pt x="123468" y="518031"/>
                  <a:pt x="176498" y="518031"/>
                </a:cubicBezTo>
                <a:cubicBezTo>
                  <a:pt x="206859" y="518031"/>
                  <a:pt x="236411" y="512768"/>
                  <a:pt x="265152" y="502648"/>
                </a:cubicBezTo>
                <a:cubicBezTo>
                  <a:pt x="416957" y="447594"/>
                  <a:pt x="489013" y="268262"/>
                  <a:pt x="491847" y="260975"/>
                </a:cubicBezTo>
                <a:lnTo>
                  <a:pt x="494681" y="253688"/>
                </a:lnTo>
                <a:lnTo>
                  <a:pt x="486989" y="250855"/>
                </a:lnTo>
                <a:close/>
              </a:path>
            </a:pathLst>
          </a:custGeom>
          <a:noFill/>
          <a:ln w="4048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E5F0B0C-F622-A180-5D8A-5E2ECE7EE3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5B460A3-BE08-4B31-9BFA-39570EE06CED}" type="datetime1">
              <a:rPr lang="de-DE" smtClean="0"/>
              <a:t>24.04.2026</a:t>
            </a:fld>
            <a:endParaRPr lang="de-DE"/>
          </a:p>
        </p:txBody>
      </p:sp>
      <p:sp>
        <p:nvSpPr>
          <p:cNvPr id="19" name="Freihandform 18">
            <a:extLst>
              <a:ext uri="{FF2B5EF4-FFF2-40B4-BE49-F238E27FC236}">
                <a16:creationId xmlns:a16="http://schemas.microsoft.com/office/drawing/2014/main" id="{D8F82A42-EAA6-78F5-6ED7-650A092B0852}"/>
              </a:ext>
            </a:extLst>
          </p:cNvPr>
          <p:cNvSpPr/>
          <p:nvPr/>
        </p:nvSpPr>
        <p:spPr>
          <a:xfrm>
            <a:off x="579516" y="1574457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0" name="Freihandform 19">
            <a:extLst>
              <a:ext uri="{FF2B5EF4-FFF2-40B4-BE49-F238E27FC236}">
                <a16:creationId xmlns:a16="http://schemas.microsoft.com/office/drawing/2014/main" id="{6C6921AA-CB02-243D-1B47-36ECD448F5BF}"/>
              </a:ext>
            </a:extLst>
          </p:cNvPr>
          <p:cNvSpPr/>
          <p:nvPr/>
        </p:nvSpPr>
        <p:spPr>
          <a:xfrm>
            <a:off x="579516" y="2520755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1" name="Freihandform 20">
            <a:extLst>
              <a:ext uri="{FF2B5EF4-FFF2-40B4-BE49-F238E27FC236}">
                <a16:creationId xmlns:a16="http://schemas.microsoft.com/office/drawing/2014/main" id="{69FBFA70-5314-170D-28AB-0CC895795B9B}"/>
              </a:ext>
            </a:extLst>
          </p:cNvPr>
          <p:cNvSpPr/>
          <p:nvPr/>
        </p:nvSpPr>
        <p:spPr>
          <a:xfrm>
            <a:off x="579516" y="5359648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6DF9F382-BC12-418C-9094-D0EC9AF108B4}"/>
              </a:ext>
            </a:extLst>
          </p:cNvPr>
          <p:cNvSpPr/>
          <p:nvPr/>
        </p:nvSpPr>
        <p:spPr>
          <a:xfrm>
            <a:off x="577200" y="4413351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3" name="Freihandform 22">
            <a:extLst>
              <a:ext uri="{FF2B5EF4-FFF2-40B4-BE49-F238E27FC236}">
                <a16:creationId xmlns:a16="http://schemas.microsoft.com/office/drawing/2014/main" id="{F7B9B630-53B9-1666-33DB-8F86AC056794}"/>
              </a:ext>
            </a:extLst>
          </p:cNvPr>
          <p:cNvSpPr/>
          <p:nvPr/>
        </p:nvSpPr>
        <p:spPr>
          <a:xfrm>
            <a:off x="579516" y="3467053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6D322D7-1278-8213-9E92-E9372F94F447}"/>
              </a:ext>
            </a:extLst>
          </p:cNvPr>
          <p:cNvGrpSpPr/>
          <p:nvPr/>
        </p:nvGrpSpPr>
        <p:grpSpPr>
          <a:xfrm>
            <a:off x="697185" y="2639556"/>
            <a:ext cx="371475" cy="409575"/>
            <a:chOff x="678853" y="2475773"/>
            <a:chExt cx="371475" cy="409575"/>
          </a:xfrm>
        </p:grpSpPr>
        <p:sp>
          <p:nvSpPr>
            <p:cNvPr id="25" name="Freihandform 24">
              <a:extLst>
                <a:ext uri="{FF2B5EF4-FFF2-40B4-BE49-F238E27FC236}">
                  <a16:creationId xmlns:a16="http://schemas.microsoft.com/office/drawing/2014/main" id="{EE0E0566-F798-072F-E5DC-C009DB2EBB1C}"/>
                </a:ext>
              </a:extLst>
            </p:cNvPr>
            <p:cNvSpPr/>
            <p:nvPr/>
          </p:nvSpPr>
          <p:spPr>
            <a:xfrm>
              <a:off x="678853" y="2561498"/>
              <a:ext cx="323850" cy="323850"/>
            </a:xfrm>
            <a:custGeom>
              <a:avLst/>
              <a:gdLst>
                <a:gd name="connsiteX0" fmla="*/ 323850 w 323850"/>
                <a:gd name="connsiteY0" fmla="*/ 161925 h 323850"/>
                <a:gd name="connsiteX1" fmla="*/ 161925 w 323850"/>
                <a:gd name="connsiteY1" fmla="*/ 323850 h 323850"/>
                <a:gd name="connsiteX2" fmla="*/ 0 w 323850"/>
                <a:gd name="connsiteY2" fmla="*/ 161925 h 323850"/>
                <a:gd name="connsiteX3" fmla="*/ 161925 w 323850"/>
                <a:gd name="connsiteY3" fmla="*/ 0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3850" h="323850">
                  <a:moveTo>
                    <a:pt x="323850" y="161925"/>
                  </a:moveTo>
                  <a:cubicBezTo>
                    <a:pt x="323850" y="251353"/>
                    <a:pt x="251353" y="323850"/>
                    <a:pt x="161925" y="323850"/>
                  </a:cubicBezTo>
                  <a:cubicBezTo>
                    <a:pt x="72497" y="323850"/>
                    <a:pt x="0" y="251353"/>
                    <a:pt x="0" y="161925"/>
                  </a:cubicBezTo>
                  <a:cubicBezTo>
                    <a:pt x="0" y="72497"/>
                    <a:pt x="72497" y="0"/>
                    <a:pt x="161925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 25">
              <a:extLst>
                <a:ext uri="{FF2B5EF4-FFF2-40B4-BE49-F238E27FC236}">
                  <a16:creationId xmlns:a16="http://schemas.microsoft.com/office/drawing/2014/main" id="{48BBEDAF-B010-7C09-EB9A-CDFEB581D4ED}"/>
                </a:ext>
              </a:extLst>
            </p:cNvPr>
            <p:cNvSpPr/>
            <p:nvPr/>
          </p:nvSpPr>
          <p:spPr>
            <a:xfrm>
              <a:off x="1012228" y="2523398"/>
              <a:ext cx="38100" cy="9525"/>
            </a:xfrm>
            <a:custGeom>
              <a:avLst/>
              <a:gdLst>
                <a:gd name="connsiteX0" fmla="*/ 0 w 38100"/>
                <a:gd name="connsiteY0" fmla="*/ 0 h 9525"/>
                <a:gd name="connsiteX1" fmla="*/ 38100 w 3810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9525">
                  <a:moveTo>
                    <a:pt x="0" y="0"/>
                  </a:moveTo>
                  <a:lnTo>
                    <a:pt x="3810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 26">
              <a:extLst>
                <a:ext uri="{FF2B5EF4-FFF2-40B4-BE49-F238E27FC236}">
                  <a16:creationId xmlns:a16="http://schemas.microsoft.com/office/drawing/2014/main" id="{BD7AFED1-1A3A-1443-ED1D-665B78C5109D}"/>
                </a:ext>
              </a:extLst>
            </p:cNvPr>
            <p:cNvSpPr/>
            <p:nvPr/>
          </p:nvSpPr>
          <p:spPr>
            <a:xfrm>
              <a:off x="1012228" y="2599598"/>
              <a:ext cx="38100" cy="9525"/>
            </a:xfrm>
            <a:custGeom>
              <a:avLst/>
              <a:gdLst>
                <a:gd name="connsiteX0" fmla="*/ 0 w 38100"/>
                <a:gd name="connsiteY0" fmla="*/ 0 h 9525"/>
                <a:gd name="connsiteX1" fmla="*/ 38100 w 3810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9525">
                  <a:moveTo>
                    <a:pt x="0" y="0"/>
                  </a:moveTo>
                  <a:lnTo>
                    <a:pt x="3810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 27">
              <a:extLst>
                <a:ext uri="{FF2B5EF4-FFF2-40B4-BE49-F238E27FC236}">
                  <a16:creationId xmlns:a16="http://schemas.microsoft.com/office/drawing/2014/main" id="{61C4EF25-EC4F-D664-45EC-FBD0841D80FC}"/>
                </a:ext>
              </a:extLst>
            </p:cNvPr>
            <p:cNvSpPr/>
            <p:nvPr/>
          </p:nvSpPr>
          <p:spPr>
            <a:xfrm>
              <a:off x="840778" y="2561498"/>
              <a:ext cx="19050" cy="9525"/>
            </a:xfrm>
            <a:custGeom>
              <a:avLst/>
              <a:gdLst>
                <a:gd name="connsiteX0" fmla="*/ 19050 w 19050"/>
                <a:gd name="connsiteY0" fmla="*/ 0 h 9525"/>
                <a:gd name="connsiteX1" fmla="*/ 0 w 1905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9525">
                  <a:moveTo>
                    <a:pt x="19050" y="0"/>
                  </a:move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 28">
              <a:extLst>
                <a:ext uri="{FF2B5EF4-FFF2-40B4-BE49-F238E27FC236}">
                  <a16:creationId xmlns:a16="http://schemas.microsoft.com/office/drawing/2014/main" id="{711528EF-048F-6C6A-F725-B847B4EED51E}"/>
                </a:ext>
              </a:extLst>
            </p:cNvPr>
            <p:cNvSpPr/>
            <p:nvPr/>
          </p:nvSpPr>
          <p:spPr>
            <a:xfrm>
              <a:off x="1012228" y="2475773"/>
              <a:ext cx="9525" cy="171450"/>
            </a:xfrm>
            <a:custGeom>
              <a:avLst/>
              <a:gdLst>
                <a:gd name="connsiteX0" fmla="*/ 0 w 9525"/>
                <a:gd name="connsiteY0" fmla="*/ 0 h 171450"/>
                <a:gd name="connsiteX1" fmla="*/ 0 w 9525"/>
                <a:gd name="connsiteY1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71450">
                  <a:moveTo>
                    <a:pt x="0" y="0"/>
                  </a:moveTo>
                  <a:lnTo>
                    <a:pt x="0" y="17145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 29">
              <a:extLst>
                <a:ext uri="{FF2B5EF4-FFF2-40B4-BE49-F238E27FC236}">
                  <a16:creationId xmlns:a16="http://schemas.microsoft.com/office/drawing/2014/main" id="{A3A548AF-D949-65BE-2A82-770397921024}"/>
                </a:ext>
              </a:extLst>
            </p:cNvPr>
            <p:cNvSpPr/>
            <p:nvPr/>
          </p:nvSpPr>
          <p:spPr>
            <a:xfrm>
              <a:off x="888403" y="2494823"/>
              <a:ext cx="123825" cy="133350"/>
            </a:xfrm>
            <a:custGeom>
              <a:avLst/>
              <a:gdLst>
                <a:gd name="connsiteX0" fmla="*/ 123825 w 123825"/>
                <a:gd name="connsiteY0" fmla="*/ 133350 h 133350"/>
                <a:gd name="connsiteX1" fmla="*/ 66675 w 123825"/>
                <a:gd name="connsiteY1" fmla="*/ 133350 h 133350"/>
                <a:gd name="connsiteX2" fmla="*/ 0 w 123825"/>
                <a:gd name="connsiteY2" fmla="*/ 66675 h 133350"/>
                <a:gd name="connsiteX3" fmla="*/ 66675 w 123825"/>
                <a:gd name="connsiteY3" fmla="*/ 0 h 133350"/>
                <a:gd name="connsiteX4" fmla="*/ 123825 w 123825"/>
                <a:gd name="connsiteY4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33350">
                  <a:moveTo>
                    <a:pt x="123825" y="133350"/>
                  </a:moveTo>
                  <a:lnTo>
                    <a:pt x="66675" y="133350"/>
                  </a:lnTo>
                  <a:cubicBezTo>
                    <a:pt x="29851" y="133350"/>
                    <a:pt x="0" y="103499"/>
                    <a:pt x="0" y="66675"/>
                  </a:cubicBezTo>
                  <a:cubicBezTo>
                    <a:pt x="0" y="29851"/>
                    <a:pt x="29851" y="0"/>
                    <a:pt x="66675" y="0"/>
                  </a:cubicBezTo>
                  <a:lnTo>
                    <a:pt x="123825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 30">
              <a:extLst>
                <a:ext uri="{FF2B5EF4-FFF2-40B4-BE49-F238E27FC236}">
                  <a16:creationId xmlns:a16="http://schemas.microsoft.com/office/drawing/2014/main" id="{E030DB61-49F9-9A8A-66A8-B17557EA3F31}"/>
                </a:ext>
              </a:extLst>
            </p:cNvPr>
            <p:cNvSpPr/>
            <p:nvPr/>
          </p:nvSpPr>
          <p:spPr>
            <a:xfrm>
              <a:off x="764578" y="2675798"/>
              <a:ext cx="69132" cy="103441"/>
            </a:xfrm>
            <a:custGeom>
              <a:avLst/>
              <a:gdLst>
                <a:gd name="connsiteX0" fmla="*/ 69132 w 69132"/>
                <a:gd name="connsiteY0" fmla="*/ 103442 h 103441"/>
                <a:gd name="connsiteX1" fmla="*/ 0 w 69132"/>
                <a:gd name="connsiteY1" fmla="*/ 103442 h 103441"/>
                <a:gd name="connsiteX2" fmla="*/ 0 w 69132"/>
                <a:gd name="connsiteY2" fmla="*/ 91021 h 103441"/>
                <a:gd name="connsiteX3" fmla="*/ 26299 w 69132"/>
                <a:gd name="connsiteY3" fmla="*/ 64580 h 103441"/>
                <a:gd name="connsiteX4" fmla="*/ 41748 w 69132"/>
                <a:gd name="connsiteY4" fmla="*/ 47673 h 103441"/>
                <a:gd name="connsiteX5" fmla="*/ 47292 w 69132"/>
                <a:gd name="connsiteY5" fmla="*/ 38291 h 103441"/>
                <a:gd name="connsiteX6" fmla="*/ 49044 w 69132"/>
                <a:gd name="connsiteY6" fmla="*/ 28870 h 103441"/>
                <a:gd name="connsiteX7" fmla="*/ 44891 w 69132"/>
                <a:gd name="connsiteY7" fmla="*/ 17983 h 103441"/>
                <a:gd name="connsiteX8" fmla="*/ 33414 w 69132"/>
                <a:gd name="connsiteY8" fmla="*/ 14011 h 103441"/>
                <a:gd name="connsiteX9" fmla="*/ 22088 w 69132"/>
                <a:gd name="connsiteY9" fmla="*/ 16183 h 103441"/>
                <a:gd name="connsiteX10" fmla="*/ 9420 w 69132"/>
                <a:gd name="connsiteY10" fmla="*/ 23993 h 103441"/>
                <a:gd name="connsiteX11" fmla="*/ 562 w 69132"/>
                <a:gd name="connsiteY11" fmla="*/ 13173 h 103441"/>
                <a:gd name="connsiteX12" fmla="*/ 17088 w 69132"/>
                <a:gd name="connsiteY12" fmla="*/ 2991 h 103441"/>
                <a:gd name="connsiteX13" fmla="*/ 34176 w 69132"/>
                <a:gd name="connsiteY13" fmla="*/ 0 h 103441"/>
                <a:gd name="connsiteX14" fmla="*/ 56998 w 69132"/>
                <a:gd name="connsiteY14" fmla="*/ 7420 h 103441"/>
                <a:gd name="connsiteX15" fmla="*/ 65580 w 69132"/>
                <a:gd name="connsiteY15" fmla="*/ 27413 h 103441"/>
                <a:gd name="connsiteX16" fmla="*/ 63103 w 69132"/>
                <a:gd name="connsiteY16" fmla="*/ 40529 h 103441"/>
                <a:gd name="connsiteX17" fmla="*/ 55493 w 69132"/>
                <a:gd name="connsiteY17" fmla="*/ 53330 h 103441"/>
                <a:gd name="connsiteX18" fmla="*/ 38433 w 69132"/>
                <a:gd name="connsiteY18" fmla="*/ 71161 h 103441"/>
                <a:gd name="connsiteX19" fmla="*/ 20717 w 69132"/>
                <a:gd name="connsiteY19" fmla="*/ 88316 h 103441"/>
                <a:gd name="connsiteX20" fmla="*/ 20717 w 69132"/>
                <a:gd name="connsiteY20" fmla="*/ 89021 h 103441"/>
                <a:gd name="connsiteX21" fmla="*/ 69132 w 69132"/>
                <a:gd name="connsiteY21" fmla="*/ 89021 h 103441"/>
                <a:gd name="connsiteX22" fmla="*/ 69132 w 69132"/>
                <a:gd name="connsiteY22" fmla="*/ 103442 h 103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9132" h="103441">
                  <a:moveTo>
                    <a:pt x="69132" y="103442"/>
                  </a:moveTo>
                  <a:lnTo>
                    <a:pt x="0" y="103442"/>
                  </a:lnTo>
                  <a:lnTo>
                    <a:pt x="0" y="91021"/>
                  </a:lnTo>
                  <a:lnTo>
                    <a:pt x="26299" y="64580"/>
                  </a:lnTo>
                  <a:cubicBezTo>
                    <a:pt x="34061" y="56636"/>
                    <a:pt x="39214" y="50987"/>
                    <a:pt x="41748" y="47673"/>
                  </a:cubicBezTo>
                  <a:cubicBezTo>
                    <a:pt x="44282" y="44339"/>
                    <a:pt x="46139" y="41215"/>
                    <a:pt x="47292" y="38291"/>
                  </a:cubicBezTo>
                  <a:cubicBezTo>
                    <a:pt x="48463" y="35357"/>
                    <a:pt x="49044" y="32214"/>
                    <a:pt x="49044" y="28870"/>
                  </a:cubicBezTo>
                  <a:cubicBezTo>
                    <a:pt x="49044" y="24279"/>
                    <a:pt x="47654" y="20650"/>
                    <a:pt x="44891" y="17983"/>
                  </a:cubicBezTo>
                  <a:cubicBezTo>
                    <a:pt x="42120" y="15345"/>
                    <a:pt x="38300" y="14011"/>
                    <a:pt x="33414" y="14011"/>
                  </a:cubicBezTo>
                  <a:cubicBezTo>
                    <a:pt x="29508" y="14011"/>
                    <a:pt x="25727" y="14735"/>
                    <a:pt x="22088" y="16183"/>
                  </a:cubicBezTo>
                  <a:cubicBezTo>
                    <a:pt x="18421" y="17621"/>
                    <a:pt x="14211" y="20222"/>
                    <a:pt x="9420" y="23993"/>
                  </a:cubicBezTo>
                  <a:lnTo>
                    <a:pt x="562" y="13173"/>
                  </a:lnTo>
                  <a:cubicBezTo>
                    <a:pt x="6239" y="8382"/>
                    <a:pt x="11744" y="4991"/>
                    <a:pt x="17088" y="2991"/>
                  </a:cubicBezTo>
                  <a:cubicBezTo>
                    <a:pt x="22431" y="991"/>
                    <a:pt x="28127" y="0"/>
                    <a:pt x="34176" y="0"/>
                  </a:cubicBezTo>
                  <a:cubicBezTo>
                    <a:pt x="43663" y="0"/>
                    <a:pt x="51273" y="2477"/>
                    <a:pt x="56998" y="7420"/>
                  </a:cubicBezTo>
                  <a:cubicBezTo>
                    <a:pt x="62722" y="12382"/>
                    <a:pt x="65580" y="19040"/>
                    <a:pt x="65580" y="27413"/>
                  </a:cubicBezTo>
                  <a:cubicBezTo>
                    <a:pt x="65580" y="32014"/>
                    <a:pt x="64741" y="36385"/>
                    <a:pt x="63103" y="40529"/>
                  </a:cubicBezTo>
                  <a:cubicBezTo>
                    <a:pt x="61446" y="44672"/>
                    <a:pt x="58922" y="48939"/>
                    <a:pt x="55493" y="53330"/>
                  </a:cubicBezTo>
                  <a:cubicBezTo>
                    <a:pt x="52073" y="57731"/>
                    <a:pt x="46387" y="63675"/>
                    <a:pt x="38433" y="71161"/>
                  </a:cubicBezTo>
                  <a:lnTo>
                    <a:pt x="20717" y="88316"/>
                  </a:lnTo>
                  <a:lnTo>
                    <a:pt x="20717" y="89021"/>
                  </a:lnTo>
                  <a:lnTo>
                    <a:pt x="69132" y="89021"/>
                  </a:lnTo>
                  <a:lnTo>
                    <a:pt x="69132" y="103442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 31">
              <a:extLst>
                <a:ext uri="{FF2B5EF4-FFF2-40B4-BE49-F238E27FC236}">
                  <a16:creationId xmlns:a16="http://schemas.microsoft.com/office/drawing/2014/main" id="{438DF4A1-E6DA-0C2A-9B63-AE8341AD90DB}"/>
                </a:ext>
              </a:extLst>
            </p:cNvPr>
            <p:cNvSpPr/>
            <p:nvPr/>
          </p:nvSpPr>
          <p:spPr>
            <a:xfrm>
              <a:off x="842559" y="2676969"/>
              <a:ext cx="76333" cy="102269"/>
            </a:xfrm>
            <a:custGeom>
              <a:avLst/>
              <a:gdLst>
                <a:gd name="connsiteX0" fmla="*/ 76333 w 76333"/>
                <a:gd name="connsiteY0" fmla="*/ 80020 h 102269"/>
                <a:gd name="connsiteX1" fmla="*/ 62589 w 76333"/>
                <a:gd name="connsiteY1" fmla="*/ 80020 h 102269"/>
                <a:gd name="connsiteX2" fmla="*/ 62589 w 76333"/>
                <a:gd name="connsiteY2" fmla="*/ 102270 h 102269"/>
                <a:gd name="connsiteX3" fmla="*/ 46606 w 76333"/>
                <a:gd name="connsiteY3" fmla="*/ 102270 h 102269"/>
                <a:gd name="connsiteX4" fmla="*/ 46606 w 76333"/>
                <a:gd name="connsiteY4" fmla="*/ 80020 h 102269"/>
                <a:gd name="connsiteX5" fmla="*/ 0 w 76333"/>
                <a:gd name="connsiteY5" fmla="*/ 80020 h 102269"/>
                <a:gd name="connsiteX6" fmla="*/ 0 w 76333"/>
                <a:gd name="connsiteY6" fmla="*/ 67389 h 102269"/>
                <a:gd name="connsiteX7" fmla="*/ 46606 w 76333"/>
                <a:gd name="connsiteY7" fmla="*/ 0 h 102269"/>
                <a:gd name="connsiteX8" fmla="*/ 62589 w 76333"/>
                <a:gd name="connsiteY8" fmla="*/ 0 h 102269"/>
                <a:gd name="connsiteX9" fmla="*/ 62589 w 76333"/>
                <a:gd name="connsiteY9" fmla="*/ 66418 h 102269"/>
                <a:gd name="connsiteX10" fmla="*/ 76333 w 76333"/>
                <a:gd name="connsiteY10" fmla="*/ 66418 h 102269"/>
                <a:gd name="connsiteX11" fmla="*/ 76333 w 76333"/>
                <a:gd name="connsiteY11" fmla="*/ 80020 h 102269"/>
                <a:gd name="connsiteX12" fmla="*/ 46606 w 76333"/>
                <a:gd name="connsiteY12" fmla="*/ 66408 h 102269"/>
                <a:gd name="connsiteX13" fmla="*/ 46606 w 76333"/>
                <a:gd name="connsiteY13" fmla="*/ 40805 h 102269"/>
                <a:gd name="connsiteX14" fmla="*/ 47311 w 76333"/>
                <a:gd name="connsiteY14" fmla="*/ 18412 h 102269"/>
                <a:gd name="connsiteX15" fmla="*/ 46749 w 76333"/>
                <a:gd name="connsiteY15" fmla="*/ 18412 h 102269"/>
                <a:gd name="connsiteX16" fmla="*/ 40605 w 76333"/>
                <a:gd name="connsiteY16" fmla="*/ 29575 h 102269"/>
                <a:gd name="connsiteX17" fmla="*/ 15278 w 76333"/>
                <a:gd name="connsiteY17" fmla="*/ 66408 h 102269"/>
                <a:gd name="connsiteX18" fmla="*/ 46606 w 76333"/>
                <a:gd name="connsiteY18" fmla="*/ 66408 h 102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6333" h="102269">
                  <a:moveTo>
                    <a:pt x="76333" y="80020"/>
                  </a:moveTo>
                  <a:lnTo>
                    <a:pt x="62589" y="80020"/>
                  </a:lnTo>
                  <a:lnTo>
                    <a:pt x="62589" y="102270"/>
                  </a:lnTo>
                  <a:lnTo>
                    <a:pt x="46606" y="102270"/>
                  </a:lnTo>
                  <a:lnTo>
                    <a:pt x="46606" y="80020"/>
                  </a:lnTo>
                  <a:lnTo>
                    <a:pt x="0" y="80020"/>
                  </a:lnTo>
                  <a:lnTo>
                    <a:pt x="0" y="67389"/>
                  </a:lnTo>
                  <a:lnTo>
                    <a:pt x="46606" y="0"/>
                  </a:lnTo>
                  <a:lnTo>
                    <a:pt x="62589" y="0"/>
                  </a:lnTo>
                  <a:lnTo>
                    <a:pt x="62589" y="66418"/>
                  </a:lnTo>
                  <a:lnTo>
                    <a:pt x="76333" y="66418"/>
                  </a:lnTo>
                  <a:lnTo>
                    <a:pt x="76333" y="80020"/>
                  </a:lnTo>
                  <a:close/>
                  <a:moveTo>
                    <a:pt x="46606" y="66408"/>
                  </a:moveTo>
                  <a:lnTo>
                    <a:pt x="46606" y="40805"/>
                  </a:lnTo>
                  <a:cubicBezTo>
                    <a:pt x="46606" y="31699"/>
                    <a:pt x="46844" y="24232"/>
                    <a:pt x="47311" y="18412"/>
                  </a:cubicBezTo>
                  <a:lnTo>
                    <a:pt x="46749" y="18412"/>
                  </a:lnTo>
                  <a:cubicBezTo>
                    <a:pt x="45444" y="21479"/>
                    <a:pt x="43396" y="25203"/>
                    <a:pt x="40605" y="29575"/>
                  </a:cubicBezTo>
                  <a:lnTo>
                    <a:pt x="15278" y="66408"/>
                  </a:lnTo>
                  <a:lnTo>
                    <a:pt x="46606" y="6640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DCEBB210-E8FE-55F9-E0AF-5F0C7368EFA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668610" y="4504105"/>
            <a:ext cx="457200" cy="4572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189C3219-DD08-A9B4-ABBC-DA5C4CAC8BD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8658" y="1667044"/>
            <a:ext cx="457200" cy="4572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D8EBB38-B6CD-CF79-BF15-DAC2F785759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610" y="5459371"/>
            <a:ext cx="457200" cy="4572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68FB6095-17C7-63DC-CC17-3E210A701AF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8610" y="3555558"/>
            <a:ext cx="457200" cy="457200"/>
          </a:xfrm>
          <a:prstGeom prst="rect">
            <a:avLst/>
          </a:prstGeom>
        </p:spPr>
      </p:pic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4AECE97D-AD09-D943-D204-C38554F2C302}"/>
              </a:ext>
            </a:extLst>
          </p:cNvPr>
          <p:cNvCxnSpPr>
            <a:cxnSpLocks/>
          </p:cNvCxnSpPr>
          <p:nvPr/>
        </p:nvCxnSpPr>
        <p:spPr>
          <a:xfrm>
            <a:off x="576000" y="3320926"/>
            <a:ext cx="11033294" cy="0"/>
          </a:xfrm>
          <a:prstGeom prst="line">
            <a:avLst/>
          </a:prstGeom>
          <a:ln w="635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F0C8BFD1-4700-31D7-3D46-70BC6CE7FBAD}"/>
              </a:ext>
            </a:extLst>
          </p:cNvPr>
          <p:cNvCxnSpPr>
            <a:cxnSpLocks/>
          </p:cNvCxnSpPr>
          <p:nvPr/>
        </p:nvCxnSpPr>
        <p:spPr>
          <a:xfrm>
            <a:off x="576000" y="4245375"/>
            <a:ext cx="11033294" cy="0"/>
          </a:xfrm>
          <a:prstGeom prst="line">
            <a:avLst/>
          </a:prstGeom>
          <a:ln w="635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2D6F071A-ABD2-EA0B-21F3-7D64197367C1}"/>
              </a:ext>
            </a:extLst>
          </p:cNvPr>
          <p:cNvCxnSpPr>
            <a:cxnSpLocks/>
          </p:cNvCxnSpPr>
          <p:nvPr/>
        </p:nvCxnSpPr>
        <p:spPr>
          <a:xfrm>
            <a:off x="576000" y="5199969"/>
            <a:ext cx="11033294" cy="0"/>
          </a:xfrm>
          <a:prstGeom prst="line">
            <a:avLst/>
          </a:prstGeom>
          <a:ln w="635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48527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61C40-C190-6436-6707-3BF7AF188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ihandform 15">
            <a:extLst>
              <a:ext uri="{FF2B5EF4-FFF2-40B4-BE49-F238E27FC236}">
                <a16:creationId xmlns:a16="http://schemas.microsoft.com/office/drawing/2014/main" id="{529B6242-47BE-AC43-CC5D-690D119BED9C}"/>
              </a:ext>
            </a:extLst>
          </p:cNvPr>
          <p:cNvSpPr/>
          <p:nvPr/>
        </p:nvSpPr>
        <p:spPr>
          <a:xfrm>
            <a:off x="574675" y="4080483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" name="Freihandform 18">
            <a:extLst>
              <a:ext uri="{FF2B5EF4-FFF2-40B4-BE49-F238E27FC236}">
                <a16:creationId xmlns:a16="http://schemas.microsoft.com/office/drawing/2014/main" id="{B3749761-48E3-9FC0-F6D1-D20802912A44}"/>
              </a:ext>
            </a:extLst>
          </p:cNvPr>
          <p:cNvSpPr/>
          <p:nvPr/>
        </p:nvSpPr>
        <p:spPr>
          <a:xfrm>
            <a:off x="574675" y="3023360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5" name="Freihandform 34">
            <a:extLst>
              <a:ext uri="{FF2B5EF4-FFF2-40B4-BE49-F238E27FC236}">
                <a16:creationId xmlns:a16="http://schemas.microsoft.com/office/drawing/2014/main" id="{9BB9D6A2-F00A-F495-E1CC-6A76F5E2EF1C}"/>
              </a:ext>
            </a:extLst>
          </p:cNvPr>
          <p:cNvSpPr/>
          <p:nvPr/>
        </p:nvSpPr>
        <p:spPr>
          <a:xfrm>
            <a:off x="574675" y="1966237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" name="Freihandform 14">
            <a:extLst>
              <a:ext uri="{FF2B5EF4-FFF2-40B4-BE49-F238E27FC236}">
                <a16:creationId xmlns:a16="http://schemas.microsoft.com/office/drawing/2014/main" id="{6AB38760-49AF-3B22-5CA5-C9B3EEA2EDB2}"/>
              </a:ext>
            </a:extLst>
          </p:cNvPr>
          <p:cNvSpPr/>
          <p:nvPr/>
        </p:nvSpPr>
        <p:spPr>
          <a:xfrm>
            <a:off x="574675" y="5137606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6EDB49E-ADAC-89C9-4453-2A14D3AC632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 rot="10800000">
            <a:off x="6329355" y="1325054"/>
            <a:ext cx="5371846" cy="5069386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33B64DA-1C6F-F631-49B3-42987A5F4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4</a:t>
            </a:fld>
            <a:endParaRPr lang="de-DE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05B2FFBE-CC9F-7FBA-49CC-446131339813}"/>
              </a:ext>
            </a:extLst>
          </p:cNvPr>
          <p:cNvSpPr txBox="1"/>
          <p:nvPr/>
        </p:nvSpPr>
        <p:spPr>
          <a:xfrm>
            <a:off x="1442340" y="2057339"/>
            <a:ext cx="176497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2000"/>
              <a:t>622 MW</a:t>
            </a:r>
            <a:br>
              <a:rPr lang="de-DE" sz="2000"/>
            </a:br>
            <a:r>
              <a:rPr lang="de-DE" sz="1000"/>
              <a:t>Windenergie</a:t>
            </a:r>
          </a:p>
        </p:txBody>
      </p: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8D42A5EF-E2F8-7D56-7F22-3AA2871C0E9F}"/>
              </a:ext>
            </a:extLst>
          </p:cNvPr>
          <p:cNvCxnSpPr>
            <a:cxnSpLocks/>
          </p:cNvCxnSpPr>
          <p:nvPr/>
        </p:nvCxnSpPr>
        <p:spPr>
          <a:xfrm>
            <a:off x="571159" y="2812101"/>
            <a:ext cx="241200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18959BE-18EA-3062-BC92-ECA42F4D888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A49B1C9-9FD8-4AE3-AF95-DBA9282EE03C}" type="datetime1">
              <a:rPr lang="de-DE" smtClean="0"/>
              <a:t>24.04.2026</a:t>
            </a:fld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F884E7B-62F6-42CC-F5F4-F437505671A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15200" y="432000"/>
            <a:ext cx="1602000" cy="513849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A7217689-2EA9-922B-7D8C-73E90E09B83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4456" y="5229523"/>
            <a:ext cx="457200" cy="4572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4709B70A-DF84-035B-C12A-DF80A301067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4456" y="4166523"/>
            <a:ext cx="457200" cy="457200"/>
          </a:xfrm>
          <a:prstGeom prst="rect">
            <a:avLst/>
          </a:prstGeom>
        </p:spPr>
      </p:pic>
      <p:pic>
        <p:nvPicPr>
          <p:cNvPr id="470" name="Grafik 469">
            <a:extLst>
              <a:ext uri="{FF2B5EF4-FFF2-40B4-BE49-F238E27FC236}">
                <a16:creationId xmlns:a16="http://schemas.microsoft.com/office/drawing/2014/main" id="{C2BBDD59-DB7F-F395-AE17-699C1F986FD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4456" y="3115277"/>
            <a:ext cx="457200" cy="457200"/>
          </a:xfrm>
          <a:prstGeom prst="rect">
            <a:avLst/>
          </a:prstGeom>
        </p:spPr>
      </p:pic>
      <p:pic>
        <p:nvPicPr>
          <p:cNvPr id="478" name="Grafik 477">
            <a:extLst>
              <a:ext uri="{FF2B5EF4-FFF2-40B4-BE49-F238E27FC236}">
                <a16:creationId xmlns:a16="http://schemas.microsoft.com/office/drawing/2014/main" id="{205A3FEC-DE57-9D5F-CF90-B4849DE5F3D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4456" y="2044100"/>
            <a:ext cx="457200" cy="4572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54AA4BB3-1E23-43F9-D22D-C290B7791CCE}"/>
              </a:ext>
            </a:extLst>
          </p:cNvPr>
          <p:cNvSpPr txBox="1"/>
          <p:nvPr/>
        </p:nvSpPr>
        <p:spPr>
          <a:xfrm>
            <a:off x="1442340" y="3097707"/>
            <a:ext cx="176497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2000"/>
              <a:t>21 MW</a:t>
            </a:r>
            <a:br>
              <a:rPr lang="de-DE" sz="2000"/>
            </a:br>
            <a:r>
              <a:rPr lang="de-DE" sz="1000"/>
              <a:t>Bioga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607E409-98E2-9663-C22A-557E9E2F3E5F}"/>
              </a:ext>
            </a:extLst>
          </p:cNvPr>
          <p:cNvSpPr txBox="1"/>
          <p:nvPr/>
        </p:nvSpPr>
        <p:spPr>
          <a:xfrm>
            <a:off x="1442340" y="4183528"/>
            <a:ext cx="176497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2000"/>
              <a:t>&gt; 600 km</a:t>
            </a:r>
            <a:br>
              <a:rPr lang="de-DE" sz="2000"/>
            </a:br>
            <a:r>
              <a:rPr lang="de-DE" sz="1000"/>
              <a:t>Kabel Einspeisenetz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9338369-768C-1FCF-D121-4345BF9D4469}"/>
              </a:ext>
            </a:extLst>
          </p:cNvPr>
          <p:cNvSpPr txBox="1"/>
          <p:nvPr/>
        </p:nvSpPr>
        <p:spPr>
          <a:xfrm>
            <a:off x="1442340" y="5243978"/>
            <a:ext cx="176497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2000"/>
              <a:t>22 MW</a:t>
            </a:r>
            <a:br>
              <a:rPr lang="de-DE" sz="2000"/>
            </a:br>
            <a:r>
              <a:rPr lang="de-DE" sz="1000"/>
              <a:t>Batterie</a:t>
            </a:r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E89EC61A-CBD4-DFF0-EB86-F84F12EFEFD0}"/>
              </a:ext>
            </a:extLst>
          </p:cNvPr>
          <p:cNvCxnSpPr>
            <a:cxnSpLocks/>
          </p:cNvCxnSpPr>
          <p:nvPr/>
        </p:nvCxnSpPr>
        <p:spPr>
          <a:xfrm>
            <a:off x="571159" y="3872551"/>
            <a:ext cx="241200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6">
            <a:extLst>
              <a:ext uri="{FF2B5EF4-FFF2-40B4-BE49-F238E27FC236}">
                <a16:creationId xmlns:a16="http://schemas.microsoft.com/office/drawing/2014/main" id="{9DD145E7-976A-7CED-7CFD-1FDE34FCB34B}"/>
              </a:ext>
            </a:extLst>
          </p:cNvPr>
          <p:cNvCxnSpPr>
            <a:cxnSpLocks/>
          </p:cNvCxnSpPr>
          <p:nvPr/>
        </p:nvCxnSpPr>
        <p:spPr>
          <a:xfrm>
            <a:off x="571159" y="4933001"/>
            <a:ext cx="241200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Untertitel 42">
            <a:extLst>
              <a:ext uri="{FF2B5EF4-FFF2-40B4-BE49-F238E27FC236}">
                <a16:creationId xmlns:a16="http://schemas.microsoft.com/office/drawing/2014/main" id="{2A2786EF-7EE9-8D99-2F0A-DEBB98E6129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Aus Theorie wird Energie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7C9AA0B6-5C85-8C55-5EDD-66B304115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999" y="731101"/>
            <a:ext cx="6277288" cy="720000"/>
          </a:xfrm>
        </p:spPr>
        <p:txBody>
          <a:bodyPr/>
          <a:lstStyle/>
          <a:p>
            <a:r>
              <a:rPr lang="de-DE" sz="2000"/>
              <a:t>ENERTRAG Verbundkraftwerk</a:t>
            </a:r>
            <a:r>
              <a:rPr lang="de-DE" sz="2000" baseline="30000"/>
              <a:t>®</a:t>
            </a:r>
            <a:r>
              <a:rPr lang="de-DE" sz="2000"/>
              <a:t> Uckermark, 40 x 40 km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F48FF4D-3F9B-308E-D6BB-E2FAB09CA4F1}"/>
              </a:ext>
            </a:extLst>
          </p:cNvPr>
          <p:cNvGrpSpPr/>
          <p:nvPr/>
        </p:nvGrpSpPr>
        <p:grpSpPr>
          <a:xfrm>
            <a:off x="4239439" y="3254869"/>
            <a:ext cx="1057786" cy="1335813"/>
            <a:chOff x="1747895" y="2204823"/>
            <a:chExt cx="2680224" cy="3384690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5" name="Freihandform 4">
              <a:extLst>
                <a:ext uri="{FF2B5EF4-FFF2-40B4-BE49-F238E27FC236}">
                  <a16:creationId xmlns:a16="http://schemas.microsoft.com/office/drawing/2014/main" id="{57C9A252-7E81-29E2-F524-5A8A29EC979C}"/>
                </a:ext>
              </a:extLst>
            </p:cNvPr>
            <p:cNvSpPr/>
            <p:nvPr/>
          </p:nvSpPr>
          <p:spPr>
            <a:xfrm>
              <a:off x="2863663" y="2789724"/>
              <a:ext cx="163191" cy="129084"/>
            </a:xfrm>
            <a:custGeom>
              <a:avLst/>
              <a:gdLst>
                <a:gd name="connsiteX0" fmla="*/ 163192 w 163191"/>
                <a:gd name="connsiteY0" fmla="*/ 122088 h 129084"/>
                <a:gd name="connsiteX1" fmla="*/ 148415 w 163191"/>
                <a:gd name="connsiteY1" fmla="*/ 124016 h 129084"/>
                <a:gd name="connsiteX2" fmla="*/ 120788 w 163191"/>
                <a:gd name="connsiteY2" fmla="*/ 122088 h 129084"/>
                <a:gd name="connsiteX3" fmla="*/ 98943 w 163191"/>
                <a:gd name="connsiteY3" fmla="*/ 121446 h 129084"/>
                <a:gd name="connsiteX4" fmla="*/ 76456 w 163191"/>
                <a:gd name="connsiteY4" fmla="*/ 124016 h 129084"/>
                <a:gd name="connsiteX5" fmla="*/ 68746 w 163191"/>
                <a:gd name="connsiteY5" fmla="*/ 127228 h 129084"/>
                <a:gd name="connsiteX6" fmla="*/ 37907 w 163191"/>
                <a:gd name="connsiteY6" fmla="*/ 123373 h 129084"/>
                <a:gd name="connsiteX7" fmla="*/ 16062 w 163191"/>
                <a:gd name="connsiteY7" fmla="*/ 101529 h 129084"/>
                <a:gd name="connsiteX8" fmla="*/ 3855 w 163191"/>
                <a:gd name="connsiteY8" fmla="*/ 81612 h 129084"/>
                <a:gd name="connsiteX9" fmla="*/ 642 w 163191"/>
                <a:gd name="connsiteY9" fmla="*/ 72617 h 129084"/>
                <a:gd name="connsiteX10" fmla="*/ 25057 w 163191"/>
                <a:gd name="connsiteY10" fmla="*/ 77757 h 129084"/>
                <a:gd name="connsiteX11" fmla="*/ 23772 w 163191"/>
                <a:gd name="connsiteY11" fmla="*/ 70047 h 129084"/>
                <a:gd name="connsiteX12" fmla="*/ 14135 w 163191"/>
                <a:gd name="connsiteY12" fmla="*/ 65549 h 129084"/>
                <a:gd name="connsiteX13" fmla="*/ 0 w 163191"/>
                <a:gd name="connsiteY13" fmla="*/ 65549 h 129084"/>
                <a:gd name="connsiteX14" fmla="*/ 3212 w 163191"/>
                <a:gd name="connsiteY14" fmla="*/ 51415 h 129084"/>
                <a:gd name="connsiteX15" fmla="*/ 11565 w 163191"/>
                <a:gd name="connsiteY15" fmla="*/ 34710 h 129084"/>
                <a:gd name="connsiteX16" fmla="*/ 30197 w 163191"/>
                <a:gd name="connsiteY16" fmla="*/ 42420 h 129084"/>
                <a:gd name="connsiteX17" fmla="*/ 62964 w 163191"/>
                <a:gd name="connsiteY17" fmla="*/ 27643 h 129084"/>
                <a:gd name="connsiteX18" fmla="*/ 102156 w 163191"/>
                <a:gd name="connsiteY18" fmla="*/ 16 h 129084"/>
                <a:gd name="connsiteX19" fmla="*/ 136207 w 163191"/>
                <a:gd name="connsiteY19" fmla="*/ 30213 h 129084"/>
                <a:gd name="connsiteX20" fmla="*/ 128497 w 163191"/>
                <a:gd name="connsiteY20" fmla="*/ 56555 h 129084"/>
                <a:gd name="connsiteX21" fmla="*/ 144560 w 163191"/>
                <a:gd name="connsiteY21" fmla="*/ 93176 h 129084"/>
                <a:gd name="connsiteX22" fmla="*/ 158694 w 163191"/>
                <a:gd name="connsiteY22" fmla="*/ 116948 h 129084"/>
                <a:gd name="connsiteX23" fmla="*/ 163192 w 163191"/>
                <a:gd name="connsiteY23" fmla="*/ 122088 h 12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3191" h="129084">
                  <a:moveTo>
                    <a:pt x="163192" y="122088"/>
                  </a:moveTo>
                  <a:cubicBezTo>
                    <a:pt x="158694" y="123373"/>
                    <a:pt x="153555" y="124016"/>
                    <a:pt x="148415" y="124016"/>
                  </a:cubicBezTo>
                  <a:cubicBezTo>
                    <a:pt x="139420" y="124016"/>
                    <a:pt x="129782" y="122731"/>
                    <a:pt x="120788" y="122088"/>
                  </a:cubicBezTo>
                  <a:cubicBezTo>
                    <a:pt x="113720" y="121446"/>
                    <a:pt x="106010" y="121446"/>
                    <a:pt x="98943" y="121446"/>
                  </a:cubicBezTo>
                  <a:cubicBezTo>
                    <a:pt x="91233" y="121446"/>
                    <a:pt x="83523" y="121446"/>
                    <a:pt x="76456" y="124016"/>
                  </a:cubicBezTo>
                  <a:cubicBezTo>
                    <a:pt x="73886" y="125301"/>
                    <a:pt x="71316" y="126586"/>
                    <a:pt x="68746" y="127228"/>
                  </a:cubicBezTo>
                  <a:cubicBezTo>
                    <a:pt x="59109" y="131083"/>
                    <a:pt x="46902" y="128513"/>
                    <a:pt x="37907" y="123373"/>
                  </a:cubicBezTo>
                  <a:cubicBezTo>
                    <a:pt x="28912" y="118233"/>
                    <a:pt x="21845" y="109881"/>
                    <a:pt x="16062" y="101529"/>
                  </a:cubicBezTo>
                  <a:cubicBezTo>
                    <a:pt x="11565" y="95104"/>
                    <a:pt x="6425" y="88679"/>
                    <a:pt x="3855" y="81612"/>
                  </a:cubicBezTo>
                  <a:cubicBezTo>
                    <a:pt x="2570" y="79042"/>
                    <a:pt x="1927" y="75829"/>
                    <a:pt x="642" y="72617"/>
                  </a:cubicBezTo>
                  <a:cubicBezTo>
                    <a:pt x="10922" y="73902"/>
                    <a:pt x="25057" y="77757"/>
                    <a:pt x="25057" y="77757"/>
                  </a:cubicBezTo>
                  <a:cubicBezTo>
                    <a:pt x="25057" y="77757"/>
                    <a:pt x="24415" y="70689"/>
                    <a:pt x="23772" y="70047"/>
                  </a:cubicBezTo>
                  <a:cubicBezTo>
                    <a:pt x="23129" y="69404"/>
                    <a:pt x="23129" y="65549"/>
                    <a:pt x="14135" y="65549"/>
                  </a:cubicBezTo>
                  <a:cubicBezTo>
                    <a:pt x="10280" y="65549"/>
                    <a:pt x="5140" y="65549"/>
                    <a:pt x="0" y="65549"/>
                  </a:cubicBezTo>
                  <a:cubicBezTo>
                    <a:pt x="642" y="61052"/>
                    <a:pt x="1285" y="53985"/>
                    <a:pt x="3212" y="51415"/>
                  </a:cubicBezTo>
                  <a:cubicBezTo>
                    <a:pt x="5782" y="47560"/>
                    <a:pt x="9637" y="34068"/>
                    <a:pt x="11565" y="34710"/>
                  </a:cubicBezTo>
                  <a:cubicBezTo>
                    <a:pt x="13492" y="35352"/>
                    <a:pt x="24415" y="43062"/>
                    <a:pt x="30197" y="42420"/>
                  </a:cubicBezTo>
                  <a:cubicBezTo>
                    <a:pt x="35979" y="41777"/>
                    <a:pt x="43689" y="43062"/>
                    <a:pt x="62964" y="27643"/>
                  </a:cubicBezTo>
                  <a:cubicBezTo>
                    <a:pt x="82238" y="12223"/>
                    <a:pt x="83523" y="658"/>
                    <a:pt x="102156" y="16"/>
                  </a:cubicBezTo>
                  <a:cubicBezTo>
                    <a:pt x="120788" y="-627"/>
                    <a:pt x="136207" y="18648"/>
                    <a:pt x="136207" y="30213"/>
                  </a:cubicBezTo>
                  <a:cubicBezTo>
                    <a:pt x="136850" y="42420"/>
                    <a:pt x="128497" y="49487"/>
                    <a:pt x="128497" y="56555"/>
                  </a:cubicBezTo>
                  <a:cubicBezTo>
                    <a:pt x="128497" y="63622"/>
                    <a:pt x="139420" y="86751"/>
                    <a:pt x="144560" y="93176"/>
                  </a:cubicBezTo>
                  <a:cubicBezTo>
                    <a:pt x="149057" y="99601"/>
                    <a:pt x="150984" y="106669"/>
                    <a:pt x="158694" y="116948"/>
                  </a:cubicBezTo>
                  <a:cubicBezTo>
                    <a:pt x="159979" y="118876"/>
                    <a:pt x="161264" y="120161"/>
                    <a:pt x="163192" y="122088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 5">
              <a:extLst>
                <a:ext uri="{FF2B5EF4-FFF2-40B4-BE49-F238E27FC236}">
                  <a16:creationId xmlns:a16="http://schemas.microsoft.com/office/drawing/2014/main" id="{74D15636-1FEB-016A-F594-46299B99AD68}"/>
                </a:ext>
              </a:extLst>
            </p:cNvPr>
            <p:cNvSpPr/>
            <p:nvPr/>
          </p:nvSpPr>
          <p:spPr>
            <a:xfrm>
              <a:off x="2863663" y="2789724"/>
              <a:ext cx="163191" cy="129084"/>
            </a:xfrm>
            <a:custGeom>
              <a:avLst/>
              <a:gdLst>
                <a:gd name="connsiteX0" fmla="*/ 163192 w 163191"/>
                <a:gd name="connsiteY0" fmla="*/ 122088 h 129084"/>
                <a:gd name="connsiteX1" fmla="*/ 148415 w 163191"/>
                <a:gd name="connsiteY1" fmla="*/ 124016 h 129084"/>
                <a:gd name="connsiteX2" fmla="*/ 120788 w 163191"/>
                <a:gd name="connsiteY2" fmla="*/ 122088 h 129084"/>
                <a:gd name="connsiteX3" fmla="*/ 98943 w 163191"/>
                <a:gd name="connsiteY3" fmla="*/ 121446 h 129084"/>
                <a:gd name="connsiteX4" fmla="*/ 76456 w 163191"/>
                <a:gd name="connsiteY4" fmla="*/ 124016 h 129084"/>
                <a:gd name="connsiteX5" fmla="*/ 68746 w 163191"/>
                <a:gd name="connsiteY5" fmla="*/ 127228 h 129084"/>
                <a:gd name="connsiteX6" fmla="*/ 37907 w 163191"/>
                <a:gd name="connsiteY6" fmla="*/ 123373 h 129084"/>
                <a:gd name="connsiteX7" fmla="*/ 16062 w 163191"/>
                <a:gd name="connsiteY7" fmla="*/ 101529 h 129084"/>
                <a:gd name="connsiteX8" fmla="*/ 3855 w 163191"/>
                <a:gd name="connsiteY8" fmla="*/ 81612 h 129084"/>
                <a:gd name="connsiteX9" fmla="*/ 642 w 163191"/>
                <a:gd name="connsiteY9" fmla="*/ 72617 h 129084"/>
                <a:gd name="connsiteX10" fmla="*/ 25057 w 163191"/>
                <a:gd name="connsiteY10" fmla="*/ 77757 h 129084"/>
                <a:gd name="connsiteX11" fmla="*/ 23772 w 163191"/>
                <a:gd name="connsiteY11" fmla="*/ 70047 h 129084"/>
                <a:gd name="connsiteX12" fmla="*/ 14135 w 163191"/>
                <a:gd name="connsiteY12" fmla="*/ 65549 h 129084"/>
                <a:gd name="connsiteX13" fmla="*/ 0 w 163191"/>
                <a:gd name="connsiteY13" fmla="*/ 65549 h 129084"/>
                <a:gd name="connsiteX14" fmla="*/ 3212 w 163191"/>
                <a:gd name="connsiteY14" fmla="*/ 51415 h 129084"/>
                <a:gd name="connsiteX15" fmla="*/ 11565 w 163191"/>
                <a:gd name="connsiteY15" fmla="*/ 34710 h 129084"/>
                <a:gd name="connsiteX16" fmla="*/ 30197 w 163191"/>
                <a:gd name="connsiteY16" fmla="*/ 42420 h 129084"/>
                <a:gd name="connsiteX17" fmla="*/ 62964 w 163191"/>
                <a:gd name="connsiteY17" fmla="*/ 27643 h 129084"/>
                <a:gd name="connsiteX18" fmla="*/ 102156 w 163191"/>
                <a:gd name="connsiteY18" fmla="*/ 16 h 129084"/>
                <a:gd name="connsiteX19" fmla="*/ 136207 w 163191"/>
                <a:gd name="connsiteY19" fmla="*/ 30213 h 129084"/>
                <a:gd name="connsiteX20" fmla="*/ 128497 w 163191"/>
                <a:gd name="connsiteY20" fmla="*/ 56555 h 129084"/>
                <a:gd name="connsiteX21" fmla="*/ 144560 w 163191"/>
                <a:gd name="connsiteY21" fmla="*/ 93176 h 129084"/>
                <a:gd name="connsiteX22" fmla="*/ 158694 w 163191"/>
                <a:gd name="connsiteY22" fmla="*/ 116948 h 129084"/>
                <a:gd name="connsiteX23" fmla="*/ 163192 w 163191"/>
                <a:gd name="connsiteY23" fmla="*/ 122088 h 12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3191" h="129084">
                  <a:moveTo>
                    <a:pt x="163192" y="122088"/>
                  </a:moveTo>
                  <a:cubicBezTo>
                    <a:pt x="158694" y="123373"/>
                    <a:pt x="153555" y="124016"/>
                    <a:pt x="148415" y="124016"/>
                  </a:cubicBezTo>
                  <a:cubicBezTo>
                    <a:pt x="139420" y="124016"/>
                    <a:pt x="129782" y="122731"/>
                    <a:pt x="120788" y="122088"/>
                  </a:cubicBezTo>
                  <a:cubicBezTo>
                    <a:pt x="113720" y="121446"/>
                    <a:pt x="106010" y="121446"/>
                    <a:pt x="98943" y="121446"/>
                  </a:cubicBezTo>
                  <a:cubicBezTo>
                    <a:pt x="91233" y="121446"/>
                    <a:pt x="83523" y="121446"/>
                    <a:pt x="76456" y="124016"/>
                  </a:cubicBezTo>
                  <a:cubicBezTo>
                    <a:pt x="73886" y="125301"/>
                    <a:pt x="71316" y="126586"/>
                    <a:pt x="68746" y="127228"/>
                  </a:cubicBezTo>
                  <a:cubicBezTo>
                    <a:pt x="59109" y="131083"/>
                    <a:pt x="46902" y="128513"/>
                    <a:pt x="37907" y="123373"/>
                  </a:cubicBezTo>
                  <a:cubicBezTo>
                    <a:pt x="28912" y="118233"/>
                    <a:pt x="21845" y="109881"/>
                    <a:pt x="16062" y="101529"/>
                  </a:cubicBezTo>
                  <a:cubicBezTo>
                    <a:pt x="11565" y="95104"/>
                    <a:pt x="6425" y="88679"/>
                    <a:pt x="3855" y="81612"/>
                  </a:cubicBezTo>
                  <a:cubicBezTo>
                    <a:pt x="2570" y="79042"/>
                    <a:pt x="1927" y="75829"/>
                    <a:pt x="642" y="72617"/>
                  </a:cubicBezTo>
                  <a:cubicBezTo>
                    <a:pt x="10922" y="73902"/>
                    <a:pt x="25057" y="77757"/>
                    <a:pt x="25057" y="77757"/>
                  </a:cubicBezTo>
                  <a:cubicBezTo>
                    <a:pt x="25057" y="77757"/>
                    <a:pt x="24415" y="70689"/>
                    <a:pt x="23772" y="70047"/>
                  </a:cubicBezTo>
                  <a:cubicBezTo>
                    <a:pt x="23129" y="69404"/>
                    <a:pt x="23129" y="65549"/>
                    <a:pt x="14135" y="65549"/>
                  </a:cubicBezTo>
                  <a:cubicBezTo>
                    <a:pt x="10280" y="65549"/>
                    <a:pt x="5140" y="65549"/>
                    <a:pt x="0" y="65549"/>
                  </a:cubicBezTo>
                  <a:cubicBezTo>
                    <a:pt x="642" y="61052"/>
                    <a:pt x="1285" y="53985"/>
                    <a:pt x="3212" y="51415"/>
                  </a:cubicBezTo>
                  <a:cubicBezTo>
                    <a:pt x="5782" y="47560"/>
                    <a:pt x="9637" y="34068"/>
                    <a:pt x="11565" y="34710"/>
                  </a:cubicBezTo>
                  <a:cubicBezTo>
                    <a:pt x="13492" y="35352"/>
                    <a:pt x="24415" y="43062"/>
                    <a:pt x="30197" y="42420"/>
                  </a:cubicBezTo>
                  <a:cubicBezTo>
                    <a:pt x="35979" y="41777"/>
                    <a:pt x="43689" y="43062"/>
                    <a:pt x="62964" y="27643"/>
                  </a:cubicBezTo>
                  <a:cubicBezTo>
                    <a:pt x="82238" y="12223"/>
                    <a:pt x="83523" y="658"/>
                    <a:pt x="102156" y="16"/>
                  </a:cubicBezTo>
                  <a:cubicBezTo>
                    <a:pt x="120788" y="-627"/>
                    <a:pt x="136207" y="18648"/>
                    <a:pt x="136207" y="30213"/>
                  </a:cubicBezTo>
                  <a:cubicBezTo>
                    <a:pt x="136850" y="42420"/>
                    <a:pt x="128497" y="49487"/>
                    <a:pt x="128497" y="56555"/>
                  </a:cubicBezTo>
                  <a:cubicBezTo>
                    <a:pt x="128497" y="63622"/>
                    <a:pt x="139420" y="86751"/>
                    <a:pt x="144560" y="93176"/>
                  </a:cubicBezTo>
                  <a:cubicBezTo>
                    <a:pt x="149057" y="99601"/>
                    <a:pt x="150984" y="106669"/>
                    <a:pt x="158694" y="116948"/>
                  </a:cubicBezTo>
                  <a:cubicBezTo>
                    <a:pt x="159979" y="118876"/>
                    <a:pt x="161264" y="120161"/>
                    <a:pt x="163192" y="122088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 8">
              <a:extLst>
                <a:ext uri="{FF2B5EF4-FFF2-40B4-BE49-F238E27FC236}">
                  <a16:creationId xmlns:a16="http://schemas.microsoft.com/office/drawing/2014/main" id="{AEFCE86F-2320-F531-E11F-1104466EAFCA}"/>
                </a:ext>
              </a:extLst>
            </p:cNvPr>
            <p:cNvSpPr/>
            <p:nvPr/>
          </p:nvSpPr>
          <p:spPr>
            <a:xfrm>
              <a:off x="3822575" y="3216993"/>
              <a:ext cx="190629" cy="132971"/>
            </a:xfrm>
            <a:custGeom>
              <a:avLst/>
              <a:gdLst>
                <a:gd name="connsiteX0" fmla="*/ 175078 w 190629"/>
                <a:gd name="connsiteY0" fmla="*/ 108580 h 132971"/>
                <a:gd name="connsiteX1" fmla="*/ 161586 w 190629"/>
                <a:gd name="connsiteY1" fmla="*/ 131710 h 132971"/>
                <a:gd name="connsiteX2" fmla="*/ 155803 w 190629"/>
                <a:gd name="connsiteY2" fmla="*/ 127213 h 132971"/>
                <a:gd name="connsiteX3" fmla="*/ 142953 w 190629"/>
                <a:gd name="connsiteY3" fmla="*/ 115005 h 132971"/>
                <a:gd name="connsiteX4" fmla="*/ 116612 w 190629"/>
                <a:gd name="connsiteY4" fmla="*/ 105368 h 132971"/>
                <a:gd name="connsiteX5" fmla="*/ 93482 w 190629"/>
                <a:gd name="connsiteY5" fmla="*/ 122073 h 132971"/>
                <a:gd name="connsiteX6" fmla="*/ 53648 w 190629"/>
                <a:gd name="connsiteY6" fmla="*/ 109865 h 132971"/>
                <a:gd name="connsiteX7" fmla="*/ 32446 w 190629"/>
                <a:gd name="connsiteY7" fmla="*/ 103440 h 132971"/>
                <a:gd name="connsiteX8" fmla="*/ 6746 w 190629"/>
                <a:gd name="connsiteY8" fmla="*/ 115005 h 132971"/>
                <a:gd name="connsiteX9" fmla="*/ 2891 w 190629"/>
                <a:gd name="connsiteY9" fmla="*/ 97658 h 132971"/>
                <a:gd name="connsiteX10" fmla="*/ 9316 w 190629"/>
                <a:gd name="connsiteY10" fmla="*/ 60394 h 132971"/>
                <a:gd name="connsiteX11" fmla="*/ 9316 w 190629"/>
                <a:gd name="connsiteY11" fmla="*/ 28269 h 132971"/>
                <a:gd name="connsiteX12" fmla="*/ 53005 w 190629"/>
                <a:gd name="connsiteY12" fmla="*/ 3212 h 132971"/>
                <a:gd name="connsiteX13" fmla="*/ 67140 w 190629"/>
                <a:gd name="connsiteY13" fmla="*/ 0 h 132971"/>
                <a:gd name="connsiteX14" fmla="*/ 74850 w 190629"/>
                <a:gd name="connsiteY14" fmla="*/ 6425 h 132971"/>
                <a:gd name="connsiteX15" fmla="*/ 102477 w 190629"/>
                <a:gd name="connsiteY15" fmla="*/ 7710 h 132971"/>
                <a:gd name="connsiteX16" fmla="*/ 110187 w 190629"/>
                <a:gd name="connsiteY16" fmla="*/ 23130 h 132971"/>
                <a:gd name="connsiteX17" fmla="*/ 141026 w 190629"/>
                <a:gd name="connsiteY17" fmla="*/ 45617 h 132971"/>
                <a:gd name="connsiteX18" fmla="*/ 155161 w 190629"/>
                <a:gd name="connsiteY18" fmla="*/ 62964 h 132971"/>
                <a:gd name="connsiteX19" fmla="*/ 190498 w 190629"/>
                <a:gd name="connsiteY19" fmla="*/ 77098 h 132971"/>
                <a:gd name="connsiteX20" fmla="*/ 175078 w 190629"/>
                <a:gd name="connsiteY20" fmla="*/ 108580 h 132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0629" h="132971">
                  <a:moveTo>
                    <a:pt x="175078" y="108580"/>
                  </a:moveTo>
                  <a:cubicBezTo>
                    <a:pt x="166083" y="122073"/>
                    <a:pt x="164156" y="129140"/>
                    <a:pt x="161586" y="131710"/>
                  </a:cubicBezTo>
                  <a:cubicBezTo>
                    <a:pt x="158373" y="134280"/>
                    <a:pt x="155803" y="132995"/>
                    <a:pt x="155803" y="127213"/>
                  </a:cubicBezTo>
                  <a:cubicBezTo>
                    <a:pt x="155803" y="121430"/>
                    <a:pt x="150021" y="115005"/>
                    <a:pt x="142953" y="115005"/>
                  </a:cubicBezTo>
                  <a:cubicBezTo>
                    <a:pt x="135244" y="114363"/>
                    <a:pt x="128176" y="106010"/>
                    <a:pt x="116612" y="105368"/>
                  </a:cubicBezTo>
                  <a:cubicBezTo>
                    <a:pt x="105047" y="104725"/>
                    <a:pt x="103762" y="117575"/>
                    <a:pt x="93482" y="122073"/>
                  </a:cubicBezTo>
                  <a:cubicBezTo>
                    <a:pt x="82560" y="126570"/>
                    <a:pt x="60715" y="115005"/>
                    <a:pt x="53648" y="109865"/>
                  </a:cubicBezTo>
                  <a:cubicBezTo>
                    <a:pt x="46580" y="104725"/>
                    <a:pt x="41440" y="101513"/>
                    <a:pt x="32446" y="103440"/>
                  </a:cubicBezTo>
                  <a:cubicBezTo>
                    <a:pt x="23451" y="106010"/>
                    <a:pt x="17668" y="116290"/>
                    <a:pt x="6746" y="115005"/>
                  </a:cubicBezTo>
                  <a:cubicBezTo>
                    <a:pt x="-3534" y="113720"/>
                    <a:pt x="321" y="103440"/>
                    <a:pt x="2891" y="97658"/>
                  </a:cubicBezTo>
                  <a:cubicBezTo>
                    <a:pt x="5461" y="91876"/>
                    <a:pt x="6104" y="72601"/>
                    <a:pt x="9316" y="60394"/>
                  </a:cubicBezTo>
                  <a:cubicBezTo>
                    <a:pt x="12528" y="48187"/>
                    <a:pt x="8031" y="37907"/>
                    <a:pt x="9316" y="28269"/>
                  </a:cubicBezTo>
                  <a:cubicBezTo>
                    <a:pt x="10601" y="18632"/>
                    <a:pt x="53005" y="3212"/>
                    <a:pt x="53005" y="3212"/>
                  </a:cubicBezTo>
                  <a:cubicBezTo>
                    <a:pt x="53005" y="3212"/>
                    <a:pt x="65855" y="0"/>
                    <a:pt x="67140" y="0"/>
                  </a:cubicBezTo>
                  <a:cubicBezTo>
                    <a:pt x="68425" y="0"/>
                    <a:pt x="72922" y="5140"/>
                    <a:pt x="74850" y="6425"/>
                  </a:cubicBezTo>
                  <a:cubicBezTo>
                    <a:pt x="76777" y="7710"/>
                    <a:pt x="97337" y="7710"/>
                    <a:pt x="102477" y="7710"/>
                  </a:cubicBezTo>
                  <a:cubicBezTo>
                    <a:pt x="107617" y="8352"/>
                    <a:pt x="108902" y="16705"/>
                    <a:pt x="110187" y="23130"/>
                  </a:cubicBezTo>
                  <a:cubicBezTo>
                    <a:pt x="110829" y="29554"/>
                    <a:pt x="126249" y="36622"/>
                    <a:pt x="141026" y="45617"/>
                  </a:cubicBezTo>
                  <a:cubicBezTo>
                    <a:pt x="155803" y="54611"/>
                    <a:pt x="153233" y="59751"/>
                    <a:pt x="155161" y="62964"/>
                  </a:cubicBezTo>
                  <a:cubicBezTo>
                    <a:pt x="157088" y="66176"/>
                    <a:pt x="187285" y="75814"/>
                    <a:pt x="190498" y="77098"/>
                  </a:cubicBezTo>
                  <a:cubicBezTo>
                    <a:pt x="191782" y="79026"/>
                    <a:pt x="183430" y="95088"/>
                    <a:pt x="175078" y="108580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 9">
              <a:extLst>
                <a:ext uri="{FF2B5EF4-FFF2-40B4-BE49-F238E27FC236}">
                  <a16:creationId xmlns:a16="http://schemas.microsoft.com/office/drawing/2014/main" id="{BA3F3E28-2A22-0CEB-4CD3-50402493A064}"/>
                </a:ext>
              </a:extLst>
            </p:cNvPr>
            <p:cNvSpPr/>
            <p:nvPr/>
          </p:nvSpPr>
          <p:spPr>
            <a:xfrm>
              <a:off x="3822575" y="3216993"/>
              <a:ext cx="190629" cy="132971"/>
            </a:xfrm>
            <a:custGeom>
              <a:avLst/>
              <a:gdLst>
                <a:gd name="connsiteX0" fmla="*/ 175078 w 190629"/>
                <a:gd name="connsiteY0" fmla="*/ 108580 h 132971"/>
                <a:gd name="connsiteX1" fmla="*/ 161586 w 190629"/>
                <a:gd name="connsiteY1" fmla="*/ 131710 h 132971"/>
                <a:gd name="connsiteX2" fmla="*/ 155803 w 190629"/>
                <a:gd name="connsiteY2" fmla="*/ 127213 h 132971"/>
                <a:gd name="connsiteX3" fmla="*/ 142953 w 190629"/>
                <a:gd name="connsiteY3" fmla="*/ 115005 h 132971"/>
                <a:gd name="connsiteX4" fmla="*/ 116612 w 190629"/>
                <a:gd name="connsiteY4" fmla="*/ 105368 h 132971"/>
                <a:gd name="connsiteX5" fmla="*/ 93482 w 190629"/>
                <a:gd name="connsiteY5" fmla="*/ 122073 h 132971"/>
                <a:gd name="connsiteX6" fmla="*/ 53648 w 190629"/>
                <a:gd name="connsiteY6" fmla="*/ 109865 h 132971"/>
                <a:gd name="connsiteX7" fmla="*/ 32446 w 190629"/>
                <a:gd name="connsiteY7" fmla="*/ 103440 h 132971"/>
                <a:gd name="connsiteX8" fmla="*/ 6746 w 190629"/>
                <a:gd name="connsiteY8" fmla="*/ 115005 h 132971"/>
                <a:gd name="connsiteX9" fmla="*/ 2891 w 190629"/>
                <a:gd name="connsiteY9" fmla="*/ 97658 h 132971"/>
                <a:gd name="connsiteX10" fmla="*/ 9316 w 190629"/>
                <a:gd name="connsiteY10" fmla="*/ 60394 h 132971"/>
                <a:gd name="connsiteX11" fmla="*/ 9316 w 190629"/>
                <a:gd name="connsiteY11" fmla="*/ 28269 h 132971"/>
                <a:gd name="connsiteX12" fmla="*/ 53005 w 190629"/>
                <a:gd name="connsiteY12" fmla="*/ 3212 h 132971"/>
                <a:gd name="connsiteX13" fmla="*/ 67140 w 190629"/>
                <a:gd name="connsiteY13" fmla="*/ 0 h 132971"/>
                <a:gd name="connsiteX14" fmla="*/ 74850 w 190629"/>
                <a:gd name="connsiteY14" fmla="*/ 6425 h 132971"/>
                <a:gd name="connsiteX15" fmla="*/ 102477 w 190629"/>
                <a:gd name="connsiteY15" fmla="*/ 7710 h 132971"/>
                <a:gd name="connsiteX16" fmla="*/ 110187 w 190629"/>
                <a:gd name="connsiteY16" fmla="*/ 23130 h 132971"/>
                <a:gd name="connsiteX17" fmla="*/ 141026 w 190629"/>
                <a:gd name="connsiteY17" fmla="*/ 45617 h 132971"/>
                <a:gd name="connsiteX18" fmla="*/ 155161 w 190629"/>
                <a:gd name="connsiteY18" fmla="*/ 62964 h 132971"/>
                <a:gd name="connsiteX19" fmla="*/ 190498 w 190629"/>
                <a:gd name="connsiteY19" fmla="*/ 77098 h 132971"/>
                <a:gd name="connsiteX20" fmla="*/ 175078 w 190629"/>
                <a:gd name="connsiteY20" fmla="*/ 108580 h 132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0629" h="132971">
                  <a:moveTo>
                    <a:pt x="175078" y="108580"/>
                  </a:moveTo>
                  <a:cubicBezTo>
                    <a:pt x="166083" y="122073"/>
                    <a:pt x="164156" y="129140"/>
                    <a:pt x="161586" y="131710"/>
                  </a:cubicBezTo>
                  <a:cubicBezTo>
                    <a:pt x="158373" y="134280"/>
                    <a:pt x="155803" y="132995"/>
                    <a:pt x="155803" y="127213"/>
                  </a:cubicBezTo>
                  <a:cubicBezTo>
                    <a:pt x="155803" y="121430"/>
                    <a:pt x="150021" y="115005"/>
                    <a:pt x="142953" y="115005"/>
                  </a:cubicBezTo>
                  <a:cubicBezTo>
                    <a:pt x="135244" y="114363"/>
                    <a:pt x="128176" y="106010"/>
                    <a:pt x="116612" y="105368"/>
                  </a:cubicBezTo>
                  <a:cubicBezTo>
                    <a:pt x="105047" y="104725"/>
                    <a:pt x="103762" y="117575"/>
                    <a:pt x="93482" y="122073"/>
                  </a:cubicBezTo>
                  <a:cubicBezTo>
                    <a:pt x="82560" y="126570"/>
                    <a:pt x="60715" y="115005"/>
                    <a:pt x="53648" y="109865"/>
                  </a:cubicBezTo>
                  <a:cubicBezTo>
                    <a:pt x="46580" y="104725"/>
                    <a:pt x="41440" y="101513"/>
                    <a:pt x="32446" y="103440"/>
                  </a:cubicBezTo>
                  <a:cubicBezTo>
                    <a:pt x="23451" y="106010"/>
                    <a:pt x="17668" y="116290"/>
                    <a:pt x="6746" y="115005"/>
                  </a:cubicBezTo>
                  <a:cubicBezTo>
                    <a:pt x="-3534" y="113720"/>
                    <a:pt x="321" y="103440"/>
                    <a:pt x="2891" y="97658"/>
                  </a:cubicBezTo>
                  <a:cubicBezTo>
                    <a:pt x="5461" y="91876"/>
                    <a:pt x="6104" y="72601"/>
                    <a:pt x="9316" y="60394"/>
                  </a:cubicBezTo>
                  <a:cubicBezTo>
                    <a:pt x="12528" y="48187"/>
                    <a:pt x="8031" y="37907"/>
                    <a:pt x="9316" y="28269"/>
                  </a:cubicBezTo>
                  <a:cubicBezTo>
                    <a:pt x="10601" y="18632"/>
                    <a:pt x="53005" y="3212"/>
                    <a:pt x="53005" y="3212"/>
                  </a:cubicBezTo>
                  <a:cubicBezTo>
                    <a:pt x="53005" y="3212"/>
                    <a:pt x="65855" y="0"/>
                    <a:pt x="67140" y="0"/>
                  </a:cubicBezTo>
                  <a:cubicBezTo>
                    <a:pt x="68425" y="0"/>
                    <a:pt x="72922" y="5140"/>
                    <a:pt x="74850" y="6425"/>
                  </a:cubicBezTo>
                  <a:cubicBezTo>
                    <a:pt x="76777" y="7710"/>
                    <a:pt x="97337" y="7710"/>
                    <a:pt x="102477" y="7710"/>
                  </a:cubicBezTo>
                  <a:cubicBezTo>
                    <a:pt x="107617" y="8352"/>
                    <a:pt x="108902" y="16705"/>
                    <a:pt x="110187" y="23130"/>
                  </a:cubicBezTo>
                  <a:cubicBezTo>
                    <a:pt x="110829" y="29554"/>
                    <a:pt x="126249" y="36622"/>
                    <a:pt x="141026" y="45617"/>
                  </a:cubicBezTo>
                  <a:cubicBezTo>
                    <a:pt x="155803" y="54611"/>
                    <a:pt x="153233" y="59751"/>
                    <a:pt x="155161" y="62964"/>
                  </a:cubicBezTo>
                  <a:cubicBezTo>
                    <a:pt x="157088" y="66176"/>
                    <a:pt x="187285" y="75814"/>
                    <a:pt x="190498" y="77098"/>
                  </a:cubicBezTo>
                  <a:cubicBezTo>
                    <a:pt x="191782" y="79026"/>
                    <a:pt x="183430" y="95088"/>
                    <a:pt x="175078" y="108580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 11">
              <a:extLst>
                <a:ext uri="{FF2B5EF4-FFF2-40B4-BE49-F238E27FC236}">
                  <a16:creationId xmlns:a16="http://schemas.microsoft.com/office/drawing/2014/main" id="{1D54B7A1-0B15-CF0A-5455-A7954D8EF49B}"/>
                </a:ext>
              </a:extLst>
            </p:cNvPr>
            <p:cNvSpPr/>
            <p:nvPr/>
          </p:nvSpPr>
          <p:spPr>
            <a:xfrm>
              <a:off x="2512865" y="2993910"/>
              <a:ext cx="145342" cy="96359"/>
            </a:xfrm>
            <a:custGeom>
              <a:avLst/>
              <a:gdLst>
                <a:gd name="connsiteX0" fmla="*/ 141990 w 145342"/>
                <a:gd name="connsiteY0" fmla="*/ 77881 h 96359"/>
                <a:gd name="connsiteX1" fmla="*/ 138135 w 145342"/>
                <a:gd name="connsiteY1" fmla="*/ 86876 h 96359"/>
                <a:gd name="connsiteX2" fmla="*/ 128497 w 145342"/>
                <a:gd name="connsiteY2" fmla="*/ 93301 h 96359"/>
                <a:gd name="connsiteX3" fmla="*/ 118218 w 145342"/>
                <a:gd name="connsiteY3" fmla="*/ 95871 h 96359"/>
                <a:gd name="connsiteX4" fmla="*/ 78383 w 145342"/>
                <a:gd name="connsiteY4" fmla="*/ 85591 h 96359"/>
                <a:gd name="connsiteX5" fmla="*/ 53326 w 145342"/>
                <a:gd name="connsiteY5" fmla="*/ 54109 h 96359"/>
                <a:gd name="connsiteX6" fmla="*/ 48187 w 145342"/>
                <a:gd name="connsiteY6" fmla="*/ 44472 h 96359"/>
                <a:gd name="connsiteX7" fmla="*/ 35979 w 145342"/>
                <a:gd name="connsiteY7" fmla="*/ 34835 h 96359"/>
                <a:gd name="connsiteX8" fmla="*/ 20560 w 145342"/>
                <a:gd name="connsiteY8" fmla="*/ 27125 h 96359"/>
                <a:gd name="connsiteX9" fmla="*/ 7067 w 145342"/>
                <a:gd name="connsiteY9" fmla="*/ 19415 h 96359"/>
                <a:gd name="connsiteX10" fmla="*/ 0 w 145342"/>
                <a:gd name="connsiteY10" fmla="*/ 6565 h 96359"/>
                <a:gd name="connsiteX11" fmla="*/ 2570 w 145342"/>
                <a:gd name="connsiteY11" fmla="*/ 783 h 96359"/>
                <a:gd name="connsiteX12" fmla="*/ 13492 w 145342"/>
                <a:gd name="connsiteY12" fmla="*/ 3353 h 96359"/>
                <a:gd name="connsiteX13" fmla="*/ 110508 w 145342"/>
                <a:gd name="connsiteY13" fmla="*/ 30980 h 96359"/>
                <a:gd name="connsiteX14" fmla="*/ 129140 w 145342"/>
                <a:gd name="connsiteY14" fmla="*/ 32907 h 96359"/>
                <a:gd name="connsiteX15" fmla="*/ 144560 w 145342"/>
                <a:gd name="connsiteY15" fmla="*/ 52824 h 96359"/>
                <a:gd name="connsiteX16" fmla="*/ 141990 w 145342"/>
                <a:gd name="connsiteY16" fmla="*/ 77881 h 96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42" h="96359">
                  <a:moveTo>
                    <a:pt x="141990" y="77881"/>
                  </a:moveTo>
                  <a:cubicBezTo>
                    <a:pt x="141347" y="81094"/>
                    <a:pt x="140062" y="84306"/>
                    <a:pt x="138135" y="86876"/>
                  </a:cubicBezTo>
                  <a:cubicBezTo>
                    <a:pt x="135565" y="90089"/>
                    <a:pt x="131710" y="92016"/>
                    <a:pt x="128497" y="93301"/>
                  </a:cubicBezTo>
                  <a:cubicBezTo>
                    <a:pt x="125285" y="94586"/>
                    <a:pt x="121430" y="95871"/>
                    <a:pt x="118218" y="95871"/>
                  </a:cubicBezTo>
                  <a:cubicBezTo>
                    <a:pt x="104083" y="97799"/>
                    <a:pt x="89948" y="93944"/>
                    <a:pt x="78383" y="85591"/>
                  </a:cubicBezTo>
                  <a:cubicBezTo>
                    <a:pt x="66819" y="77881"/>
                    <a:pt x="59109" y="66317"/>
                    <a:pt x="53326" y="54109"/>
                  </a:cubicBezTo>
                  <a:cubicBezTo>
                    <a:pt x="52042" y="50897"/>
                    <a:pt x="50757" y="47042"/>
                    <a:pt x="48187" y="44472"/>
                  </a:cubicBezTo>
                  <a:cubicBezTo>
                    <a:pt x="44974" y="40617"/>
                    <a:pt x="40477" y="37405"/>
                    <a:pt x="35979" y="34835"/>
                  </a:cubicBezTo>
                  <a:cubicBezTo>
                    <a:pt x="30839" y="32265"/>
                    <a:pt x="25699" y="29695"/>
                    <a:pt x="20560" y="27125"/>
                  </a:cubicBezTo>
                  <a:cubicBezTo>
                    <a:pt x="16062" y="24555"/>
                    <a:pt x="10922" y="22628"/>
                    <a:pt x="7067" y="19415"/>
                  </a:cubicBezTo>
                  <a:cubicBezTo>
                    <a:pt x="3212" y="16203"/>
                    <a:pt x="0" y="11705"/>
                    <a:pt x="0" y="6565"/>
                  </a:cubicBezTo>
                  <a:cubicBezTo>
                    <a:pt x="0" y="4638"/>
                    <a:pt x="643" y="2068"/>
                    <a:pt x="2570" y="783"/>
                  </a:cubicBezTo>
                  <a:cubicBezTo>
                    <a:pt x="5782" y="-1144"/>
                    <a:pt x="10280" y="783"/>
                    <a:pt x="13492" y="3353"/>
                  </a:cubicBezTo>
                  <a:cubicBezTo>
                    <a:pt x="41762" y="21985"/>
                    <a:pt x="76456" y="31622"/>
                    <a:pt x="110508" y="30980"/>
                  </a:cubicBezTo>
                  <a:cubicBezTo>
                    <a:pt x="116933" y="30980"/>
                    <a:pt x="123358" y="30337"/>
                    <a:pt x="129140" y="32907"/>
                  </a:cubicBezTo>
                  <a:cubicBezTo>
                    <a:pt x="137492" y="36120"/>
                    <a:pt x="142632" y="44472"/>
                    <a:pt x="144560" y="52824"/>
                  </a:cubicBezTo>
                  <a:cubicBezTo>
                    <a:pt x="146487" y="61177"/>
                    <a:pt x="144560" y="69529"/>
                    <a:pt x="141990" y="77881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 17">
              <a:extLst>
                <a:ext uri="{FF2B5EF4-FFF2-40B4-BE49-F238E27FC236}">
                  <a16:creationId xmlns:a16="http://schemas.microsoft.com/office/drawing/2014/main" id="{0D7816F6-BA1F-A8D3-ABB2-7214B8EFB527}"/>
                </a:ext>
              </a:extLst>
            </p:cNvPr>
            <p:cNvSpPr/>
            <p:nvPr/>
          </p:nvSpPr>
          <p:spPr>
            <a:xfrm>
              <a:off x="2512865" y="2993910"/>
              <a:ext cx="145342" cy="96359"/>
            </a:xfrm>
            <a:custGeom>
              <a:avLst/>
              <a:gdLst>
                <a:gd name="connsiteX0" fmla="*/ 141990 w 145342"/>
                <a:gd name="connsiteY0" fmla="*/ 77881 h 96359"/>
                <a:gd name="connsiteX1" fmla="*/ 138135 w 145342"/>
                <a:gd name="connsiteY1" fmla="*/ 86876 h 96359"/>
                <a:gd name="connsiteX2" fmla="*/ 128497 w 145342"/>
                <a:gd name="connsiteY2" fmla="*/ 93301 h 96359"/>
                <a:gd name="connsiteX3" fmla="*/ 118218 w 145342"/>
                <a:gd name="connsiteY3" fmla="*/ 95871 h 96359"/>
                <a:gd name="connsiteX4" fmla="*/ 78383 w 145342"/>
                <a:gd name="connsiteY4" fmla="*/ 85591 h 96359"/>
                <a:gd name="connsiteX5" fmla="*/ 53326 w 145342"/>
                <a:gd name="connsiteY5" fmla="*/ 54109 h 96359"/>
                <a:gd name="connsiteX6" fmla="*/ 48187 w 145342"/>
                <a:gd name="connsiteY6" fmla="*/ 44472 h 96359"/>
                <a:gd name="connsiteX7" fmla="*/ 35979 w 145342"/>
                <a:gd name="connsiteY7" fmla="*/ 34835 h 96359"/>
                <a:gd name="connsiteX8" fmla="*/ 20560 w 145342"/>
                <a:gd name="connsiteY8" fmla="*/ 27125 h 96359"/>
                <a:gd name="connsiteX9" fmla="*/ 7067 w 145342"/>
                <a:gd name="connsiteY9" fmla="*/ 19415 h 96359"/>
                <a:gd name="connsiteX10" fmla="*/ 0 w 145342"/>
                <a:gd name="connsiteY10" fmla="*/ 6565 h 96359"/>
                <a:gd name="connsiteX11" fmla="*/ 2570 w 145342"/>
                <a:gd name="connsiteY11" fmla="*/ 783 h 96359"/>
                <a:gd name="connsiteX12" fmla="*/ 13492 w 145342"/>
                <a:gd name="connsiteY12" fmla="*/ 3353 h 96359"/>
                <a:gd name="connsiteX13" fmla="*/ 110508 w 145342"/>
                <a:gd name="connsiteY13" fmla="*/ 30980 h 96359"/>
                <a:gd name="connsiteX14" fmla="*/ 129140 w 145342"/>
                <a:gd name="connsiteY14" fmla="*/ 32907 h 96359"/>
                <a:gd name="connsiteX15" fmla="*/ 144560 w 145342"/>
                <a:gd name="connsiteY15" fmla="*/ 52824 h 96359"/>
                <a:gd name="connsiteX16" fmla="*/ 141990 w 145342"/>
                <a:gd name="connsiteY16" fmla="*/ 77881 h 96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42" h="96359">
                  <a:moveTo>
                    <a:pt x="141990" y="77881"/>
                  </a:moveTo>
                  <a:cubicBezTo>
                    <a:pt x="141347" y="81094"/>
                    <a:pt x="140062" y="84306"/>
                    <a:pt x="138135" y="86876"/>
                  </a:cubicBezTo>
                  <a:cubicBezTo>
                    <a:pt x="135565" y="90089"/>
                    <a:pt x="131710" y="92016"/>
                    <a:pt x="128497" y="93301"/>
                  </a:cubicBezTo>
                  <a:cubicBezTo>
                    <a:pt x="125285" y="94586"/>
                    <a:pt x="121430" y="95871"/>
                    <a:pt x="118218" y="95871"/>
                  </a:cubicBezTo>
                  <a:cubicBezTo>
                    <a:pt x="104083" y="97799"/>
                    <a:pt x="89948" y="93944"/>
                    <a:pt x="78383" y="85591"/>
                  </a:cubicBezTo>
                  <a:cubicBezTo>
                    <a:pt x="66819" y="77881"/>
                    <a:pt x="59109" y="66317"/>
                    <a:pt x="53326" y="54109"/>
                  </a:cubicBezTo>
                  <a:cubicBezTo>
                    <a:pt x="52042" y="50897"/>
                    <a:pt x="50757" y="47042"/>
                    <a:pt x="48187" y="44472"/>
                  </a:cubicBezTo>
                  <a:cubicBezTo>
                    <a:pt x="44974" y="40617"/>
                    <a:pt x="40477" y="37405"/>
                    <a:pt x="35979" y="34835"/>
                  </a:cubicBezTo>
                  <a:cubicBezTo>
                    <a:pt x="30839" y="32265"/>
                    <a:pt x="25699" y="29695"/>
                    <a:pt x="20560" y="27125"/>
                  </a:cubicBezTo>
                  <a:cubicBezTo>
                    <a:pt x="16062" y="24555"/>
                    <a:pt x="10922" y="22628"/>
                    <a:pt x="7067" y="19415"/>
                  </a:cubicBezTo>
                  <a:cubicBezTo>
                    <a:pt x="3212" y="16203"/>
                    <a:pt x="0" y="11705"/>
                    <a:pt x="0" y="6565"/>
                  </a:cubicBezTo>
                  <a:cubicBezTo>
                    <a:pt x="0" y="4638"/>
                    <a:pt x="643" y="2068"/>
                    <a:pt x="2570" y="783"/>
                  </a:cubicBezTo>
                  <a:cubicBezTo>
                    <a:pt x="5782" y="-1144"/>
                    <a:pt x="10280" y="783"/>
                    <a:pt x="13492" y="3353"/>
                  </a:cubicBezTo>
                  <a:cubicBezTo>
                    <a:pt x="41762" y="21985"/>
                    <a:pt x="76456" y="31622"/>
                    <a:pt x="110508" y="30980"/>
                  </a:cubicBezTo>
                  <a:cubicBezTo>
                    <a:pt x="116933" y="30980"/>
                    <a:pt x="123358" y="30337"/>
                    <a:pt x="129140" y="32907"/>
                  </a:cubicBezTo>
                  <a:cubicBezTo>
                    <a:pt x="137492" y="36120"/>
                    <a:pt x="142632" y="44472"/>
                    <a:pt x="144560" y="52824"/>
                  </a:cubicBezTo>
                  <a:cubicBezTo>
                    <a:pt x="146487" y="61177"/>
                    <a:pt x="144560" y="69529"/>
                    <a:pt x="141990" y="77881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 19">
              <a:extLst>
                <a:ext uri="{FF2B5EF4-FFF2-40B4-BE49-F238E27FC236}">
                  <a16:creationId xmlns:a16="http://schemas.microsoft.com/office/drawing/2014/main" id="{517D112F-6589-1186-6D13-DA0CAD9FCD6A}"/>
                </a:ext>
              </a:extLst>
            </p:cNvPr>
            <p:cNvSpPr/>
            <p:nvPr/>
          </p:nvSpPr>
          <p:spPr>
            <a:xfrm>
              <a:off x="1747895" y="3310513"/>
              <a:ext cx="1048959" cy="942230"/>
            </a:xfrm>
            <a:custGeom>
              <a:avLst/>
              <a:gdLst>
                <a:gd name="connsiteX0" fmla="*/ 1046380 w 1048959"/>
                <a:gd name="connsiteY0" fmla="*/ 378709 h 942230"/>
                <a:gd name="connsiteX1" fmla="*/ 1000121 w 1048959"/>
                <a:gd name="connsiteY1" fmla="*/ 433963 h 942230"/>
                <a:gd name="connsiteX2" fmla="*/ 959001 w 1048959"/>
                <a:gd name="connsiteY2" fmla="*/ 469300 h 942230"/>
                <a:gd name="connsiteX3" fmla="*/ 934587 w 1048959"/>
                <a:gd name="connsiteY3" fmla="*/ 460305 h 942230"/>
                <a:gd name="connsiteX4" fmla="*/ 937157 w 1048959"/>
                <a:gd name="connsiteY4" fmla="*/ 445528 h 942230"/>
                <a:gd name="connsiteX5" fmla="*/ 886400 w 1048959"/>
                <a:gd name="connsiteY5" fmla="*/ 445528 h 942230"/>
                <a:gd name="connsiteX6" fmla="*/ 890255 w 1048959"/>
                <a:gd name="connsiteY6" fmla="*/ 468657 h 942230"/>
                <a:gd name="connsiteX7" fmla="*/ 878048 w 1048959"/>
                <a:gd name="connsiteY7" fmla="*/ 487932 h 942230"/>
                <a:gd name="connsiteX8" fmla="*/ 842711 w 1048959"/>
                <a:gd name="connsiteY8" fmla="*/ 494357 h 942230"/>
                <a:gd name="connsiteX9" fmla="*/ 813799 w 1048959"/>
                <a:gd name="connsiteY9" fmla="*/ 509776 h 942230"/>
                <a:gd name="connsiteX10" fmla="*/ 794525 w 1048959"/>
                <a:gd name="connsiteY10" fmla="*/ 536119 h 942230"/>
                <a:gd name="connsiteX11" fmla="*/ 808659 w 1048959"/>
                <a:gd name="connsiteY11" fmla="*/ 553466 h 942230"/>
                <a:gd name="connsiteX12" fmla="*/ 834359 w 1048959"/>
                <a:gd name="connsiteY12" fmla="*/ 540616 h 942230"/>
                <a:gd name="connsiteX13" fmla="*/ 842711 w 1048959"/>
                <a:gd name="connsiteY13" fmla="*/ 570813 h 942230"/>
                <a:gd name="connsiteX14" fmla="*/ 836929 w 1048959"/>
                <a:gd name="connsiteY14" fmla="*/ 589445 h 942230"/>
                <a:gd name="connsiteX15" fmla="*/ 811229 w 1048959"/>
                <a:gd name="connsiteY15" fmla="*/ 620927 h 942230"/>
                <a:gd name="connsiteX16" fmla="*/ 788100 w 1048959"/>
                <a:gd name="connsiteY16" fmla="*/ 632492 h 942230"/>
                <a:gd name="connsiteX17" fmla="*/ 743768 w 1048959"/>
                <a:gd name="connsiteY17" fmla="*/ 710875 h 942230"/>
                <a:gd name="connsiteX18" fmla="*/ 711644 w 1048959"/>
                <a:gd name="connsiteY18" fmla="*/ 721797 h 942230"/>
                <a:gd name="connsiteX19" fmla="*/ 709074 w 1048959"/>
                <a:gd name="connsiteY19" fmla="*/ 707020 h 942230"/>
                <a:gd name="connsiteX20" fmla="*/ 659602 w 1048959"/>
                <a:gd name="connsiteY20" fmla="*/ 750067 h 942230"/>
                <a:gd name="connsiteX21" fmla="*/ 673737 w 1048959"/>
                <a:gd name="connsiteY21" fmla="*/ 760989 h 942230"/>
                <a:gd name="connsiteX22" fmla="*/ 673737 w 1048959"/>
                <a:gd name="connsiteY22" fmla="*/ 777694 h 942230"/>
                <a:gd name="connsiteX23" fmla="*/ 653177 w 1048959"/>
                <a:gd name="connsiteY23" fmla="*/ 793756 h 942230"/>
                <a:gd name="connsiteX24" fmla="*/ 644825 w 1048959"/>
                <a:gd name="connsiteY24" fmla="*/ 794399 h 942230"/>
                <a:gd name="connsiteX25" fmla="*/ 604991 w 1048959"/>
                <a:gd name="connsiteY25" fmla="*/ 751352 h 942230"/>
                <a:gd name="connsiteX26" fmla="*/ 580576 w 1048959"/>
                <a:gd name="connsiteY26" fmla="*/ 694813 h 942230"/>
                <a:gd name="connsiteX27" fmla="*/ 549095 w 1048959"/>
                <a:gd name="connsiteY27" fmla="*/ 701880 h 942230"/>
                <a:gd name="connsiteX28" fmla="*/ 555519 w 1048959"/>
                <a:gd name="connsiteY28" fmla="*/ 723725 h 942230"/>
                <a:gd name="connsiteX29" fmla="*/ 552307 w 1048959"/>
                <a:gd name="connsiteY29" fmla="*/ 737860 h 942230"/>
                <a:gd name="connsiteX30" fmla="*/ 502835 w 1048959"/>
                <a:gd name="connsiteY30" fmla="*/ 774481 h 942230"/>
                <a:gd name="connsiteX31" fmla="*/ 460431 w 1048959"/>
                <a:gd name="connsiteY31" fmla="*/ 782834 h 942230"/>
                <a:gd name="connsiteX32" fmla="*/ 441157 w 1048959"/>
                <a:gd name="connsiteY32" fmla="*/ 807248 h 942230"/>
                <a:gd name="connsiteX33" fmla="*/ 388473 w 1048959"/>
                <a:gd name="connsiteY33" fmla="*/ 828450 h 942230"/>
                <a:gd name="connsiteX34" fmla="*/ 304949 w 1048959"/>
                <a:gd name="connsiteY34" fmla="*/ 847725 h 942230"/>
                <a:gd name="connsiteX35" fmla="*/ 256763 w 1048959"/>
                <a:gd name="connsiteY35" fmla="*/ 897839 h 942230"/>
                <a:gd name="connsiteX36" fmla="*/ 265115 w 1048959"/>
                <a:gd name="connsiteY36" fmla="*/ 923538 h 942230"/>
                <a:gd name="connsiteX37" fmla="*/ 248410 w 1048959"/>
                <a:gd name="connsiteY37" fmla="*/ 942171 h 942230"/>
                <a:gd name="connsiteX38" fmla="*/ 198296 w 1048959"/>
                <a:gd name="connsiteY38" fmla="*/ 920968 h 942230"/>
                <a:gd name="connsiteX39" fmla="*/ 142400 w 1048959"/>
                <a:gd name="connsiteY39" fmla="*/ 936388 h 942230"/>
                <a:gd name="connsiteX40" fmla="*/ 136618 w 1048959"/>
                <a:gd name="connsiteY40" fmla="*/ 938316 h 942230"/>
                <a:gd name="connsiteX41" fmla="*/ 132763 w 1048959"/>
                <a:gd name="connsiteY41" fmla="*/ 918398 h 942230"/>
                <a:gd name="connsiteX42" fmla="*/ 125695 w 1048959"/>
                <a:gd name="connsiteY42" fmla="*/ 906191 h 942230"/>
                <a:gd name="connsiteX43" fmla="*/ 125695 w 1048959"/>
                <a:gd name="connsiteY43" fmla="*/ 905549 h 942230"/>
                <a:gd name="connsiteX44" fmla="*/ 126338 w 1048959"/>
                <a:gd name="connsiteY44" fmla="*/ 904906 h 942230"/>
                <a:gd name="connsiteX45" fmla="*/ 129550 w 1048959"/>
                <a:gd name="connsiteY45" fmla="*/ 900409 h 942230"/>
                <a:gd name="connsiteX46" fmla="*/ 130193 w 1048959"/>
                <a:gd name="connsiteY46" fmla="*/ 899124 h 942230"/>
                <a:gd name="connsiteX47" fmla="*/ 132120 w 1048959"/>
                <a:gd name="connsiteY47" fmla="*/ 896554 h 942230"/>
                <a:gd name="connsiteX48" fmla="*/ 132120 w 1048959"/>
                <a:gd name="connsiteY48" fmla="*/ 896554 h 942230"/>
                <a:gd name="connsiteX49" fmla="*/ 134048 w 1048959"/>
                <a:gd name="connsiteY49" fmla="*/ 884347 h 942230"/>
                <a:gd name="connsiteX50" fmla="*/ 117343 w 1048959"/>
                <a:gd name="connsiteY50" fmla="*/ 866999 h 942230"/>
                <a:gd name="connsiteX51" fmla="*/ 98711 w 1048959"/>
                <a:gd name="connsiteY51" fmla="*/ 852865 h 942230"/>
                <a:gd name="connsiteX52" fmla="*/ 101923 w 1048959"/>
                <a:gd name="connsiteY52" fmla="*/ 818170 h 942230"/>
                <a:gd name="connsiteX53" fmla="*/ 84576 w 1048959"/>
                <a:gd name="connsiteY53" fmla="*/ 796968 h 942230"/>
                <a:gd name="connsiteX54" fmla="*/ 51809 w 1048959"/>
                <a:gd name="connsiteY54" fmla="*/ 769984 h 942230"/>
                <a:gd name="connsiteX55" fmla="*/ 35747 w 1048959"/>
                <a:gd name="connsiteY55" fmla="*/ 752637 h 942230"/>
                <a:gd name="connsiteX56" fmla="*/ 31892 w 1048959"/>
                <a:gd name="connsiteY56" fmla="*/ 734005 h 942230"/>
                <a:gd name="connsiteX57" fmla="*/ 31892 w 1048959"/>
                <a:gd name="connsiteY57" fmla="*/ 723725 h 942230"/>
                <a:gd name="connsiteX58" fmla="*/ 45384 w 1048959"/>
                <a:gd name="connsiteY58" fmla="*/ 705735 h 942230"/>
                <a:gd name="connsiteX59" fmla="*/ 56949 w 1048959"/>
                <a:gd name="connsiteY59" fmla="*/ 690315 h 942230"/>
                <a:gd name="connsiteX60" fmla="*/ 49239 w 1048959"/>
                <a:gd name="connsiteY60" fmla="*/ 664616 h 942230"/>
                <a:gd name="connsiteX61" fmla="*/ 37675 w 1048959"/>
                <a:gd name="connsiteY61" fmla="*/ 656906 h 942230"/>
                <a:gd name="connsiteX62" fmla="*/ 23540 w 1048959"/>
                <a:gd name="connsiteY62" fmla="*/ 656264 h 942230"/>
                <a:gd name="connsiteX63" fmla="*/ 1053 w 1048959"/>
                <a:gd name="connsiteY63" fmla="*/ 653051 h 942230"/>
                <a:gd name="connsiteX64" fmla="*/ 1053 w 1048959"/>
                <a:gd name="connsiteY64" fmla="*/ 640844 h 942230"/>
                <a:gd name="connsiteX65" fmla="*/ 2338 w 1048959"/>
                <a:gd name="connsiteY65" fmla="*/ 621569 h 942230"/>
                <a:gd name="connsiteX66" fmla="*/ 15830 w 1048959"/>
                <a:gd name="connsiteY66" fmla="*/ 613217 h 942230"/>
                <a:gd name="connsiteX67" fmla="*/ 35747 w 1048959"/>
                <a:gd name="connsiteY67" fmla="*/ 609362 h 942230"/>
                <a:gd name="connsiteX68" fmla="*/ 62089 w 1048959"/>
                <a:gd name="connsiteY68" fmla="*/ 593942 h 942230"/>
                <a:gd name="connsiteX69" fmla="*/ 64659 w 1048959"/>
                <a:gd name="connsiteY69" fmla="*/ 579165 h 942230"/>
                <a:gd name="connsiteX70" fmla="*/ 58234 w 1048959"/>
                <a:gd name="connsiteY70" fmla="*/ 565673 h 942230"/>
                <a:gd name="connsiteX71" fmla="*/ 59519 w 1048959"/>
                <a:gd name="connsiteY71" fmla="*/ 547683 h 942230"/>
                <a:gd name="connsiteX72" fmla="*/ 64659 w 1048959"/>
                <a:gd name="connsiteY72" fmla="*/ 532906 h 942230"/>
                <a:gd name="connsiteX73" fmla="*/ 88431 w 1048959"/>
                <a:gd name="connsiteY73" fmla="*/ 510419 h 942230"/>
                <a:gd name="connsiteX74" fmla="*/ 91644 w 1048959"/>
                <a:gd name="connsiteY74" fmla="*/ 496284 h 942230"/>
                <a:gd name="connsiteX75" fmla="*/ 97426 w 1048959"/>
                <a:gd name="connsiteY75" fmla="*/ 489859 h 942230"/>
                <a:gd name="connsiteX76" fmla="*/ 104493 w 1048959"/>
                <a:gd name="connsiteY76" fmla="*/ 484077 h 942230"/>
                <a:gd name="connsiteX77" fmla="*/ 104493 w 1048959"/>
                <a:gd name="connsiteY77" fmla="*/ 468015 h 942230"/>
                <a:gd name="connsiteX78" fmla="*/ 104493 w 1048959"/>
                <a:gd name="connsiteY78" fmla="*/ 433963 h 942230"/>
                <a:gd name="connsiteX79" fmla="*/ 94856 w 1048959"/>
                <a:gd name="connsiteY79" fmla="*/ 415331 h 942230"/>
                <a:gd name="connsiteX80" fmla="*/ 90359 w 1048959"/>
                <a:gd name="connsiteY80" fmla="*/ 403766 h 942230"/>
                <a:gd name="connsiteX81" fmla="*/ 72369 w 1048959"/>
                <a:gd name="connsiteY81" fmla="*/ 378067 h 942230"/>
                <a:gd name="connsiteX82" fmla="*/ 57592 w 1048959"/>
                <a:gd name="connsiteY82" fmla="*/ 356222 h 942230"/>
                <a:gd name="connsiteX83" fmla="*/ 53737 w 1048959"/>
                <a:gd name="connsiteY83" fmla="*/ 339517 h 942230"/>
                <a:gd name="connsiteX84" fmla="*/ 38960 w 1048959"/>
                <a:gd name="connsiteY84" fmla="*/ 321528 h 942230"/>
                <a:gd name="connsiteX85" fmla="*/ 35105 w 1048959"/>
                <a:gd name="connsiteY85" fmla="*/ 311248 h 942230"/>
                <a:gd name="connsiteX86" fmla="*/ 42814 w 1048959"/>
                <a:gd name="connsiteY86" fmla="*/ 302896 h 942230"/>
                <a:gd name="connsiteX87" fmla="*/ 40245 w 1048959"/>
                <a:gd name="connsiteY87" fmla="*/ 293258 h 942230"/>
                <a:gd name="connsiteX88" fmla="*/ 47312 w 1048959"/>
                <a:gd name="connsiteY88" fmla="*/ 284264 h 942230"/>
                <a:gd name="connsiteX89" fmla="*/ 72369 w 1048959"/>
                <a:gd name="connsiteY89" fmla="*/ 269486 h 942230"/>
                <a:gd name="connsiteX90" fmla="*/ 90359 w 1048959"/>
                <a:gd name="connsiteY90" fmla="*/ 256637 h 942230"/>
                <a:gd name="connsiteX91" fmla="*/ 115416 w 1048959"/>
                <a:gd name="connsiteY91" fmla="*/ 259849 h 942230"/>
                <a:gd name="connsiteX92" fmla="*/ 155892 w 1048959"/>
                <a:gd name="connsiteY92" fmla="*/ 277839 h 942230"/>
                <a:gd name="connsiteX93" fmla="*/ 184162 w 1048959"/>
                <a:gd name="connsiteY93" fmla="*/ 275269 h 942230"/>
                <a:gd name="connsiteX94" fmla="*/ 218856 w 1048959"/>
                <a:gd name="connsiteY94" fmla="*/ 260491 h 942230"/>
                <a:gd name="connsiteX95" fmla="*/ 249695 w 1048959"/>
                <a:gd name="connsiteY95" fmla="*/ 250854 h 942230"/>
                <a:gd name="connsiteX96" fmla="*/ 269612 w 1048959"/>
                <a:gd name="connsiteY96" fmla="*/ 253424 h 942230"/>
                <a:gd name="connsiteX97" fmla="*/ 286960 w 1048959"/>
                <a:gd name="connsiteY97" fmla="*/ 236077 h 942230"/>
                <a:gd name="connsiteX98" fmla="*/ 291457 w 1048959"/>
                <a:gd name="connsiteY98" fmla="*/ 216160 h 942230"/>
                <a:gd name="connsiteX99" fmla="*/ 263188 w 1048959"/>
                <a:gd name="connsiteY99" fmla="*/ 201383 h 942230"/>
                <a:gd name="connsiteX100" fmla="*/ 260618 w 1048959"/>
                <a:gd name="connsiteY100" fmla="*/ 191103 h 942230"/>
                <a:gd name="connsiteX101" fmla="*/ 270898 w 1048959"/>
                <a:gd name="connsiteY101" fmla="*/ 176326 h 942230"/>
                <a:gd name="connsiteX102" fmla="*/ 284390 w 1048959"/>
                <a:gd name="connsiteY102" fmla="*/ 166046 h 942230"/>
                <a:gd name="connsiteX103" fmla="*/ 302379 w 1048959"/>
                <a:gd name="connsiteY103" fmla="*/ 160263 h 942230"/>
                <a:gd name="connsiteX104" fmla="*/ 313302 w 1048959"/>
                <a:gd name="connsiteY104" fmla="*/ 143559 h 942230"/>
                <a:gd name="connsiteX105" fmla="*/ 337074 w 1048959"/>
                <a:gd name="connsiteY105" fmla="*/ 132636 h 942230"/>
                <a:gd name="connsiteX106" fmla="*/ 350566 w 1048959"/>
                <a:gd name="connsiteY106" fmla="*/ 120429 h 942230"/>
                <a:gd name="connsiteX107" fmla="*/ 358276 w 1048959"/>
                <a:gd name="connsiteY107" fmla="*/ 111434 h 942230"/>
                <a:gd name="connsiteX108" fmla="*/ 360203 w 1048959"/>
                <a:gd name="connsiteY108" fmla="*/ 110792 h 942230"/>
                <a:gd name="connsiteX109" fmla="*/ 375623 w 1048959"/>
                <a:gd name="connsiteY109" fmla="*/ 103725 h 942230"/>
                <a:gd name="connsiteX110" fmla="*/ 390400 w 1048959"/>
                <a:gd name="connsiteY110" fmla="*/ 101797 h 942230"/>
                <a:gd name="connsiteX111" fmla="*/ 432162 w 1048959"/>
                <a:gd name="connsiteY111" fmla="*/ 101155 h 942230"/>
                <a:gd name="connsiteX112" fmla="*/ 467499 w 1048959"/>
                <a:gd name="connsiteY112" fmla="*/ 78025 h 942230"/>
                <a:gd name="connsiteX113" fmla="*/ 520825 w 1048959"/>
                <a:gd name="connsiteY113" fmla="*/ 34978 h 942230"/>
                <a:gd name="connsiteX114" fmla="*/ 538172 w 1048959"/>
                <a:gd name="connsiteY114" fmla="*/ 30481 h 942230"/>
                <a:gd name="connsiteX115" fmla="*/ 563872 w 1048959"/>
                <a:gd name="connsiteY115" fmla="*/ 56823 h 942230"/>
                <a:gd name="connsiteX116" fmla="*/ 613343 w 1048959"/>
                <a:gd name="connsiteY116" fmla="*/ 65175 h 942230"/>
                <a:gd name="connsiteX117" fmla="*/ 617841 w 1048959"/>
                <a:gd name="connsiteY117" fmla="*/ 72885 h 942230"/>
                <a:gd name="connsiteX118" fmla="*/ 618483 w 1048959"/>
                <a:gd name="connsiteY118" fmla="*/ 103082 h 942230"/>
                <a:gd name="connsiteX119" fmla="*/ 603706 w 1048959"/>
                <a:gd name="connsiteY119" fmla="*/ 149341 h 942230"/>
                <a:gd name="connsiteX120" fmla="*/ 595354 w 1048959"/>
                <a:gd name="connsiteY120" fmla="*/ 179538 h 942230"/>
                <a:gd name="connsiteX121" fmla="*/ 638400 w 1048959"/>
                <a:gd name="connsiteY121" fmla="*/ 207807 h 942230"/>
                <a:gd name="connsiteX122" fmla="*/ 688514 w 1048959"/>
                <a:gd name="connsiteY122" fmla="*/ 180823 h 942230"/>
                <a:gd name="connsiteX123" fmla="*/ 703934 w 1048959"/>
                <a:gd name="connsiteY123" fmla="*/ 168616 h 942230"/>
                <a:gd name="connsiteX124" fmla="*/ 725136 w 1048959"/>
                <a:gd name="connsiteY124" fmla="*/ 167973 h 942230"/>
                <a:gd name="connsiteX125" fmla="*/ 750836 w 1048959"/>
                <a:gd name="connsiteY125" fmla="*/ 169901 h 942230"/>
                <a:gd name="connsiteX126" fmla="*/ 760473 w 1048959"/>
                <a:gd name="connsiteY126" fmla="*/ 154481 h 942230"/>
                <a:gd name="connsiteX127" fmla="*/ 769468 w 1048959"/>
                <a:gd name="connsiteY127" fmla="*/ 145486 h 942230"/>
                <a:gd name="connsiteX128" fmla="*/ 767540 w 1048959"/>
                <a:gd name="connsiteY128" fmla="*/ 134564 h 942230"/>
                <a:gd name="connsiteX129" fmla="*/ 759830 w 1048959"/>
                <a:gd name="connsiteY129" fmla="*/ 124927 h 942230"/>
                <a:gd name="connsiteX130" fmla="*/ 752763 w 1048959"/>
                <a:gd name="connsiteY130" fmla="*/ 105009 h 942230"/>
                <a:gd name="connsiteX131" fmla="*/ 750193 w 1048959"/>
                <a:gd name="connsiteY131" fmla="*/ 75455 h 942230"/>
                <a:gd name="connsiteX132" fmla="*/ 746981 w 1048959"/>
                <a:gd name="connsiteY132" fmla="*/ 58750 h 942230"/>
                <a:gd name="connsiteX133" fmla="*/ 738628 w 1048959"/>
                <a:gd name="connsiteY133" fmla="*/ 56823 h 942230"/>
                <a:gd name="connsiteX134" fmla="*/ 731561 w 1048959"/>
                <a:gd name="connsiteY134" fmla="*/ 42688 h 942230"/>
                <a:gd name="connsiteX135" fmla="*/ 741198 w 1048959"/>
                <a:gd name="connsiteY135" fmla="*/ 28554 h 942230"/>
                <a:gd name="connsiteX136" fmla="*/ 804804 w 1048959"/>
                <a:gd name="connsiteY136" fmla="*/ 1569 h 942230"/>
                <a:gd name="connsiteX137" fmla="*/ 826007 w 1048959"/>
                <a:gd name="connsiteY137" fmla="*/ 4782 h 942230"/>
                <a:gd name="connsiteX138" fmla="*/ 827934 w 1048959"/>
                <a:gd name="connsiteY138" fmla="*/ 14419 h 942230"/>
                <a:gd name="connsiteX139" fmla="*/ 827291 w 1048959"/>
                <a:gd name="connsiteY139" fmla="*/ 31123 h 942230"/>
                <a:gd name="connsiteX140" fmla="*/ 829219 w 1048959"/>
                <a:gd name="connsiteY140" fmla="*/ 43973 h 942230"/>
                <a:gd name="connsiteX141" fmla="*/ 853633 w 1048959"/>
                <a:gd name="connsiteY141" fmla="*/ 52326 h 942230"/>
                <a:gd name="connsiteX142" fmla="*/ 883188 w 1048959"/>
                <a:gd name="connsiteY142" fmla="*/ 48471 h 942230"/>
                <a:gd name="connsiteX143" fmla="*/ 906317 w 1048959"/>
                <a:gd name="connsiteY143" fmla="*/ 31766 h 942230"/>
                <a:gd name="connsiteX144" fmla="*/ 922380 w 1048959"/>
                <a:gd name="connsiteY144" fmla="*/ 6066 h 942230"/>
                <a:gd name="connsiteX145" fmla="*/ 933944 w 1048959"/>
                <a:gd name="connsiteY145" fmla="*/ 3497 h 942230"/>
                <a:gd name="connsiteX146" fmla="*/ 948722 w 1048959"/>
                <a:gd name="connsiteY146" fmla="*/ 7351 h 942230"/>
                <a:gd name="connsiteX147" fmla="*/ 950007 w 1048959"/>
                <a:gd name="connsiteY147" fmla="*/ 13776 h 942230"/>
                <a:gd name="connsiteX148" fmla="*/ 942939 w 1048959"/>
                <a:gd name="connsiteY148" fmla="*/ 53610 h 942230"/>
                <a:gd name="connsiteX149" fmla="*/ 932017 w 1048959"/>
                <a:gd name="connsiteY149" fmla="*/ 74170 h 942230"/>
                <a:gd name="connsiteX150" fmla="*/ 917882 w 1048959"/>
                <a:gd name="connsiteY150" fmla="*/ 77383 h 942230"/>
                <a:gd name="connsiteX151" fmla="*/ 912100 w 1048959"/>
                <a:gd name="connsiteY151" fmla="*/ 78668 h 942230"/>
                <a:gd name="connsiteX152" fmla="*/ 908887 w 1048959"/>
                <a:gd name="connsiteY152" fmla="*/ 85735 h 942230"/>
                <a:gd name="connsiteX153" fmla="*/ 906960 w 1048959"/>
                <a:gd name="connsiteY153" fmla="*/ 115932 h 942230"/>
                <a:gd name="connsiteX154" fmla="*/ 930089 w 1048959"/>
                <a:gd name="connsiteY154" fmla="*/ 156408 h 942230"/>
                <a:gd name="connsiteX155" fmla="*/ 935872 w 1048959"/>
                <a:gd name="connsiteY155" fmla="*/ 160906 h 942230"/>
                <a:gd name="connsiteX156" fmla="*/ 943582 w 1048959"/>
                <a:gd name="connsiteY156" fmla="*/ 161548 h 942230"/>
                <a:gd name="connsiteX157" fmla="*/ 955789 w 1048959"/>
                <a:gd name="connsiteY157" fmla="*/ 171186 h 942230"/>
                <a:gd name="connsiteX158" fmla="*/ 962214 w 1048959"/>
                <a:gd name="connsiteY158" fmla="*/ 185320 h 942230"/>
                <a:gd name="connsiteX159" fmla="*/ 989198 w 1048959"/>
                <a:gd name="connsiteY159" fmla="*/ 223870 h 942230"/>
                <a:gd name="connsiteX160" fmla="*/ 1005261 w 1048959"/>
                <a:gd name="connsiteY160" fmla="*/ 268201 h 942230"/>
                <a:gd name="connsiteX161" fmla="*/ 1007830 w 1048959"/>
                <a:gd name="connsiteY161" fmla="*/ 281051 h 942230"/>
                <a:gd name="connsiteX162" fmla="*/ 1018110 w 1048959"/>
                <a:gd name="connsiteY162" fmla="*/ 288118 h 942230"/>
                <a:gd name="connsiteX163" fmla="*/ 1032245 w 1048959"/>
                <a:gd name="connsiteY163" fmla="*/ 279766 h 942230"/>
                <a:gd name="connsiteX164" fmla="*/ 1036742 w 1048959"/>
                <a:gd name="connsiteY164" fmla="*/ 277839 h 942230"/>
                <a:gd name="connsiteX165" fmla="*/ 1043810 w 1048959"/>
                <a:gd name="connsiteY165" fmla="*/ 284264 h 942230"/>
                <a:gd name="connsiteX166" fmla="*/ 1042525 w 1048959"/>
                <a:gd name="connsiteY166" fmla="*/ 324098 h 942230"/>
                <a:gd name="connsiteX167" fmla="*/ 1032887 w 1048959"/>
                <a:gd name="connsiteY167" fmla="*/ 332450 h 942230"/>
                <a:gd name="connsiteX168" fmla="*/ 1018753 w 1048959"/>
                <a:gd name="connsiteY168" fmla="*/ 364574 h 942230"/>
                <a:gd name="connsiteX169" fmla="*/ 1022608 w 1048959"/>
                <a:gd name="connsiteY169" fmla="*/ 381279 h 942230"/>
                <a:gd name="connsiteX170" fmla="*/ 1038027 w 1048959"/>
                <a:gd name="connsiteY170" fmla="*/ 378709 h 942230"/>
                <a:gd name="connsiteX171" fmla="*/ 1041240 w 1048959"/>
                <a:gd name="connsiteY171" fmla="*/ 376139 h 942230"/>
                <a:gd name="connsiteX172" fmla="*/ 1046380 w 1048959"/>
                <a:gd name="connsiteY172" fmla="*/ 378709 h 942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048959" h="942230">
                  <a:moveTo>
                    <a:pt x="1046380" y="378709"/>
                  </a:moveTo>
                  <a:cubicBezTo>
                    <a:pt x="1030317" y="397984"/>
                    <a:pt x="1008473" y="424326"/>
                    <a:pt x="1000121" y="433963"/>
                  </a:cubicBezTo>
                  <a:cubicBezTo>
                    <a:pt x="985986" y="450668"/>
                    <a:pt x="970566" y="456450"/>
                    <a:pt x="959001" y="469300"/>
                  </a:cubicBezTo>
                  <a:cubicBezTo>
                    <a:pt x="947437" y="482150"/>
                    <a:pt x="939084" y="469942"/>
                    <a:pt x="934587" y="460305"/>
                  </a:cubicBezTo>
                  <a:cubicBezTo>
                    <a:pt x="930732" y="450668"/>
                    <a:pt x="938442" y="455808"/>
                    <a:pt x="937157" y="445528"/>
                  </a:cubicBezTo>
                  <a:cubicBezTo>
                    <a:pt x="935872" y="435248"/>
                    <a:pt x="902463" y="439745"/>
                    <a:pt x="886400" y="445528"/>
                  </a:cubicBezTo>
                  <a:cubicBezTo>
                    <a:pt x="870338" y="451310"/>
                    <a:pt x="887043" y="462232"/>
                    <a:pt x="890255" y="468657"/>
                  </a:cubicBezTo>
                  <a:cubicBezTo>
                    <a:pt x="893468" y="475082"/>
                    <a:pt x="885115" y="480865"/>
                    <a:pt x="878048" y="487932"/>
                  </a:cubicBezTo>
                  <a:cubicBezTo>
                    <a:pt x="870981" y="494999"/>
                    <a:pt x="853633" y="496284"/>
                    <a:pt x="842711" y="494357"/>
                  </a:cubicBezTo>
                  <a:cubicBezTo>
                    <a:pt x="832431" y="492429"/>
                    <a:pt x="822794" y="499497"/>
                    <a:pt x="813799" y="509776"/>
                  </a:cubicBezTo>
                  <a:cubicBezTo>
                    <a:pt x="804804" y="519414"/>
                    <a:pt x="800950" y="521341"/>
                    <a:pt x="794525" y="536119"/>
                  </a:cubicBezTo>
                  <a:cubicBezTo>
                    <a:pt x="788100" y="550896"/>
                    <a:pt x="800950" y="552823"/>
                    <a:pt x="808659" y="553466"/>
                  </a:cubicBezTo>
                  <a:cubicBezTo>
                    <a:pt x="816369" y="554108"/>
                    <a:pt x="827291" y="543828"/>
                    <a:pt x="834359" y="540616"/>
                  </a:cubicBezTo>
                  <a:cubicBezTo>
                    <a:pt x="841426" y="537404"/>
                    <a:pt x="840784" y="560533"/>
                    <a:pt x="842711" y="570813"/>
                  </a:cubicBezTo>
                  <a:cubicBezTo>
                    <a:pt x="844639" y="581093"/>
                    <a:pt x="840141" y="586232"/>
                    <a:pt x="836929" y="589445"/>
                  </a:cubicBezTo>
                  <a:cubicBezTo>
                    <a:pt x="833716" y="592657"/>
                    <a:pt x="821509" y="611932"/>
                    <a:pt x="811229" y="620927"/>
                  </a:cubicBezTo>
                  <a:cubicBezTo>
                    <a:pt x="800950" y="629922"/>
                    <a:pt x="796452" y="626067"/>
                    <a:pt x="788100" y="632492"/>
                  </a:cubicBezTo>
                  <a:cubicBezTo>
                    <a:pt x="779105" y="638916"/>
                    <a:pt x="746981" y="701880"/>
                    <a:pt x="743768" y="710875"/>
                  </a:cubicBezTo>
                  <a:cubicBezTo>
                    <a:pt x="739913" y="719227"/>
                    <a:pt x="720639" y="722440"/>
                    <a:pt x="711644" y="721797"/>
                  </a:cubicBezTo>
                  <a:cubicBezTo>
                    <a:pt x="702649" y="721155"/>
                    <a:pt x="710359" y="709590"/>
                    <a:pt x="709074" y="707020"/>
                  </a:cubicBezTo>
                  <a:cubicBezTo>
                    <a:pt x="707789" y="704450"/>
                    <a:pt x="666670" y="739787"/>
                    <a:pt x="659602" y="750067"/>
                  </a:cubicBezTo>
                  <a:cubicBezTo>
                    <a:pt x="652535" y="760347"/>
                    <a:pt x="664100" y="759704"/>
                    <a:pt x="673737" y="760989"/>
                  </a:cubicBezTo>
                  <a:cubicBezTo>
                    <a:pt x="683374" y="762274"/>
                    <a:pt x="677592" y="766129"/>
                    <a:pt x="673737" y="777694"/>
                  </a:cubicBezTo>
                  <a:cubicBezTo>
                    <a:pt x="670525" y="786046"/>
                    <a:pt x="661530" y="791828"/>
                    <a:pt x="653177" y="793756"/>
                  </a:cubicBezTo>
                  <a:cubicBezTo>
                    <a:pt x="649965" y="794399"/>
                    <a:pt x="647395" y="794399"/>
                    <a:pt x="644825" y="794399"/>
                  </a:cubicBezTo>
                  <a:cubicBezTo>
                    <a:pt x="635830" y="793756"/>
                    <a:pt x="619768" y="773839"/>
                    <a:pt x="604991" y="751352"/>
                  </a:cubicBezTo>
                  <a:cubicBezTo>
                    <a:pt x="590214" y="728865"/>
                    <a:pt x="583146" y="702523"/>
                    <a:pt x="580576" y="694813"/>
                  </a:cubicBezTo>
                  <a:cubicBezTo>
                    <a:pt x="577364" y="687103"/>
                    <a:pt x="556162" y="686461"/>
                    <a:pt x="549095" y="701880"/>
                  </a:cubicBezTo>
                  <a:cubicBezTo>
                    <a:pt x="541385" y="717300"/>
                    <a:pt x="547167" y="717300"/>
                    <a:pt x="555519" y="723725"/>
                  </a:cubicBezTo>
                  <a:cubicBezTo>
                    <a:pt x="563229" y="730150"/>
                    <a:pt x="556162" y="732077"/>
                    <a:pt x="552307" y="737860"/>
                  </a:cubicBezTo>
                  <a:cubicBezTo>
                    <a:pt x="547809" y="743642"/>
                    <a:pt x="518255" y="762274"/>
                    <a:pt x="502835" y="774481"/>
                  </a:cubicBezTo>
                  <a:cubicBezTo>
                    <a:pt x="487416" y="786689"/>
                    <a:pt x="475851" y="778979"/>
                    <a:pt x="460431" y="782834"/>
                  </a:cubicBezTo>
                  <a:cubicBezTo>
                    <a:pt x="445012" y="786689"/>
                    <a:pt x="444369" y="801466"/>
                    <a:pt x="441157" y="807248"/>
                  </a:cubicBezTo>
                  <a:cubicBezTo>
                    <a:pt x="437944" y="813031"/>
                    <a:pt x="414815" y="822668"/>
                    <a:pt x="388473" y="828450"/>
                  </a:cubicBezTo>
                  <a:cubicBezTo>
                    <a:pt x="362131" y="833590"/>
                    <a:pt x="329364" y="841300"/>
                    <a:pt x="304949" y="847725"/>
                  </a:cubicBezTo>
                  <a:cubicBezTo>
                    <a:pt x="280535" y="854792"/>
                    <a:pt x="263830" y="883062"/>
                    <a:pt x="256763" y="897839"/>
                  </a:cubicBezTo>
                  <a:cubicBezTo>
                    <a:pt x="249695" y="912616"/>
                    <a:pt x="259333" y="910689"/>
                    <a:pt x="265115" y="923538"/>
                  </a:cubicBezTo>
                  <a:cubicBezTo>
                    <a:pt x="270898" y="936388"/>
                    <a:pt x="256763" y="940886"/>
                    <a:pt x="248410" y="942171"/>
                  </a:cubicBezTo>
                  <a:cubicBezTo>
                    <a:pt x="240058" y="943455"/>
                    <a:pt x="209861" y="923538"/>
                    <a:pt x="198296" y="920968"/>
                  </a:cubicBezTo>
                  <a:cubicBezTo>
                    <a:pt x="187374" y="918398"/>
                    <a:pt x="153965" y="930606"/>
                    <a:pt x="142400" y="936388"/>
                  </a:cubicBezTo>
                  <a:cubicBezTo>
                    <a:pt x="140473" y="937673"/>
                    <a:pt x="138545" y="937673"/>
                    <a:pt x="136618" y="938316"/>
                  </a:cubicBezTo>
                  <a:cubicBezTo>
                    <a:pt x="137903" y="929321"/>
                    <a:pt x="135333" y="922896"/>
                    <a:pt x="132763" y="918398"/>
                  </a:cubicBezTo>
                  <a:cubicBezTo>
                    <a:pt x="129550" y="913901"/>
                    <a:pt x="125695" y="909404"/>
                    <a:pt x="125695" y="906191"/>
                  </a:cubicBezTo>
                  <a:cubicBezTo>
                    <a:pt x="125695" y="906191"/>
                    <a:pt x="125695" y="905549"/>
                    <a:pt x="125695" y="905549"/>
                  </a:cubicBezTo>
                  <a:cubicBezTo>
                    <a:pt x="125695" y="905549"/>
                    <a:pt x="125695" y="904906"/>
                    <a:pt x="126338" y="904906"/>
                  </a:cubicBezTo>
                  <a:cubicBezTo>
                    <a:pt x="126980" y="903621"/>
                    <a:pt x="128265" y="902336"/>
                    <a:pt x="129550" y="900409"/>
                  </a:cubicBezTo>
                  <a:cubicBezTo>
                    <a:pt x="130193" y="899766"/>
                    <a:pt x="130193" y="899766"/>
                    <a:pt x="130193" y="899124"/>
                  </a:cubicBezTo>
                  <a:cubicBezTo>
                    <a:pt x="130835" y="898481"/>
                    <a:pt x="131478" y="897196"/>
                    <a:pt x="132120" y="896554"/>
                  </a:cubicBezTo>
                  <a:cubicBezTo>
                    <a:pt x="132120" y="896554"/>
                    <a:pt x="132120" y="896554"/>
                    <a:pt x="132120" y="896554"/>
                  </a:cubicBezTo>
                  <a:cubicBezTo>
                    <a:pt x="134690" y="892699"/>
                    <a:pt x="136618" y="888201"/>
                    <a:pt x="134048" y="884347"/>
                  </a:cubicBezTo>
                  <a:cubicBezTo>
                    <a:pt x="129550" y="875994"/>
                    <a:pt x="127623" y="868927"/>
                    <a:pt x="117343" y="866999"/>
                  </a:cubicBezTo>
                  <a:cubicBezTo>
                    <a:pt x="107063" y="865072"/>
                    <a:pt x="98711" y="859290"/>
                    <a:pt x="98711" y="852865"/>
                  </a:cubicBezTo>
                  <a:cubicBezTo>
                    <a:pt x="98068" y="846440"/>
                    <a:pt x="104493" y="827808"/>
                    <a:pt x="101923" y="818170"/>
                  </a:cubicBezTo>
                  <a:cubicBezTo>
                    <a:pt x="99353" y="808533"/>
                    <a:pt x="94856" y="802751"/>
                    <a:pt x="84576" y="796968"/>
                  </a:cubicBezTo>
                  <a:cubicBezTo>
                    <a:pt x="73654" y="791186"/>
                    <a:pt x="56949" y="773839"/>
                    <a:pt x="51809" y="769984"/>
                  </a:cubicBezTo>
                  <a:cubicBezTo>
                    <a:pt x="46669" y="766129"/>
                    <a:pt x="38317" y="760989"/>
                    <a:pt x="35747" y="752637"/>
                  </a:cubicBezTo>
                  <a:cubicBezTo>
                    <a:pt x="33177" y="744284"/>
                    <a:pt x="31892" y="736575"/>
                    <a:pt x="31892" y="734005"/>
                  </a:cubicBezTo>
                  <a:cubicBezTo>
                    <a:pt x="31892" y="731435"/>
                    <a:pt x="29965" y="726937"/>
                    <a:pt x="31892" y="723725"/>
                  </a:cubicBezTo>
                  <a:cubicBezTo>
                    <a:pt x="33820" y="719870"/>
                    <a:pt x="43457" y="707020"/>
                    <a:pt x="45384" y="705735"/>
                  </a:cubicBezTo>
                  <a:cubicBezTo>
                    <a:pt x="46669" y="705093"/>
                    <a:pt x="57592" y="699953"/>
                    <a:pt x="56949" y="690315"/>
                  </a:cubicBezTo>
                  <a:cubicBezTo>
                    <a:pt x="56307" y="681321"/>
                    <a:pt x="53094" y="667828"/>
                    <a:pt x="49239" y="664616"/>
                  </a:cubicBezTo>
                  <a:cubicBezTo>
                    <a:pt x="44742" y="661404"/>
                    <a:pt x="39602" y="657549"/>
                    <a:pt x="37675" y="656906"/>
                  </a:cubicBezTo>
                  <a:cubicBezTo>
                    <a:pt x="35747" y="656906"/>
                    <a:pt x="28037" y="656264"/>
                    <a:pt x="23540" y="656264"/>
                  </a:cubicBezTo>
                  <a:cubicBezTo>
                    <a:pt x="19042" y="656906"/>
                    <a:pt x="2338" y="654336"/>
                    <a:pt x="1053" y="653051"/>
                  </a:cubicBezTo>
                  <a:cubicBezTo>
                    <a:pt x="-232" y="651766"/>
                    <a:pt x="2338" y="645984"/>
                    <a:pt x="1053" y="640844"/>
                  </a:cubicBezTo>
                  <a:cubicBezTo>
                    <a:pt x="-232" y="635704"/>
                    <a:pt x="-875" y="625424"/>
                    <a:pt x="2338" y="621569"/>
                  </a:cubicBezTo>
                  <a:cubicBezTo>
                    <a:pt x="5550" y="617714"/>
                    <a:pt x="10048" y="614502"/>
                    <a:pt x="15830" y="613217"/>
                  </a:cubicBezTo>
                  <a:cubicBezTo>
                    <a:pt x="21612" y="611932"/>
                    <a:pt x="31250" y="612574"/>
                    <a:pt x="35747" y="609362"/>
                  </a:cubicBezTo>
                  <a:cubicBezTo>
                    <a:pt x="40245" y="606150"/>
                    <a:pt x="59519" y="597155"/>
                    <a:pt x="62089" y="593942"/>
                  </a:cubicBezTo>
                  <a:cubicBezTo>
                    <a:pt x="64659" y="590087"/>
                    <a:pt x="66587" y="583020"/>
                    <a:pt x="64659" y="579165"/>
                  </a:cubicBezTo>
                  <a:cubicBezTo>
                    <a:pt x="62732" y="575310"/>
                    <a:pt x="58234" y="571455"/>
                    <a:pt x="58234" y="565673"/>
                  </a:cubicBezTo>
                  <a:cubicBezTo>
                    <a:pt x="58234" y="559891"/>
                    <a:pt x="58877" y="550896"/>
                    <a:pt x="59519" y="547683"/>
                  </a:cubicBezTo>
                  <a:cubicBezTo>
                    <a:pt x="60162" y="544471"/>
                    <a:pt x="57592" y="543828"/>
                    <a:pt x="64659" y="532906"/>
                  </a:cubicBezTo>
                  <a:cubicBezTo>
                    <a:pt x="71726" y="521984"/>
                    <a:pt x="85861" y="515559"/>
                    <a:pt x="88431" y="510419"/>
                  </a:cubicBezTo>
                  <a:cubicBezTo>
                    <a:pt x="91001" y="505279"/>
                    <a:pt x="90359" y="499497"/>
                    <a:pt x="91644" y="496284"/>
                  </a:cubicBezTo>
                  <a:cubicBezTo>
                    <a:pt x="92928" y="493072"/>
                    <a:pt x="93571" y="491787"/>
                    <a:pt x="97426" y="489859"/>
                  </a:cubicBezTo>
                  <a:cubicBezTo>
                    <a:pt x="101281" y="487932"/>
                    <a:pt x="103208" y="487289"/>
                    <a:pt x="104493" y="484077"/>
                  </a:cubicBezTo>
                  <a:cubicBezTo>
                    <a:pt x="105778" y="480865"/>
                    <a:pt x="104493" y="468015"/>
                    <a:pt x="104493" y="468015"/>
                  </a:cubicBezTo>
                  <a:cubicBezTo>
                    <a:pt x="104493" y="468015"/>
                    <a:pt x="104493" y="436533"/>
                    <a:pt x="104493" y="433963"/>
                  </a:cubicBezTo>
                  <a:cubicBezTo>
                    <a:pt x="103851" y="431393"/>
                    <a:pt x="97426" y="421113"/>
                    <a:pt x="94856" y="415331"/>
                  </a:cubicBezTo>
                  <a:cubicBezTo>
                    <a:pt x="92928" y="410191"/>
                    <a:pt x="90359" y="403766"/>
                    <a:pt x="90359" y="403766"/>
                  </a:cubicBezTo>
                  <a:cubicBezTo>
                    <a:pt x="90359" y="403766"/>
                    <a:pt x="77509" y="387704"/>
                    <a:pt x="72369" y="378067"/>
                  </a:cubicBezTo>
                  <a:cubicBezTo>
                    <a:pt x="66587" y="369072"/>
                    <a:pt x="60162" y="367787"/>
                    <a:pt x="57592" y="356222"/>
                  </a:cubicBezTo>
                  <a:cubicBezTo>
                    <a:pt x="55022" y="344657"/>
                    <a:pt x="54379" y="343372"/>
                    <a:pt x="53737" y="339517"/>
                  </a:cubicBezTo>
                  <a:cubicBezTo>
                    <a:pt x="53094" y="335662"/>
                    <a:pt x="42172" y="325383"/>
                    <a:pt x="38960" y="321528"/>
                  </a:cubicBezTo>
                  <a:cubicBezTo>
                    <a:pt x="35747" y="317673"/>
                    <a:pt x="31892" y="315103"/>
                    <a:pt x="35105" y="311248"/>
                  </a:cubicBezTo>
                  <a:cubicBezTo>
                    <a:pt x="38317" y="307393"/>
                    <a:pt x="42814" y="305466"/>
                    <a:pt x="42814" y="302896"/>
                  </a:cubicBezTo>
                  <a:cubicBezTo>
                    <a:pt x="42814" y="300326"/>
                    <a:pt x="40245" y="294543"/>
                    <a:pt x="40245" y="293258"/>
                  </a:cubicBezTo>
                  <a:cubicBezTo>
                    <a:pt x="40245" y="291973"/>
                    <a:pt x="43457" y="287476"/>
                    <a:pt x="47312" y="284264"/>
                  </a:cubicBezTo>
                  <a:cubicBezTo>
                    <a:pt x="51167" y="281051"/>
                    <a:pt x="65302" y="273984"/>
                    <a:pt x="72369" y="269486"/>
                  </a:cubicBezTo>
                  <a:cubicBezTo>
                    <a:pt x="79436" y="264989"/>
                    <a:pt x="85861" y="259849"/>
                    <a:pt x="90359" y="256637"/>
                  </a:cubicBezTo>
                  <a:cubicBezTo>
                    <a:pt x="94213" y="253424"/>
                    <a:pt x="102566" y="254067"/>
                    <a:pt x="115416" y="259849"/>
                  </a:cubicBezTo>
                  <a:cubicBezTo>
                    <a:pt x="128265" y="265631"/>
                    <a:pt x="143685" y="275269"/>
                    <a:pt x="155892" y="277839"/>
                  </a:cubicBezTo>
                  <a:cubicBezTo>
                    <a:pt x="168742" y="280409"/>
                    <a:pt x="166815" y="282336"/>
                    <a:pt x="184162" y="275269"/>
                  </a:cubicBezTo>
                  <a:cubicBezTo>
                    <a:pt x="202151" y="268201"/>
                    <a:pt x="208576" y="265631"/>
                    <a:pt x="218856" y="260491"/>
                  </a:cubicBezTo>
                  <a:cubicBezTo>
                    <a:pt x="229136" y="255994"/>
                    <a:pt x="245198" y="249569"/>
                    <a:pt x="249695" y="250854"/>
                  </a:cubicBezTo>
                  <a:cubicBezTo>
                    <a:pt x="254835" y="252139"/>
                    <a:pt x="254835" y="262419"/>
                    <a:pt x="269612" y="253424"/>
                  </a:cubicBezTo>
                  <a:cubicBezTo>
                    <a:pt x="284390" y="244429"/>
                    <a:pt x="286960" y="239289"/>
                    <a:pt x="286960" y="236077"/>
                  </a:cubicBezTo>
                  <a:cubicBezTo>
                    <a:pt x="286960" y="233507"/>
                    <a:pt x="299809" y="224512"/>
                    <a:pt x="291457" y="216160"/>
                  </a:cubicBezTo>
                  <a:cubicBezTo>
                    <a:pt x="283105" y="207807"/>
                    <a:pt x="264473" y="202668"/>
                    <a:pt x="263188" y="201383"/>
                  </a:cubicBezTo>
                  <a:cubicBezTo>
                    <a:pt x="261903" y="200098"/>
                    <a:pt x="257405" y="196885"/>
                    <a:pt x="260618" y="191103"/>
                  </a:cubicBezTo>
                  <a:cubicBezTo>
                    <a:pt x="263830" y="185320"/>
                    <a:pt x="269612" y="178896"/>
                    <a:pt x="270898" y="176326"/>
                  </a:cubicBezTo>
                  <a:cubicBezTo>
                    <a:pt x="272182" y="173756"/>
                    <a:pt x="280535" y="167973"/>
                    <a:pt x="284390" y="166046"/>
                  </a:cubicBezTo>
                  <a:cubicBezTo>
                    <a:pt x="288887" y="164761"/>
                    <a:pt x="299809" y="168616"/>
                    <a:pt x="302379" y="160263"/>
                  </a:cubicBezTo>
                  <a:cubicBezTo>
                    <a:pt x="304949" y="151911"/>
                    <a:pt x="308162" y="148056"/>
                    <a:pt x="313302" y="143559"/>
                  </a:cubicBezTo>
                  <a:cubicBezTo>
                    <a:pt x="318442" y="139061"/>
                    <a:pt x="333861" y="133921"/>
                    <a:pt x="337074" y="132636"/>
                  </a:cubicBezTo>
                  <a:cubicBezTo>
                    <a:pt x="340286" y="131352"/>
                    <a:pt x="347353" y="126212"/>
                    <a:pt x="350566" y="120429"/>
                  </a:cubicBezTo>
                  <a:cubicBezTo>
                    <a:pt x="353136" y="116574"/>
                    <a:pt x="357633" y="114004"/>
                    <a:pt x="358276" y="111434"/>
                  </a:cubicBezTo>
                  <a:cubicBezTo>
                    <a:pt x="358918" y="111434"/>
                    <a:pt x="359561" y="110792"/>
                    <a:pt x="360203" y="110792"/>
                  </a:cubicBezTo>
                  <a:cubicBezTo>
                    <a:pt x="365986" y="108864"/>
                    <a:pt x="370483" y="106295"/>
                    <a:pt x="375623" y="103725"/>
                  </a:cubicBezTo>
                  <a:cubicBezTo>
                    <a:pt x="380120" y="101155"/>
                    <a:pt x="384618" y="101155"/>
                    <a:pt x="390400" y="101797"/>
                  </a:cubicBezTo>
                  <a:cubicBezTo>
                    <a:pt x="405177" y="103082"/>
                    <a:pt x="418027" y="106937"/>
                    <a:pt x="432162" y="101155"/>
                  </a:cubicBezTo>
                  <a:cubicBezTo>
                    <a:pt x="445012" y="95372"/>
                    <a:pt x="457219" y="87020"/>
                    <a:pt x="467499" y="78025"/>
                  </a:cubicBezTo>
                  <a:cubicBezTo>
                    <a:pt x="484846" y="63248"/>
                    <a:pt x="500908" y="47186"/>
                    <a:pt x="520825" y="34978"/>
                  </a:cubicBezTo>
                  <a:cubicBezTo>
                    <a:pt x="525965" y="31766"/>
                    <a:pt x="531747" y="29196"/>
                    <a:pt x="538172" y="30481"/>
                  </a:cubicBezTo>
                  <a:cubicBezTo>
                    <a:pt x="551022" y="33051"/>
                    <a:pt x="552949" y="50398"/>
                    <a:pt x="563872" y="56823"/>
                  </a:cubicBezTo>
                  <a:cubicBezTo>
                    <a:pt x="578006" y="65818"/>
                    <a:pt x="601136" y="53610"/>
                    <a:pt x="613343" y="65175"/>
                  </a:cubicBezTo>
                  <a:cubicBezTo>
                    <a:pt x="615913" y="67103"/>
                    <a:pt x="617198" y="70315"/>
                    <a:pt x="617841" y="72885"/>
                  </a:cubicBezTo>
                  <a:cubicBezTo>
                    <a:pt x="621696" y="82522"/>
                    <a:pt x="620411" y="93445"/>
                    <a:pt x="618483" y="103082"/>
                  </a:cubicBezTo>
                  <a:cubicBezTo>
                    <a:pt x="615271" y="119144"/>
                    <a:pt x="610773" y="134564"/>
                    <a:pt x="603706" y="149341"/>
                  </a:cubicBezTo>
                  <a:cubicBezTo>
                    <a:pt x="599208" y="158978"/>
                    <a:pt x="594069" y="168616"/>
                    <a:pt x="595354" y="179538"/>
                  </a:cubicBezTo>
                  <a:cubicBezTo>
                    <a:pt x="597281" y="197528"/>
                    <a:pt x="619126" y="209735"/>
                    <a:pt x="638400" y="207807"/>
                  </a:cubicBezTo>
                  <a:cubicBezTo>
                    <a:pt x="657675" y="205880"/>
                    <a:pt x="674380" y="194315"/>
                    <a:pt x="688514" y="180823"/>
                  </a:cubicBezTo>
                  <a:cubicBezTo>
                    <a:pt x="693012" y="176326"/>
                    <a:pt x="697509" y="171828"/>
                    <a:pt x="703934" y="168616"/>
                  </a:cubicBezTo>
                  <a:cubicBezTo>
                    <a:pt x="711001" y="165403"/>
                    <a:pt x="718069" y="166688"/>
                    <a:pt x="725136" y="167973"/>
                  </a:cubicBezTo>
                  <a:cubicBezTo>
                    <a:pt x="727706" y="168616"/>
                    <a:pt x="749551" y="173756"/>
                    <a:pt x="750836" y="169901"/>
                  </a:cubicBezTo>
                  <a:cubicBezTo>
                    <a:pt x="752120" y="164118"/>
                    <a:pt x="755975" y="158336"/>
                    <a:pt x="760473" y="154481"/>
                  </a:cubicBezTo>
                  <a:cubicBezTo>
                    <a:pt x="763685" y="151911"/>
                    <a:pt x="768183" y="149341"/>
                    <a:pt x="769468" y="145486"/>
                  </a:cubicBezTo>
                  <a:cubicBezTo>
                    <a:pt x="770753" y="141631"/>
                    <a:pt x="769468" y="137776"/>
                    <a:pt x="767540" y="134564"/>
                  </a:cubicBezTo>
                  <a:cubicBezTo>
                    <a:pt x="765613" y="131352"/>
                    <a:pt x="762400" y="128139"/>
                    <a:pt x="759830" y="124927"/>
                  </a:cubicBezTo>
                  <a:cubicBezTo>
                    <a:pt x="755975" y="119144"/>
                    <a:pt x="754048" y="112077"/>
                    <a:pt x="752763" y="105009"/>
                  </a:cubicBezTo>
                  <a:cubicBezTo>
                    <a:pt x="750836" y="95372"/>
                    <a:pt x="748908" y="85092"/>
                    <a:pt x="750193" y="75455"/>
                  </a:cubicBezTo>
                  <a:cubicBezTo>
                    <a:pt x="751478" y="69673"/>
                    <a:pt x="752763" y="61963"/>
                    <a:pt x="746981" y="58750"/>
                  </a:cubicBezTo>
                  <a:cubicBezTo>
                    <a:pt x="744411" y="57465"/>
                    <a:pt x="741198" y="57465"/>
                    <a:pt x="738628" y="56823"/>
                  </a:cubicBezTo>
                  <a:cubicBezTo>
                    <a:pt x="732846" y="54896"/>
                    <a:pt x="730276" y="48471"/>
                    <a:pt x="731561" y="42688"/>
                  </a:cubicBezTo>
                  <a:cubicBezTo>
                    <a:pt x="732846" y="36906"/>
                    <a:pt x="736701" y="32408"/>
                    <a:pt x="741198" y="28554"/>
                  </a:cubicBezTo>
                  <a:cubicBezTo>
                    <a:pt x="758545" y="13776"/>
                    <a:pt x="782317" y="7351"/>
                    <a:pt x="804804" y="1569"/>
                  </a:cubicBezTo>
                  <a:cubicBezTo>
                    <a:pt x="811872" y="-358"/>
                    <a:pt x="822152" y="-1643"/>
                    <a:pt x="826007" y="4782"/>
                  </a:cubicBezTo>
                  <a:cubicBezTo>
                    <a:pt x="827934" y="7351"/>
                    <a:pt x="827934" y="11206"/>
                    <a:pt x="827934" y="14419"/>
                  </a:cubicBezTo>
                  <a:cubicBezTo>
                    <a:pt x="827934" y="19559"/>
                    <a:pt x="827291" y="25341"/>
                    <a:pt x="827291" y="31123"/>
                  </a:cubicBezTo>
                  <a:cubicBezTo>
                    <a:pt x="827291" y="35621"/>
                    <a:pt x="826649" y="40118"/>
                    <a:pt x="829219" y="43973"/>
                  </a:cubicBezTo>
                  <a:cubicBezTo>
                    <a:pt x="833716" y="51683"/>
                    <a:pt x="844639" y="52968"/>
                    <a:pt x="853633" y="52326"/>
                  </a:cubicBezTo>
                  <a:cubicBezTo>
                    <a:pt x="863271" y="52326"/>
                    <a:pt x="873551" y="51683"/>
                    <a:pt x="883188" y="48471"/>
                  </a:cubicBezTo>
                  <a:cubicBezTo>
                    <a:pt x="892825" y="45258"/>
                    <a:pt x="901178" y="39476"/>
                    <a:pt x="906317" y="31766"/>
                  </a:cubicBezTo>
                  <a:cubicBezTo>
                    <a:pt x="911457" y="22771"/>
                    <a:pt x="913385" y="11206"/>
                    <a:pt x="922380" y="6066"/>
                  </a:cubicBezTo>
                  <a:cubicBezTo>
                    <a:pt x="926235" y="4139"/>
                    <a:pt x="930089" y="3497"/>
                    <a:pt x="933944" y="3497"/>
                  </a:cubicBezTo>
                  <a:cubicBezTo>
                    <a:pt x="939084" y="2854"/>
                    <a:pt x="945509" y="2854"/>
                    <a:pt x="948722" y="7351"/>
                  </a:cubicBezTo>
                  <a:cubicBezTo>
                    <a:pt x="950007" y="9279"/>
                    <a:pt x="950007" y="11849"/>
                    <a:pt x="950007" y="13776"/>
                  </a:cubicBezTo>
                  <a:cubicBezTo>
                    <a:pt x="950007" y="27269"/>
                    <a:pt x="946794" y="40761"/>
                    <a:pt x="942939" y="53610"/>
                  </a:cubicBezTo>
                  <a:cubicBezTo>
                    <a:pt x="941012" y="61320"/>
                    <a:pt x="938442" y="69030"/>
                    <a:pt x="932017" y="74170"/>
                  </a:cubicBezTo>
                  <a:cubicBezTo>
                    <a:pt x="928162" y="77383"/>
                    <a:pt x="923022" y="78025"/>
                    <a:pt x="917882" y="77383"/>
                  </a:cubicBezTo>
                  <a:cubicBezTo>
                    <a:pt x="914027" y="76740"/>
                    <a:pt x="914027" y="76098"/>
                    <a:pt x="912100" y="78668"/>
                  </a:cubicBezTo>
                  <a:cubicBezTo>
                    <a:pt x="910815" y="80595"/>
                    <a:pt x="909530" y="83165"/>
                    <a:pt x="908887" y="85735"/>
                  </a:cubicBezTo>
                  <a:cubicBezTo>
                    <a:pt x="905675" y="95372"/>
                    <a:pt x="905032" y="105652"/>
                    <a:pt x="906960" y="115932"/>
                  </a:cubicBezTo>
                  <a:cubicBezTo>
                    <a:pt x="910172" y="131352"/>
                    <a:pt x="919167" y="144844"/>
                    <a:pt x="930089" y="156408"/>
                  </a:cubicBezTo>
                  <a:cubicBezTo>
                    <a:pt x="932017" y="158336"/>
                    <a:pt x="933944" y="160263"/>
                    <a:pt x="935872" y="160906"/>
                  </a:cubicBezTo>
                  <a:cubicBezTo>
                    <a:pt x="938442" y="161548"/>
                    <a:pt x="941012" y="161548"/>
                    <a:pt x="943582" y="161548"/>
                  </a:cubicBezTo>
                  <a:cubicBezTo>
                    <a:pt x="948722" y="162191"/>
                    <a:pt x="953219" y="166688"/>
                    <a:pt x="955789" y="171186"/>
                  </a:cubicBezTo>
                  <a:cubicBezTo>
                    <a:pt x="958359" y="175683"/>
                    <a:pt x="959644" y="180823"/>
                    <a:pt x="962214" y="185320"/>
                  </a:cubicBezTo>
                  <a:cubicBezTo>
                    <a:pt x="968639" y="199455"/>
                    <a:pt x="980203" y="211020"/>
                    <a:pt x="989198" y="223870"/>
                  </a:cubicBezTo>
                  <a:cubicBezTo>
                    <a:pt x="998193" y="237362"/>
                    <a:pt x="1003975" y="252782"/>
                    <a:pt x="1005261" y="268201"/>
                  </a:cubicBezTo>
                  <a:cubicBezTo>
                    <a:pt x="1005903" y="272699"/>
                    <a:pt x="1005903" y="276554"/>
                    <a:pt x="1007830" y="281051"/>
                  </a:cubicBezTo>
                  <a:cubicBezTo>
                    <a:pt x="1009758" y="284906"/>
                    <a:pt x="1013613" y="288118"/>
                    <a:pt x="1018110" y="288118"/>
                  </a:cubicBezTo>
                  <a:cubicBezTo>
                    <a:pt x="1023893" y="288118"/>
                    <a:pt x="1027748" y="282979"/>
                    <a:pt x="1032245" y="279766"/>
                  </a:cubicBezTo>
                  <a:cubicBezTo>
                    <a:pt x="1033530" y="279124"/>
                    <a:pt x="1035457" y="277839"/>
                    <a:pt x="1036742" y="277839"/>
                  </a:cubicBezTo>
                  <a:cubicBezTo>
                    <a:pt x="1039955" y="277839"/>
                    <a:pt x="1042525" y="281051"/>
                    <a:pt x="1043810" y="284264"/>
                  </a:cubicBezTo>
                  <a:cubicBezTo>
                    <a:pt x="1049592" y="297113"/>
                    <a:pt x="1052162" y="313175"/>
                    <a:pt x="1042525" y="324098"/>
                  </a:cubicBezTo>
                  <a:cubicBezTo>
                    <a:pt x="1039955" y="327310"/>
                    <a:pt x="1036100" y="329880"/>
                    <a:pt x="1032887" y="332450"/>
                  </a:cubicBezTo>
                  <a:cubicBezTo>
                    <a:pt x="1023250" y="340802"/>
                    <a:pt x="1018753" y="353010"/>
                    <a:pt x="1018753" y="364574"/>
                  </a:cubicBezTo>
                  <a:cubicBezTo>
                    <a:pt x="1018753" y="369072"/>
                    <a:pt x="1018753" y="378067"/>
                    <a:pt x="1022608" y="381279"/>
                  </a:cubicBezTo>
                  <a:cubicBezTo>
                    <a:pt x="1027105" y="385134"/>
                    <a:pt x="1034815" y="381922"/>
                    <a:pt x="1038027" y="378709"/>
                  </a:cubicBezTo>
                  <a:cubicBezTo>
                    <a:pt x="1039312" y="378067"/>
                    <a:pt x="1039955" y="376782"/>
                    <a:pt x="1041240" y="376139"/>
                  </a:cubicBezTo>
                  <a:cubicBezTo>
                    <a:pt x="1043810" y="377424"/>
                    <a:pt x="1045095" y="378067"/>
                    <a:pt x="1046380" y="378709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 20">
              <a:extLst>
                <a:ext uri="{FF2B5EF4-FFF2-40B4-BE49-F238E27FC236}">
                  <a16:creationId xmlns:a16="http://schemas.microsoft.com/office/drawing/2014/main" id="{11AB864F-B4F5-C195-DB84-89C01E67B59F}"/>
                </a:ext>
              </a:extLst>
            </p:cNvPr>
            <p:cNvSpPr/>
            <p:nvPr/>
          </p:nvSpPr>
          <p:spPr>
            <a:xfrm>
              <a:off x="1747895" y="3310513"/>
              <a:ext cx="1048959" cy="942230"/>
            </a:xfrm>
            <a:custGeom>
              <a:avLst/>
              <a:gdLst>
                <a:gd name="connsiteX0" fmla="*/ 1046380 w 1048959"/>
                <a:gd name="connsiteY0" fmla="*/ 378709 h 942230"/>
                <a:gd name="connsiteX1" fmla="*/ 1000121 w 1048959"/>
                <a:gd name="connsiteY1" fmla="*/ 433963 h 942230"/>
                <a:gd name="connsiteX2" fmla="*/ 959001 w 1048959"/>
                <a:gd name="connsiteY2" fmla="*/ 469300 h 942230"/>
                <a:gd name="connsiteX3" fmla="*/ 934587 w 1048959"/>
                <a:gd name="connsiteY3" fmla="*/ 460305 h 942230"/>
                <a:gd name="connsiteX4" fmla="*/ 937157 w 1048959"/>
                <a:gd name="connsiteY4" fmla="*/ 445528 h 942230"/>
                <a:gd name="connsiteX5" fmla="*/ 886400 w 1048959"/>
                <a:gd name="connsiteY5" fmla="*/ 445528 h 942230"/>
                <a:gd name="connsiteX6" fmla="*/ 890255 w 1048959"/>
                <a:gd name="connsiteY6" fmla="*/ 468657 h 942230"/>
                <a:gd name="connsiteX7" fmla="*/ 878048 w 1048959"/>
                <a:gd name="connsiteY7" fmla="*/ 487932 h 942230"/>
                <a:gd name="connsiteX8" fmla="*/ 842711 w 1048959"/>
                <a:gd name="connsiteY8" fmla="*/ 494357 h 942230"/>
                <a:gd name="connsiteX9" fmla="*/ 813799 w 1048959"/>
                <a:gd name="connsiteY9" fmla="*/ 509776 h 942230"/>
                <a:gd name="connsiteX10" fmla="*/ 794525 w 1048959"/>
                <a:gd name="connsiteY10" fmla="*/ 536119 h 942230"/>
                <a:gd name="connsiteX11" fmla="*/ 808659 w 1048959"/>
                <a:gd name="connsiteY11" fmla="*/ 553466 h 942230"/>
                <a:gd name="connsiteX12" fmla="*/ 834359 w 1048959"/>
                <a:gd name="connsiteY12" fmla="*/ 540616 h 942230"/>
                <a:gd name="connsiteX13" fmla="*/ 842711 w 1048959"/>
                <a:gd name="connsiteY13" fmla="*/ 570813 h 942230"/>
                <a:gd name="connsiteX14" fmla="*/ 836929 w 1048959"/>
                <a:gd name="connsiteY14" fmla="*/ 589445 h 942230"/>
                <a:gd name="connsiteX15" fmla="*/ 811229 w 1048959"/>
                <a:gd name="connsiteY15" fmla="*/ 620927 h 942230"/>
                <a:gd name="connsiteX16" fmla="*/ 788100 w 1048959"/>
                <a:gd name="connsiteY16" fmla="*/ 632492 h 942230"/>
                <a:gd name="connsiteX17" fmla="*/ 743768 w 1048959"/>
                <a:gd name="connsiteY17" fmla="*/ 710875 h 942230"/>
                <a:gd name="connsiteX18" fmla="*/ 711644 w 1048959"/>
                <a:gd name="connsiteY18" fmla="*/ 721797 h 942230"/>
                <a:gd name="connsiteX19" fmla="*/ 709074 w 1048959"/>
                <a:gd name="connsiteY19" fmla="*/ 707020 h 942230"/>
                <a:gd name="connsiteX20" fmla="*/ 659602 w 1048959"/>
                <a:gd name="connsiteY20" fmla="*/ 750067 h 942230"/>
                <a:gd name="connsiteX21" fmla="*/ 673737 w 1048959"/>
                <a:gd name="connsiteY21" fmla="*/ 760989 h 942230"/>
                <a:gd name="connsiteX22" fmla="*/ 673737 w 1048959"/>
                <a:gd name="connsiteY22" fmla="*/ 777694 h 942230"/>
                <a:gd name="connsiteX23" fmla="*/ 653177 w 1048959"/>
                <a:gd name="connsiteY23" fmla="*/ 793756 h 942230"/>
                <a:gd name="connsiteX24" fmla="*/ 644825 w 1048959"/>
                <a:gd name="connsiteY24" fmla="*/ 794399 h 942230"/>
                <a:gd name="connsiteX25" fmla="*/ 604991 w 1048959"/>
                <a:gd name="connsiteY25" fmla="*/ 751352 h 942230"/>
                <a:gd name="connsiteX26" fmla="*/ 580576 w 1048959"/>
                <a:gd name="connsiteY26" fmla="*/ 694813 h 942230"/>
                <a:gd name="connsiteX27" fmla="*/ 549095 w 1048959"/>
                <a:gd name="connsiteY27" fmla="*/ 701880 h 942230"/>
                <a:gd name="connsiteX28" fmla="*/ 555519 w 1048959"/>
                <a:gd name="connsiteY28" fmla="*/ 723725 h 942230"/>
                <a:gd name="connsiteX29" fmla="*/ 552307 w 1048959"/>
                <a:gd name="connsiteY29" fmla="*/ 737860 h 942230"/>
                <a:gd name="connsiteX30" fmla="*/ 502835 w 1048959"/>
                <a:gd name="connsiteY30" fmla="*/ 774481 h 942230"/>
                <a:gd name="connsiteX31" fmla="*/ 460431 w 1048959"/>
                <a:gd name="connsiteY31" fmla="*/ 782834 h 942230"/>
                <a:gd name="connsiteX32" fmla="*/ 441157 w 1048959"/>
                <a:gd name="connsiteY32" fmla="*/ 807248 h 942230"/>
                <a:gd name="connsiteX33" fmla="*/ 388473 w 1048959"/>
                <a:gd name="connsiteY33" fmla="*/ 828450 h 942230"/>
                <a:gd name="connsiteX34" fmla="*/ 304949 w 1048959"/>
                <a:gd name="connsiteY34" fmla="*/ 847725 h 942230"/>
                <a:gd name="connsiteX35" fmla="*/ 256763 w 1048959"/>
                <a:gd name="connsiteY35" fmla="*/ 897839 h 942230"/>
                <a:gd name="connsiteX36" fmla="*/ 265115 w 1048959"/>
                <a:gd name="connsiteY36" fmla="*/ 923538 h 942230"/>
                <a:gd name="connsiteX37" fmla="*/ 248410 w 1048959"/>
                <a:gd name="connsiteY37" fmla="*/ 942171 h 942230"/>
                <a:gd name="connsiteX38" fmla="*/ 198296 w 1048959"/>
                <a:gd name="connsiteY38" fmla="*/ 920968 h 942230"/>
                <a:gd name="connsiteX39" fmla="*/ 142400 w 1048959"/>
                <a:gd name="connsiteY39" fmla="*/ 936388 h 942230"/>
                <a:gd name="connsiteX40" fmla="*/ 136618 w 1048959"/>
                <a:gd name="connsiteY40" fmla="*/ 938316 h 942230"/>
                <a:gd name="connsiteX41" fmla="*/ 132763 w 1048959"/>
                <a:gd name="connsiteY41" fmla="*/ 918398 h 942230"/>
                <a:gd name="connsiteX42" fmla="*/ 125695 w 1048959"/>
                <a:gd name="connsiteY42" fmla="*/ 906191 h 942230"/>
                <a:gd name="connsiteX43" fmla="*/ 125695 w 1048959"/>
                <a:gd name="connsiteY43" fmla="*/ 905549 h 942230"/>
                <a:gd name="connsiteX44" fmla="*/ 126338 w 1048959"/>
                <a:gd name="connsiteY44" fmla="*/ 904906 h 942230"/>
                <a:gd name="connsiteX45" fmla="*/ 129550 w 1048959"/>
                <a:gd name="connsiteY45" fmla="*/ 900409 h 942230"/>
                <a:gd name="connsiteX46" fmla="*/ 130193 w 1048959"/>
                <a:gd name="connsiteY46" fmla="*/ 899124 h 942230"/>
                <a:gd name="connsiteX47" fmla="*/ 132120 w 1048959"/>
                <a:gd name="connsiteY47" fmla="*/ 896554 h 942230"/>
                <a:gd name="connsiteX48" fmla="*/ 132120 w 1048959"/>
                <a:gd name="connsiteY48" fmla="*/ 896554 h 942230"/>
                <a:gd name="connsiteX49" fmla="*/ 134048 w 1048959"/>
                <a:gd name="connsiteY49" fmla="*/ 884347 h 942230"/>
                <a:gd name="connsiteX50" fmla="*/ 117343 w 1048959"/>
                <a:gd name="connsiteY50" fmla="*/ 866999 h 942230"/>
                <a:gd name="connsiteX51" fmla="*/ 98711 w 1048959"/>
                <a:gd name="connsiteY51" fmla="*/ 852865 h 942230"/>
                <a:gd name="connsiteX52" fmla="*/ 101923 w 1048959"/>
                <a:gd name="connsiteY52" fmla="*/ 818170 h 942230"/>
                <a:gd name="connsiteX53" fmla="*/ 84576 w 1048959"/>
                <a:gd name="connsiteY53" fmla="*/ 796968 h 942230"/>
                <a:gd name="connsiteX54" fmla="*/ 51809 w 1048959"/>
                <a:gd name="connsiteY54" fmla="*/ 769984 h 942230"/>
                <a:gd name="connsiteX55" fmla="*/ 35747 w 1048959"/>
                <a:gd name="connsiteY55" fmla="*/ 752637 h 942230"/>
                <a:gd name="connsiteX56" fmla="*/ 31892 w 1048959"/>
                <a:gd name="connsiteY56" fmla="*/ 734005 h 942230"/>
                <a:gd name="connsiteX57" fmla="*/ 31892 w 1048959"/>
                <a:gd name="connsiteY57" fmla="*/ 723725 h 942230"/>
                <a:gd name="connsiteX58" fmla="*/ 45384 w 1048959"/>
                <a:gd name="connsiteY58" fmla="*/ 705735 h 942230"/>
                <a:gd name="connsiteX59" fmla="*/ 56949 w 1048959"/>
                <a:gd name="connsiteY59" fmla="*/ 690315 h 942230"/>
                <a:gd name="connsiteX60" fmla="*/ 49239 w 1048959"/>
                <a:gd name="connsiteY60" fmla="*/ 664616 h 942230"/>
                <a:gd name="connsiteX61" fmla="*/ 37675 w 1048959"/>
                <a:gd name="connsiteY61" fmla="*/ 656906 h 942230"/>
                <a:gd name="connsiteX62" fmla="*/ 23540 w 1048959"/>
                <a:gd name="connsiteY62" fmla="*/ 656264 h 942230"/>
                <a:gd name="connsiteX63" fmla="*/ 1053 w 1048959"/>
                <a:gd name="connsiteY63" fmla="*/ 653051 h 942230"/>
                <a:gd name="connsiteX64" fmla="*/ 1053 w 1048959"/>
                <a:gd name="connsiteY64" fmla="*/ 640844 h 942230"/>
                <a:gd name="connsiteX65" fmla="*/ 2338 w 1048959"/>
                <a:gd name="connsiteY65" fmla="*/ 621569 h 942230"/>
                <a:gd name="connsiteX66" fmla="*/ 15830 w 1048959"/>
                <a:gd name="connsiteY66" fmla="*/ 613217 h 942230"/>
                <a:gd name="connsiteX67" fmla="*/ 35747 w 1048959"/>
                <a:gd name="connsiteY67" fmla="*/ 609362 h 942230"/>
                <a:gd name="connsiteX68" fmla="*/ 62089 w 1048959"/>
                <a:gd name="connsiteY68" fmla="*/ 593942 h 942230"/>
                <a:gd name="connsiteX69" fmla="*/ 64659 w 1048959"/>
                <a:gd name="connsiteY69" fmla="*/ 579165 h 942230"/>
                <a:gd name="connsiteX70" fmla="*/ 58234 w 1048959"/>
                <a:gd name="connsiteY70" fmla="*/ 565673 h 942230"/>
                <a:gd name="connsiteX71" fmla="*/ 59519 w 1048959"/>
                <a:gd name="connsiteY71" fmla="*/ 547683 h 942230"/>
                <a:gd name="connsiteX72" fmla="*/ 64659 w 1048959"/>
                <a:gd name="connsiteY72" fmla="*/ 532906 h 942230"/>
                <a:gd name="connsiteX73" fmla="*/ 88431 w 1048959"/>
                <a:gd name="connsiteY73" fmla="*/ 510419 h 942230"/>
                <a:gd name="connsiteX74" fmla="*/ 91644 w 1048959"/>
                <a:gd name="connsiteY74" fmla="*/ 496284 h 942230"/>
                <a:gd name="connsiteX75" fmla="*/ 97426 w 1048959"/>
                <a:gd name="connsiteY75" fmla="*/ 489859 h 942230"/>
                <a:gd name="connsiteX76" fmla="*/ 104493 w 1048959"/>
                <a:gd name="connsiteY76" fmla="*/ 484077 h 942230"/>
                <a:gd name="connsiteX77" fmla="*/ 104493 w 1048959"/>
                <a:gd name="connsiteY77" fmla="*/ 468015 h 942230"/>
                <a:gd name="connsiteX78" fmla="*/ 104493 w 1048959"/>
                <a:gd name="connsiteY78" fmla="*/ 433963 h 942230"/>
                <a:gd name="connsiteX79" fmla="*/ 94856 w 1048959"/>
                <a:gd name="connsiteY79" fmla="*/ 415331 h 942230"/>
                <a:gd name="connsiteX80" fmla="*/ 90359 w 1048959"/>
                <a:gd name="connsiteY80" fmla="*/ 403766 h 942230"/>
                <a:gd name="connsiteX81" fmla="*/ 72369 w 1048959"/>
                <a:gd name="connsiteY81" fmla="*/ 378067 h 942230"/>
                <a:gd name="connsiteX82" fmla="*/ 57592 w 1048959"/>
                <a:gd name="connsiteY82" fmla="*/ 356222 h 942230"/>
                <a:gd name="connsiteX83" fmla="*/ 53737 w 1048959"/>
                <a:gd name="connsiteY83" fmla="*/ 339517 h 942230"/>
                <a:gd name="connsiteX84" fmla="*/ 38960 w 1048959"/>
                <a:gd name="connsiteY84" fmla="*/ 321528 h 942230"/>
                <a:gd name="connsiteX85" fmla="*/ 35105 w 1048959"/>
                <a:gd name="connsiteY85" fmla="*/ 311248 h 942230"/>
                <a:gd name="connsiteX86" fmla="*/ 42814 w 1048959"/>
                <a:gd name="connsiteY86" fmla="*/ 302896 h 942230"/>
                <a:gd name="connsiteX87" fmla="*/ 40245 w 1048959"/>
                <a:gd name="connsiteY87" fmla="*/ 293258 h 942230"/>
                <a:gd name="connsiteX88" fmla="*/ 47312 w 1048959"/>
                <a:gd name="connsiteY88" fmla="*/ 284264 h 942230"/>
                <a:gd name="connsiteX89" fmla="*/ 72369 w 1048959"/>
                <a:gd name="connsiteY89" fmla="*/ 269486 h 942230"/>
                <a:gd name="connsiteX90" fmla="*/ 90359 w 1048959"/>
                <a:gd name="connsiteY90" fmla="*/ 256637 h 942230"/>
                <a:gd name="connsiteX91" fmla="*/ 115416 w 1048959"/>
                <a:gd name="connsiteY91" fmla="*/ 259849 h 942230"/>
                <a:gd name="connsiteX92" fmla="*/ 155892 w 1048959"/>
                <a:gd name="connsiteY92" fmla="*/ 277839 h 942230"/>
                <a:gd name="connsiteX93" fmla="*/ 184162 w 1048959"/>
                <a:gd name="connsiteY93" fmla="*/ 275269 h 942230"/>
                <a:gd name="connsiteX94" fmla="*/ 218856 w 1048959"/>
                <a:gd name="connsiteY94" fmla="*/ 260491 h 942230"/>
                <a:gd name="connsiteX95" fmla="*/ 249695 w 1048959"/>
                <a:gd name="connsiteY95" fmla="*/ 250854 h 942230"/>
                <a:gd name="connsiteX96" fmla="*/ 269612 w 1048959"/>
                <a:gd name="connsiteY96" fmla="*/ 253424 h 942230"/>
                <a:gd name="connsiteX97" fmla="*/ 286960 w 1048959"/>
                <a:gd name="connsiteY97" fmla="*/ 236077 h 942230"/>
                <a:gd name="connsiteX98" fmla="*/ 291457 w 1048959"/>
                <a:gd name="connsiteY98" fmla="*/ 216160 h 942230"/>
                <a:gd name="connsiteX99" fmla="*/ 263188 w 1048959"/>
                <a:gd name="connsiteY99" fmla="*/ 201383 h 942230"/>
                <a:gd name="connsiteX100" fmla="*/ 260618 w 1048959"/>
                <a:gd name="connsiteY100" fmla="*/ 191103 h 942230"/>
                <a:gd name="connsiteX101" fmla="*/ 270898 w 1048959"/>
                <a:gd name="connsiteY101" fmla="*/ 176326 h 942230"/>
                <a:gd name="connsiteX102" fmla="*/ 284390 w 1048959"/>
                <a:gd name="connsiteY102" fmla="*/ 166046 h 942230"/>
                <a:gd name="connsiteX103" fmla="*/ 302379 w 1048959"/>
                <a:gd name="connsiteY103" fmla="*/ 160263 h 942230"/>
                <a:gd name="connsiteX104" fmla="*/ 313302 w 1048959"/>
                <a:gd name="connsiteY104" fmla="*/ 143559 h 942230"/>
                <a:gd name="connsiteX105" fmla="*/ 337074 w 1048959"/>
                <a:gd name="connsiteY105" fmla="*/ 132636 h 942230"/>
                <a:gd name="connsiteX106" fmla="*/ 350566 w 1048959"/>
                <a:gd name="connsiteY106" fmla="*/ 120429 h 942230"/>
                <a:gd name="connsiteX107" fmla="*/ 358276 w 1048959"/>
                <a:gd name="connsiteY107" fmla="*/ 111434 h 942230"/>
                <a:gd name="connsiteX108" fmla="*/ 360203 w 1048959"/>
                <a:gd name="connsiteY108" fmla="*/ 110792 h 942230"/>
                <a:gd name="connsiteX109" fmla="*/ 375623 w 1048959"/>
                <a:gd name="connsiteY109" fmla="*/ 103725 h 942230"/>
                <a:gd name="connsiteX110" fmla="*/ 390400 w 1048959"/>
                <a:gd name="connsiteY110" fmla="*/ 101797 h 942230"/>
                <a:gd name="connsiteX111" fmla="*/ 432162 w 1048959"/>
                <a:gd name="connsiteY111" fmla="*/ 101155 h 942230"/>
                <a:gd name="connsiteX112" fmla="*/ 467499 w 1048959"/>
                <a:gd name="connsiteY112" fmla="*/ 78025 h 942230"/>
                <a:gd name="connsiteX113" fmla="*/ 520825 w 1048959"/>
                <a:gd name="connsiteY113" fmla="*/ 34978 h 942230"/>
                <a:gd name="connsiteX114" fmla="*/ 538172 w 1048959"/>
                <a:gd name="connsiteY114" fmla="*/ 30481 h 942230"/>
                <a:gd name="connsiteX115" fmla="*/ 563872 w 1048959"/>
                <a:gd name="connsiteY115" fmla="*/ 56823 h 942230"/>
                <a:gd name="connsiteX116" fmla="*/ 613343 w 1048959"/>
                <a:gd name="connsiteY116" fmla="*/ 65175 h 942230"/>
                <a:gd name="connsiteX117" fmla="*/ 617841 w 1048959"/>
                <a:gd name="connsiteY117" fmla="*/ 72885 h 942230"/>
                <a:gd name="connsiteX118" fmla="*/ 618483 w 1048959"/>
                <a:gd name="connsiteY118" fmla="*/ 103082 h 942230"/>
                <a:gd name="connsiteX119" fmla="*/ 603706 w 1048959"/>
                <a:gd name="connsiteY119" fmla="*/ 149341 h 942230"/>
                <a:gd name="connsiteX120" fmla="*/ 595354 w 1048959"/>
                <a:gd name="connsiteY120" fmla="*/ 179538 h 942230"/>
                <a:gd name="connsiteX121" fmla="*/ 638400 w 1048959"/>
                <a:gd name="connsiteY121" fmla="*/ 207807 h 942230"/>
                <a:gd name="connsiteX122" fmla="*/ 688514 w 1048959"/>
                <a:gd name="connsiteY122" fmla="*/ 180823 h 942230"/>
                <a:gd name="connsiteX123" fmla="*/ 703934 w 1048959"/>
                <a:gd name="connsiteY123" fmla="*/ 168616 h 942230"/>
                <a:gd name="connsiteX124" fmla="*/ 725136 w 1048959"/>
                <a:gd name="connsiteY124" fmla="*/ 167973 h 942230"/>
                <a:gd name="connsiteX125" fmla="*/ 750836 w 1048959"/>
                <a:gd name="connsiteY125" fmla="*/ 169901 h 942230"/>
                <a:gd name="connsiteX126" fmla="*/ 760473 w 1048959"/>
                <a:gd name="connsiteY126" fmla="*/ 154481 h 942230"/>
                <a:gd name="connsiteX127" fmla="*/ 769468 w 1048959"/>
                <a:gd name="connsiteY127" fmla="*/ 145486 h 942230"/>
                <a:gd name="connsiteX128" fmla="*/ 767540 w 1048959"/>
                <a:gd name="connsiteY128" fmla="*/ 134564 h 942230"/>
                <a:gd name="connsiteX129" fmla="*/ 759830 w 1048959"/>
                <a:gd name="connsiteY129" fmla="*/ 124927 h 942230"/>
                <a:gd name="connsiteX130" fmla="*/ 752763 w 1048959"/>
                <a:gd name="connsiteY130" fmla="*/ 105009 h 942230"/>
                <a:gd name="connsiteX131" fmla="*/ 750193 w 1048959"/>
                <a:gd name="connsiteY131" fmla="*/ 75455 h 942230"/>
                <a:gd name="connsiteX132" fmla="*/ 746981 w 1048959"/>
                <a:gd name="connsiteY132" fmla="*/ 58750 h 942230"/>
                <a:gd name="connsiteX133" fmla="*/ 738628 w 1048959"/>
                <a:gd name="connsiteY133" fmla="*/ 56823 h 942230"/>
                <a:gd name="connsiteX134" fmla="*/ 731561 w 1048959"/>
                <a:gd name="connsiteY134" fmla="*/ 42688 h 942230"/>
                <a:gd name="connsiteX135" fmla="*/ 741198 w 1048959"/>
                <a:gd name="connsiteY135" fmla="*/ 28554 h 942230"/>
                <a:gd name="connsiteX136" fmla="*/ 804804 w 1048959"/>
                <a:gd name="connsiteY136" fmla="*/ 1569 h 942230"/>
                <a:gd name="connsiteX137" fmla="*/ 826007 w 1048959"/>
                <a:gd name="connsiteY137" fmla="*/ 4782 h 942230"/>
                <a:gd name="connsiteX138" fmla="*/ 827934 w 1048959"/>
                <a:gd name="connsiteY138" fmla="*/ 14419 h 942230"/>
                <a:gd name="connsiteX139" fmla="*/ 827291 w 1048959"/>
                <a:gd name="connsiteY139" fmla="*/ 31123 h 942230"/>
                <a:gd name="connsiteX140" fmla="*/ 829219 w 1048959"/>
                <a:gd name="connsiteY140" fmla="*/ 43973 h 942230"/>
                <a:gd name="connsiteX141" fmla="*/ 853633 w 1048959"/>
                <a:gd name="connsiteY141" fmla="*/ 52326 h 942230"/>
                <a:gd name="connsiteX142" fmla="*/ 883188 w 1048959"/>
                <a:gd name="connsiteY142" fmla="*/ 48471 h 942230"/>
                <a:gd name="connsiteX143" fmla="*/ 906317 w 1048959"/>
                <a:gd name="connsiteY143" fmla="*/ 31766 h 942230"/>
                <a:gd name="connsiteX144" fmla="*/ 922380 w 1048959"/>
                <a:gd name="connsiteY144" fmla="*/ 6066 h 942230"/>
                <a:gd name="connsiteX145" fmla="*/ 933944 w 1048959"/>
                <a:gd name="connsiteY145" fmla="*/ 3497 h 942230"/>
                <a:gd name="connsiteX146" fmla="*/ 948722 w 1048959"/>
                <a:gd name="connsiteY146" fmla="*/ 7351 h 942230"/>
                <a:gd name="connsiteX147" fmla="*/ 950007 w 1048959"/>
                <a:gd name="connsiteY147" fmla="*/ 13776 h 942230"/>
                <a:gd name="connsiteX148" fmla="*/ 942939 w 1048959"/>
                <a:gd name="connsiteY148" fmla="*/ 53610 h 942230"/>
                <a:gd name="connsiteX149" fmla="*/ 932017 w 1048959"/>
                <a:gd name="connsiteY149" fmla="*/ 74170 h 942230"/>
                <a:gd name="connsiteX150" fmla="*/ 917882 w 1048959"/>
                <a:gd name="connsiteY150" fmla="*/ 77383 h 942230"/>
                <a:gd name="connsiteX151" fmla="*/ 912100 w 1048959"/>
                <a:gd name="connsiteY151" fmla="*/ 78668 h 942230"/>
                <a:gd name="connsiteX152" fmla="*/ 908887 w 1048959"/>
                <a:gd name="connsiteY152" fmla="*/ 85735 h 942230"/>
                <a:gd name="connsiteX153" fmla="*/ 906960 w 1048959"/>
                <a:gd name="connsiteY153" fmla="*/ 115932 h 942230"/>
                <a:gd name="connsiteX154" fmla="*/ 930089 w 1048959"/>
                <a:gd name="connsiteY154" fmla="*/ 156408 h 942230"/>
                <a:gd name="connsiteX155" fmla="*/ 935872 w 1048959"/>
                <a:gd name="connsiteY155" fmla="*/ 160906 h 942230"/>
                <a:gd name="connsiteX156" fmla="*/ 943582 w 1048959"/>
                <a:gd name="connsiteY156" fmla="*/ 161548 h 942230"/>
                <a:gd name="connsiteX157" fmla="*/ 955789 w 1048959"/>
                <a:gd name="connsiteY157" fmla="*/ 171186 h 942230"/>
                <a:gd name="connsiteX158" fmla="*/ 962214 w 1048959"/>
                <a:gd name="connsiteY158" fmla="*/ 185320 h 942230"/>
                <a:gd name="connsiteX159" fmla="*/ 989198 w 1048959"/>
                <a:gd name="connsiteY159" fmla="*/ 223870 h 942230"/>
                <a:gd name="connsiteX160" fmla="*/ 1005261 w 1048959"/>
                <a:gd name="connsiteY160" fmla="*/ 268201 h 942230"/>
                <a:gd name="connsiteX161" fmla="*/ 1007830 w 1048959"/>
                <a:gd name="connsiteY161" fmla="*/ 281051 h 942230"/>
                <a:gd name="connsiteX162" fmla="*/ 1018110 w 1048959"/>
                <a:gd name="connsiteY162" fmla="*/ 288118 h 942230"/>
                <a:gd name="connsiteX163" fmla="*/ 1032245 w 1048959"/>
                <a:gd name="connsiteY163" fmla="*/ 279766 h 942230"/>
                <a:gd name="connsiteX164" fmla="*/ 1036742 w 1048959"/>
                <a:gd name="connsiteY164" fmla="*/ 277839 h 942230"/>
                <a:gd name="connsiteX165" fmla="*/ 1043810 w 1048959"/>
                <a:gd name="connsiteY165" fmla="*/ 284264 h 942230"/>
                <a:gd name="connsiteX166" fmla="*/ 1042525 w 1048959"/>
                <a:gd name="connsiteY166" fmla="*/ 324098 h 942230"/>
                <a:gd name="connsiteX167" fmla="*/ 1032887 w 1048959"/>
                <a:gd name="connsiteY167" fmla="*/ 332450 h 942230"/>
                <a:gd name="connsiteX168" fmla="*/ 1018753 w 1048959"/>
                <a:gd name="connsiteY168" fmla="*/ 364574 h 942230"/>
                <a:gd name="connsiteX169" fmla="*/ 1022608 w 1048959"/>
                <a:gd name="connsiteY169" fmla="*/ 381279 h 942230"/>
                <a:gd name="connsiteX170" fmla="*/ 1038027 w 1048959"/>
                <a:gd name="connsiteY170" fmla="*/ 378709 h 942230"/>
                <a:gd name="connsiteX171" fmla="*/ 1041240 w 1048959"/>
                <a:gd name="connsiteY171" fmla="*/ 376139 h 942230"/>
                <a:gd name="connsiteX172" fmla="*/ 1046380 w 1048959"/>
                <a:gd name="connsiteY172" fmla="*/ 378709 h 942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048959" h="942230">
                  <a:moveTo>
                    <a:pt x="1046380" y="378709"/>
                  </a:moveTo>
                  <a:cubicBezTo>
                    <a:pt x="1030317" y="397984"/>
                    <a:pt x="1008473" y="424326"/>
                    <a:pt x="1000121" y="433963"/>
                  </a:cubicBezTo>
                  <a:cubicBezTo>
                    <a:pt x="985986" y="450668"/>
                    <a:pt x="970566" y="456450"/>
                    <a:pt x="959001" y="469300"/>
                  </a:cubicBezTo>
                  <a:cubicBezTo>
                    <a:pt x="947437" y="482150"/>
                    <a:pt x="939084" y="469942"/>
                    <a:pt x="934587" y="460305"/>
                  </a:cubicBezTo>
                  <a:cubicBezTo>
                    <a:pt x="930732" y="450668"/>
                    <a:pt x="938442" y="455808"/>
                    <a:pt x="937157" y="445528"/>
                  </a:cubicBezTo>
                  <a:cubicBezTo>
                    <a:pt x="935872" y="435248"/>
                    <a:pt x="902463" y="439745"/>
                    <a:pt x="886400" y="445528"/>
                  </a:cubicBezTo>
                  <a:cubicBezTo>
                    <a:pt x="870338" y="451310"/>
                    <a:pt x="887043" y="462232"/>
                    <a:pt x="890255" y="468657"/>
                  </a:cubicBezTo>
                  <a:cubicBezTo>
                    <a:pt x="893468" y="475082"/>
                    <a:pt x="885115" y="480865"/>
                    <a:pt x="878048" y="487932"/>
                  </a:cubicBezTo>
                  <a:cubicBezTo>
                    <a:pt x="870981" y="494999"/>
                    <a:pt x="853633" y="496284"/>
                    <a:pt x="842711" y="494357"/>
                  </a:cubicBezTo>
                  <a:cubicBezTo>
                    <a:pt x="832431" y="492429"/>
                    <a:pt x="822794" y="499497"/>
                    <a:pt x="813799" y="509776"/>
                  </a:cubicBezTo>
                  <a:cubicBezTo>
                    <a:pt x="804804" y="519414"/>
                    <a:pt x="800950" y="521341"/>
                    <a:pt x="794525" y="536119"/>
                  </a:cubicBezTo>
                  <a:cubicBezTo>
                    <a:pt x="788100" y="550896"/>
                    <a:pt x="800950" y="552823"/>
                    <a:pt x="808659" y="553466"/>
                  </a:cubicBezTo>
                  <a:cubicBezTo>
                    <a:pt x="816369" y="554108"/>
                    <a:pt x="827291" y="543828"/>
                    <a:pt x="834359" y="540616"/>
                  </a:cubicBezTo>
                  <a:cubicBezTo>
                    <a:pt x="841426" y="537404"/>
                    <a:pt x="840784" y="560533"/>
                    <a:pt x="842711" y="570813"/>
                  </a:cubicBezTo>
                  <a:cubicBezTo>
                    <a:pt x="844639" y="581093"/>
                    <a:pt x="840141" y="586232"/>
                    <a:pt x="836929" y="589445"/>
                  </a:cubicBezTo>
                  <a:cubicBezTo>
                    <a:pt x="833716" y="592657"/>
                    <a:pt x="821509" y="611932"/>
                    <a:pt x="811229" y="620927"/>
                  </a:cubicBezTo>
                  <a:cubicBezTo>
                    <a:pt x="800950" y="629922"/>
                    <a:pt x="796452" y="626067"/>
                    <a:pt x="788100" y="632492"/>
                  </a:cubicBezTo>
                  <a:cubicBezTo>
                    <a:pt x="779105" y="638916"/>
                    <a:pt x="746981" y="701880"/>
                    <a:pt x="743768" y="710875"/>
                  </a:cubicBezTo>
                  <a:cubicBezTo>
                    <a:pt x="739913" y="719227"/>
                    <a:pt x="720639" y="722440"/>
                    <a:pt x="711644" y="721797"/>
                  </a:cubicBezTo>
                  <a:cubicBezTo>
                    <a:pt x="702649" y="721155"/>
                    <a:pt x="710359" y="709590"/>
                    <a:pt x="709074" y="707020"/>
                  </a:cubicBezTo>
                  <a:cubicBezTo>
                    <a:pt x="707789" y="704450"/>
                    <a:pt x="666670" y="739787"/>
                    <a:pt x="659602" y="750067"/>
                  </a:cubicBezTo>
                  <a:cubicBezTo>
                    <a:pt x="652535" y="760347"/>
                    <a:pt x="664100" y="759704"/>
                    <a:pt x="673737" y="760989"/>
                  </a:cubicBezTo>
                  <a:cubicBezTo>
                    <a:pt x="683374" y="762274"/>
                    <a:pt x="677592" y="766129"/>
                    <a:pt x="673737" y="777694"/>
                  </a:cubicBezTo>
                  <a:cubicBezTo>
                    <a:pt x="670525" y="786046"/>
                    <a:pt x="661530" y="791828"/>
                    <a:pt x="653177" y="793756"/>
                  </a:cubicBezTo>
                  <a:cubicBezTo>
                    <a:pt x="649965" y="794399"/>
                    <a:pt x="647395" y="794399"/>
                    <a:pt x="644825" y="794399"/>
                  </a:cubicBezTo>
                  <a:cubicBezTo>
                    <a:pt x="635830" y="793756"/>
                    <a:pt x="619768" y="773839"/>
                    <a:pt x="604991" y="751352"/>
                  </a:cubicBezTo>
                  <a:cubicBezTo>
                    <a:pt x="590214" y="728865"/>
                    <a:pt x="583146" y="702523"/>
                    <a:pt x="580576" y="694813"/>
                  </a:cubicBezTo>
                  <a:cubicBezTo>
                    <a:pt x="577364" y="687103"/>
                    <a:pt x="556162" y="686461"/>
                    <a:pt x="549095" y="701880"/>
                  </a:cubicBezTo>
                  <a:cubicBezTo>
                    <a:pt x="541385" y="717300"/>
                    <a:pt x="547167" y="717300"/>
                    <a:pt x="555519" y="723725"/>
                  </a:cubicBezTo>
                  <a:cubicBezTo>
                    <a:pt x="563229" y="730150"/>
                    <a:pt x="556162" y="732077"/>
                    <a:pt x="552307" y="737860"/>
                  </a:cubicBezTo>
                  <a:cubicBezTo>
                    <a:pt x="547809" y="743642"/>
                    <a:pt x="518255" y="762274"/>
                    <a:pt x="502835" y="774481"/>
                  </a:cubicBezTo>
                  <a:cubicBezTo>
                    <a:pt x="487416" y="786689"/>
                    <a:pt x="475851" y="778979"/>
                    <a:pt x="460431" y="782834"/>
                  </a:cubicBezTo>
                  <a:cubicBezTo>
                    <a:pt x="445012" y="786689"/>
                    <a:pt x="444369" y="801466"/>
                    <a:pt x="441157" y="807248"/>
                  </a:cubicBezTo>
                  <a:cubicBezTo>
                    <a:pt x="437944" y="813031"/>
                    <a:pt x="414815" y="822668"/>
                    <a:pt x="388473" y="828450"/>
                  </a:cubicBezTo>
                  <a:cubicBezTo>
                    <a:pt x="362131" y="833590"/>
                    <a:pt x="329364" y="841300"/>
                    <a:pt x="304949" y="847725"/>
                  </a:cubicBezTo>
                  <a:cubicBezTo>
                    <a:pt x="280535" y="854792"/>
                    <a:pt x="263830" y="883062"/>
                    <a:pt x="256763" y="897839"/>
                  </a:cubicBezTo>
                  <a:cubicBezTo>
                    <a:pt x="249695" y="912616"/>
                    <a:pt x="259333" y="910689"/>
                    <a:pt x="265115" y="923538"/>
                  </a:cubicBezTo>
                  <a:cubicBezTo>
                    <a:pt x="270898" y="936388"/>
                    <a:pt x="256763" y="940886"/>
                    <a:pt x="248410" y="942171"/>
                  </a:cubicBezTo>
                  <a:cubicBezTo>
                    <a:pt x="240058" y="943455"/>
                    <a:pt x="209861" y="923538"/>
                    <a:pt x="198296" y="920968"/>
                  </a:cubicBezTo>
                  <a:cubicBezTo>
                    <a:pt x="187374" y="918398"/>
                    <a:pt x="153965" y="930606"/>
                    <a:pt x="142400" y="936388"/>
                  </a:cubicBezTo>
                  <a:cubicBezTo>
                    <a:pt x="140473" y="937673"/>
                    <a:pt x="138545" y="937673"/>
                    <a:pt x="136618" y="938316"/>
                  </a:cubicBezTo>
                  <a:cubicBezTo>
                    <a:pt x="137903" y="929321"/>
                    <a:pt x="135333" y="922896"/>
                    <a:pt x="132763" y="918398"/>
                  </a:cubicBezTo>
                  <a:cubicBezTo>
                    <a:pt x="129550" y="913901"/>
                    <a:pt x="125695" y="909404"/>
                    <a:pt x="125695" y="906191"/>
                  </a:cubicBezTo>
                  <a:cubicBezTo>
                    <a:pt x="125695" y="906191"/>
                    <a:pt x="125695" y="905549"/>
                    <a:pt x="125695" y="905549"/>
                  </a:cubicBezTo>
                  <a:cubicBezTo>
                    <a:pt x="125695" y="905549"/>
                    <a:pt x="125695" y="904906"/>
                    <a:pt x="126338" y="904906"/>
                  </a:cubicBezTo>
                  <a:cubicBezTo>
                    <a:pt x="126980" y="903621"/>
                    <a:pt x="128265" y="902336"/>
                    <a:pt x="129550" y="900409"/>
                  </a:cubicBezTo>
                  <a:cubicBezTo>
                    <a:pt x="130193" y="899766"/>
                    <a:pt x="130193" y="899766"/>
                    <a:pt x="130193" y="899124"/>
                  </a:cubicBezTo>
                  <a:cubicBezTo>
                    <a:pt x="130835" y="898481"/>
                    <a:pt x="131478" y="897196"/>
                    <a:pt x="132120" y="896554"/>
                  </a:cubicBezTo>
                  <a:cubicBezTo>
                    <a:pt x="132120" y="896554"/>
                    <a:pt x="132120" y="896554"/>
                    <a:pt x="132120" y="896554"/>
                  </a:cubicBezTo>
                  <a:cubicBezTo>
                    <a:pt x="134690" y="892699"/>
                    <a:pt x="136618" y="888201"/>
                    <a:pt x="134048" y="884347"/>
                  </a:cubicBezTo>
                  <a:cubicBezTo>
                    <a:pt x="129550" y="875994"/>
                    <a:pt x="127623" y="868927"/>
                    <a:pt x="117343" y="866999"/>
                  </a:cubicBezTo>
                  <a:cubicBezTo>
                    <a:pt x="107063" y="865072"/>
                    <a:pt x="98711" y="859290"/>
                    <a:pt x="98711" y="852865"/>
                  </a:cubicBezTo>
                  <a:cubicBezTo>
                    <a:pt x="98068" y="846440"/>
                    <a:pt x="104493" y="827808"/>
                    <a:pt x="101923" y="818170"/>
                  </a:cubicBezTo>
                  <a:cubicBezTo>
                    <a:pt x="99353" y="808533"/>
                    <a:pt x="94856" y="802751"/>
                    <a:pt x="84576" y="796968"/>
                  </a:cubicBezTo>
                  <a:cubicBezTo>
                    <a:pt x="73654" y="791186"/>
                    <a:pt x="56949" y="773839"/>
                    <a:pt x="51809" y="769984"/>
                  </a:cubicBezTo>
                  <a:cubicBezTo>
                    <a:pt x="46669" y="766129"/>
                    <a:pt x="38317" y="760989"/>
                    <a:pt x="35747" y="752637"/>
                  </a:cubicBezTo>
                  <a:cubicBezTo>
                    <a:pt x="33177" y="744284"/>
                    <a:pt x="31892" y="736575"/>
                    <a:pt x="31892" y="734005"/>
                  </a:cubicBezTo>
                  <a:cubicBezTo>
                    <a:pt x="31892" y="731435"/>
                    <a:pt x="29965" y="726937"/>
                    <a:pt x="31892" y="723725"/>
                  </a:cubicBezTo>
                  <a:cubicBezTo>
                    <a:pt x="33820" y="719870"/>
                    <a:pt x="43457" y="707020"/>
                    <a:pt x="45384" y="705735"/>
                  </a:cubicBezTo>
                  <a:cubicBezTo>
                    <a:pt x="46669" y="705093"/>
                    <a:pt x="57592" y="699953"/>
                    <a:pt x="56949" y="690315"/>
                  </a:cubicBezTo>
                  <a:cubicBezTo>
                    <a:pt x="56307" y="681321"/>
                    <a:pt x="53094" y="667828"/>
                    <a:pt x="49239" y="664616"/>
                  </a:cubicBezTo>
                  <a:cubicBezTo>
                    <a:pt x="44742" y="661404"/>
                    <a:pt x="39602" y="657549"/>
                    <a:pt x="37675" y="656906"/>
                  </a:cubicBezTo>
                  <a:cubicBezTo>
                    <a:pt x="35747" y="656906"/>
                    <a:pt x="28037" y="656264"/>
                    <a:pt x="23540" y="656264"/>
                  </a:cubicBezTo>
                  <a:cubicBezTo>
                    <a:pt x="19042" y="656906"/>
                    <a:pt x="2338" y="654336"/>
                    <a:pt x="1053" y="653051"/>
                  </a:cubicBezTo>
                  <a:cubicBezTo>
                    <a:pt x="-232" y="651766"/>
                    <a:pt x="2338" y="645984"/>
                    <a:pt x="1053" y="640844"/>
                  </a:cubicBezTo>
                  <a:cubicBezTo>
                    <a:pt x="-232" y="635704"/>
                    <a:pt x="-875" y="625424"/>
                    <a:pt x="2338" y="621569"/>
                  </a:cubicBezTo>
                  <a:cubicBezTo>
                    <a:pt x="5550" y="617714"/>
                    <a:pt x="10048" y="614502"/>
                    <a:pt x="15830" y="613217"/>
                  </a:cubicBezTo>
                  <a:cubicBezTo>
                    <a:pt x="21612" y="611932"/>
                    <a:pt x="31250" y="612574"/>
                    <a:pt x="35747" y="609362"/>
                  </a:cubicBezTo>
                  <a:cubicBezTo>
                    <a:pt x="40245" y="606150"/>
                    <a:pt x="59519" y="597155"/>
                    <a:pt x="62089" y="593942"/>
                  </a:cubicBezTo>
                  <a:cubicBezTo>
                    <a:pt x="64659" y="590087"/>
                    <a:pt x="66587" y="583020"/>
                    <a:pt x="64659" y="579165"/>
                  </a:cubicBezTo>
                  <a:cubicBezTo>
                    <a:pt x="62732" y="575310"/>
                    <a:pt x="58234" y="571455"/>
                    <a:pt x="58234" y="565673"/>
                  </a:cubicBezTo>
                  <a:cubicBezTo>
                    <a:pt x="58234" y="559891"/>
                    <a:pt x="58877" y="550896"/>
                    <a:pt x="59519" y="547683"/>
                  </a:cubicBezTo>
                  <a:cubicBezTo>
                    <a:pt x="60162" y="544471"/>
                    <a:pt x="57592" y="543828"/>
                    <a:pt x="64659" y="532906"/>
                  </a:cubicBezTo>
                  <a:cubicBezTo>
                    <a:pt x="71726" y="521984"/>
                    <a:pt x="85861" y="515559"/>
                    <a:pt x="88431" y="510419"/>
                  </a:cubicBezTo>
                  <a:cubicBezTo>
                    <a:pt x="91001" y="505279"/>
                    <a:pt x="90359" y="499497"/>
                    <a:pt x="91644" y="496284"/>
                  </a:cubicBezTo>
                  <a:cubicBezTo>
                    <a:pt x="92928" y="493072"/>
                    <a:pt x="93571" y="491787"/>
                    <a:pt x="97426" y="489859"/>
                  </a:cubicBezTo>
                  <a:cubicBezTo>
                    <a:pt x="101281" y="487932"/>
                    <a:pt x="103208" y="487289"/>
                    <a:pt x="104493" y="484077"/>
                  </a:cubicBezTo>
                  <a:cubicBezTo>
                    <a:pt x="105778" y="480865"/>
                    <a:pt x="104493" y="468015"/>
                    <a:pt x="104493" y="468015"/>
                  </a:cubicBezTo>
                  <a:cubicBezTo>
                    <a:pt x="104493" y="468015"/>
                    <a:pt x="104493" y="436533"/>
                    <a:pt x="104493" y="433963"/>
                  </a:cubicBezTo>
                  <a:cubicBezTo>
                    <a:pt x="103851" y="431393"/>
                    <a:pt x="97426" y="421113"/>
                    <a:pt x="94856" y="415331"/>
                  </a:cubicBezTo>
                  <a:cubicBezTo>
                    <a:pt x="92928" y="410191"/>
                    <a:pt x="90359" y="403766"/>
                    <a:pt x="90359" y="403766"/>
                  </a:cubicBezTo>
                  <a:cubicBezTo>
                    <a:pt x="90359" y="403766"/>
                    <a:pt x="77509" y="387704"/>
                    <a:pt x="72369" y="378067"/>
                  </a:cubicBezTo>
                  <a:cubicBezTo>
                    <a:pt x="66587" y="369072"/>
                    <a:pt x="60162" y="367787"/>
                    <a:pt x="57592" y="356222"/>
                  </a:cubicBezTo>
                  <a:cubicBezTo>
                    <a:pt x="55022" y="344657"/>
                    <a:pt x="54379" y="343372"/>
                    <a:pt x="53737" y="339517"/>
                  </a:cubicBezTo>
                  <a:cubicBezTo>
                    <a:pt x="53094" y="335662"/>
                    <a:pt x="42172" y="325383"/>
                    <a:pt x="38960" y="321528"/>
                  </a:cubicBezTo>
                  <a:cubicBezTo>
                    <a:pt x="35747" y="317673"/>
                    <a:pt x="31892" y="315103"/>
                    <a:pt x="35105" y="311248"/>
                  </a:cubicBezTo>
                  <a:cubicBezTo>
                    <a:pt x="38317" y="307393"/>
                    <a:pt x="42814" y="305466"/>
                    <a:pt x="42814" y="302896"/>
                  </a:cubicBezTo>
                  <a:cubicBezTo>
                    <a:pt x="42814" y="300326"/>
                    <a:pt x="40245" y="294543"/>
                    <a:pt x="40245" y="293258"/>
                  </a:cubicBezTo>
                  <a:cubicBezTo>
                    <a:pt x="40245" y="291973"/>
                    <a:pt x="43457" y="287476"/>
                    <a:pt x="47312" y="284264"/>
                  </a:cubicBezTo>
                  <a:cubicBezTo>
                    <a:pt x="51167" y="281051"/>
                    <a:pt x="65302" y="273984"/>
                    <a:pt x="72369" y="269486"/>
                  </a:cubicBezTo>
                  <a:cubicBezTo>
                    <a:pt x="79436" y="264989"/>
                    <a:pt x="85861" y="259849"/>
                    <a:pt x="90359" y="256637"/>
                  </a:cubicBezTo>
                  <a:cubicBezTo>
                    <a:pt x="94213" y="253424"/>
                    <a:pt x="102566" y="254067"/>
                    <a:pt x="115416" y="259849"/>
                  </a:cubicBezTo>
                  <a:cubicBezTo>
                    <a:pt x="128265" y="265631"/>
                    <a:pt x="143685" y="275269"/>
                    <a:pt x="155892" y="277839"/>
                  </a:cubicBezTo>
                  <a:cubicBezTo>
                    <a:pt x="168742" y="280409"/>
                    <a:pt x="166815" y="282336"/>
                    <a:pt x="184162" y="275269"/>
                  </a:cubicBezTo>
                  <a:cubicBezTo>
                    <a:pt x="202151" y="268201"/>
                    <a:pt x="208576" y="265631"/>
                    <a:pt x="218856" y="260491"/>
                  </a:cubicBezTo>
                  <a:cubicBezTo>
                    <a:pt x="229136" y="255994"/>
                    <a:pt x="245198" y="249569"/>
                    <a:pt x="249695" y="250854"/>
                  </a:cubicBezTo>
                  <a:cubicBezTo>
                    <a:pt x="254835" y="252139"/>
                    <a:pt x="254835" y="262419"/>
                    <a:pt x="269612" y="253424"/>
                  </a:cubicBezTo>
                  <a:cubicBezTo>
                    <a:pt x="284390" y="244429"/>
                    <a:pt x="286960" y="239289"/>
                    <a:pt x="286960" y="236077"/>
                  </a:cubicBezTo>
                  <a:cubicBezTo>
                    <a:pt x="286960" y="233507"/>
                    <a:pt x="299809" y="224512"/>
                    <a:pt x="291457" y="216160"/>
                  </a:cubicBezTo>
                  <a:cubicBezTo>
                    <a:pt x="283105" y="207807"/>
                    <a:pt x="264473" y="202668"/>
                    <a:pt x="263188" y="201383"/>
                  </a:cubicBezTo>
                  <a:cubicBezTo>
                    <a:pt x="261903" y="200098"/>
                    <a:pt x="257405" y="196885"/>
                    <a:pt x="260618" y="191103"/>
                  </a:cubicBezTo>
                  <a:cubicBezTo>
                    <a:pt x="263830" y="185320"/>
                    <a:pt x="269612" y="178896"/>
                    <a:pt x="270898" y="176326"/>
                  </a:cubicBezTo>
                  <a:cubicBezTo>
                    <a:pt x="272182" y="173756"/>
                    <a:pt x="280535" y="167973"/>
                    <a:pt x="284390" y="166046"/>
                  </a:cubicBezTo>
                  <a:cubicBezTo>
                    <a:pt x="288887" y="164761"/>
                    <a:pt x="299809" y="168616"/>
                    <a:pt x="302379" y="160263"/>
                  </a:cubicBezTo>
                  <a:cubicBezTo>
                    <a:pt x="304949" y="151911"/>
                    <a:pt x="308162" y="148056"/>
                    <a:pt x="313302" y="143559"/>
                  </a:cubicBezTo>
                  <a:cubicBezTo>
                    <a:pt x="318442" y="139061"/>
                    <a:pt x="333861" y="133921"/>
                    <a:pt x="337074" y="132636"/>
                  </a:cubicBezTo>
                  <a:cubicBezTo>
                    <a:pt x="340286" y="131352"/>
                    <a:pt x="347353" y="126212"/>
                    <a:pt x="350566" y="120429"/>
                  </a:cubicBezTo>
                  <a:cubicBezTo>
                    <a:pt x="353136" y="116574"/>
                    <a:pt x="357633" y="114004"/>
                    <a:pt x="358276" y="111434"/>
                  </a:cubicBezTo>
                  <a:cubicBezTo>
                    <a:pt x="358918" y="111434"/>
                    <a:pt x="359561" y="110792"/>
                    <a:pt x="360203" y="110792"/>
                  </a:cubicBezTo>
                  <a:cubicBezTo>
                    <a:pt x="365986" y="108864"/>
                    <a:pt x="370483" y="106295"/>
                    <a:pt x="375623" y="103725"/>
                  </a:cubicBezTo>
                  <a:cubicBezTo>
                    <a:pt x="380120" y="101155"/>
                    <a:pt x="384618" y="101155"/>
                    <a:pt x="390400" y="101797"/>
                  </a:cubicBezTo>
                  <a:cubicBezTo>
                    <a:pt x="405177" y="103082"/>
                    <a:pt x="418027" y="106937"/>
                    <a:pt x="432162" y="101155"/>
                  </a:cubicBezTo>
                  <a:cubicBezTo>
                    <a:pt x="445012" y="95372"/>
                    <a:pt x="457219" y="87020"/>
                    <a:pt x="467499" y="78025"/>
                  </a:cubicBezTo>
                  <a:cubicBezTo>
                    <a:pt x="484846" y="63248"/>
                    <a:pt x="500908" y="47186"/>
                    <a:pt x="520825" y="34978"/>
                  </a:cubicBezTo>
                  <a:cubicBezTo>
                    <a:pt x="525965" y="31766"/>
                    <a:pt x="531747" y="29196"/>
                    <a:pt x="538172" y="30481"/>
                  </a:cubicBezTo>
                  <a:cubicBezTo>
                    <a:pt x="551022" y="33051"/>
                    <a:pt x="552949" y="50398"/>
                    <a:pt x="563872" y="56823"/>
                  </a:cubicBezTo>
                  <a:cubicBezTo>
                    <a:pt x="578006" y="65818"/>
                    <a:pt x="601136" y="53610"/>
                    <a:pt x="613343" y="65175"/>
                  </a:cubicBezTo>
                  <a:cubicBezTo>
                    <a:pt x="615913" y="67103"/>
                    <a:pt x="617198" y="70315"/>
                    <a:pt x="617841" y="72885"/>
                  </a:cubicBezTo>
                  <a:cubicBezTo>
                    <a:pt x="621696" y="82522"/>
                    <a:pt x="620411" y="93445"/>
                    <a:pt x="618483" y="103082"/>
                  </a:cubicBezTo>
                  <a:cubicBezTo>
                    <a:pt x="615271" y="119144"/>
                    <a:pt x="610773" y="134564"/>
                    <a:pt x="603706" y="149341"/>
                  </a:cubicBezTo>
                  <a:cubicBezTo>
                    <a:pt x="599208" y="158978"/>
                    <a:pt x="594069" y="168616"/>
                    <a:pt x="595354" y="179538"/>
                  </a:cubicBezTo>
                  <a:cubicBezTo>
                    <a:pt x="597281" y="197528"/>
                    <a:pt x="619126" y="209735"/>
                    <a:pt x="638400" y="207807"/>
                  </a:cubicBezTo>
                  <a:cubicBezTo>
                    <a:pt x="657675" y="205880"/>
                    <a:pt x="674380" y="194315"/>
                    <a:pt x="688514" y="180823"/>
                  </a:cubicBezTo>
                  <a:cubicBezTo>
                    <a:pt x="693012" y="176326"/>
                    <a:pt x="697509" y="171828"/>
                    <a:pt x="703934" y="168616"/>
                  </a:cubicBezTo>
                  <a:cubicBezTo>
                    <a:pt x="711001" y="165403"/>
                    <a:pt x="718069" y="166688"/>
                    <a:pt x="725136" y="167973"/>
                  </a:cubicBezTo>
                  <a:cubicBezTo>
                    <a:pt x="727706" y="168616"/>
                    <a:pt x="749551" y="173756"/>
                    <a:pt x="750836" y="169901"/>
                  </a:cubicBezTo>
                  <a:cubicBezTo>
                    <a:pt x="752120" y="164118"/>
                    <a:pt x="755975" y="158336"/>
                    <a:pt x="760473" y="154481"/>
                  </a:cubicBezTo>
                  <a:cubicBezTo>
                    <a:pt x="763685" y="151911"/>
                    <a:pt x="768183" y="149341"/>
                    <a:pt x="769468" y="145486"/>
                  </a:cubicBezTo>
                  <a:cubicBezTo>
                    <a:pt x="770753" y="141631"/>
                    <a:pt x="769468" y="137776"/>
                    <a:pt x="767540" y="134564"/>
                  </a:cubicBezTo>
                  <a:cubicBezTo>
                    <a:pt x="765613" y="131352"/>
                    <a:pt x="762400" y="128139"/>
                    <a:pt x="759830" y="124927"/>
                  </a:cubicBezTo>
                  <a:cubicBezTo>
                    <a:pt x="755975" y="119144"/>
                    <a:pt x="754048" y="112077"/>
                    <a:pt x="752763" y="105009"/>
                  </a:cubicBezTo>
                  <a:cubicBezTo>
                    <a:pt x="750836" y="95372"/>
                    <a:pt x="748908" y="85092"/>
                    <a:pt x="750193" y="75455"/>
                  </a:cubicBezTo>
                  <a:cubicBezTo>
                    <a:pt x="751478" y="69673"/>
                    <a:pt x="752763" y="61963"/>
                    <a:pt x="746981" y="58750"/>
                  </a:cubicBezTo>
                  <a:cubicBezTo>
                    <a:pt x="744411" y="57465"/>
                    <a:pt x="741198" y="57465"/>
                    <a:pt x="738628" y="56823"/>
                  </a:cubicBezTo>
                  <a:cubicBezTo>
                    <a:pt x="732846" y="54896"/>
                    <a:pt x="730276" y="48471"/>
                    <a:pt x="731561" y="42688"/>
                  </a:cubicBezTo>
                  <a:cubicBezTo>
                    <a:pt x="732846" y="36906"/>
                    <a:pt x="736701" y="32408"/>
                    <a:pt x="741198" y="28554"/>
                  </a:cubicBezTo>
                  <a:cubicBezTo>
                    <a:pt x="758545" y="13776"/>
                    <a:pt x="782317" y="7351"/>
                    <a:pt x="804804" y="1569"/>
                  </a:cubicBezTo>
                  <a:cubicBezTo>
                    <a:pt x="811872" y="-358"/>
                    <a:pt x="822152" y="-1643"/>
                    <a:pt x="826007" y="4782"/>
                  </a:cubicBezTo>
                  <a:cubicBezTo>
                    <a:pt x="827934" y="7351"/>
                    <a:pt x="827934" y="11206"/>
                    <a:pt x="827934" y="14419"/>
                  </a:cubicBezTo>
                  <a:cubicBezTo>
                    <a:pt x="827934" y="19559"/>
                    <a:pt x="827291" y="25341"/>
                    <a:pt x="827291" y="31123"/>
                  </a:cubicBezTo>
                  <a:cubicBezTo>
                    <a:pt x="827291" y="35621"/>
                    <a:pt x="826649" y="40118"/>
                    <a:pt x="829219" y="43973"/>
                  </a:cubicBezTo>
                  <a:cubicBezTo>
                    <a:pt x="833716" y="51683"/>
                    <a:pt x="844639" y="52968"/>
                    <a:pt x="853633" y="52326"/>
                  </a:cubicBezTo>
                  <a:cubicBezTo>
                    <a:pt x="863271" y="52326"/>
                    <a:pt x="873551" y="51683"/>
                    <a:pt x="883188" y="48471"/>
                  </a:cubicBezTo>
                  <a:cubicBezTo>
                    <a:pt x="892825" y="45258"/>
                    <a:pt x="901178" y="39476"/>
                    <a:pt x="906317" y="31766"/>
                  </a:cubicBezTo>
                  <a:cubicBezTo>
                    <a:pt x="911457" y="22771"/>
                    <a:pt x="913385" y="11206"/>
                    <a:pt x="922380" y="6066"/>
                  </a:cubicBezTo>
                  <a:cubicBezTo>
                    <a:pt x="926235" y="4139"/>
                    <a:pt x="930089" y="3497"/>
                    <a:pt x="933944" y="3497"/>
                  </a:cubicBezTo>
                  <a:cubicBezTo>
                    <a:pt x="939084" y="2854"/>
                    <a:pt x="945509" y="2854"/>
                    <a:pt x="948722" y="7351"/>
                  </a:cubicBezTo>
                  <a:cubicBezTo>
                    <a:pt x="950007" y="9279"/>
                    <a:pt x="950007" y="11849"/>
                    <a:pt x="950007" y="13776"/>
                  </a:cubicBezTo>
                  <a:cubicBezTo>
                    <a:pt x="950007" y="27269"/>
                    <a:pt x="946794" y="40761"/>
                    <a:pt x="942939" y="53610"/>
                  </a:cubicBezTo>
                  <a:cubicBezTo>
                    <a:pt x="941012" y="61320"/>
                    <a:pt x="938442" y="69030"/>
                    <a:pt x="932017" y="74170"/>
                  </a:cubicBezTo>
                  <a:cubicBezTo>
                    <a:pt x="928162" y="77383"/>
                    <a:pt x="923022" y="78025"/>
                    <a:pt x="917882" y="77383"/>
                  </a:cubicBezTo>
                  <a:cubicBezTo>
                    <a:pt x="914027" y="76740"/>
                    <a:pt x="914027" y="76098"/>
                    <a:pt x="912100" y="78668"/>
                  </a:cubicBezTo>
                  <a:cubicBezTo>
                    <a:pt x="910815" y="80595"/>
                    <a:pt x="909530" y="83165"/>
                    <a:pt x="908887" y="85735"/>
                  </a:cubicBezTo>
                  <a:cubicBezTo>
                    <a:pt x="905675" y="95372"/>
                    <a:pt x="905032" y="105652"/>
                    <a:pt x="906960" y="115932"/>
                  </a:cubicBezTo>
                  <a:cubicBezTo>
                    <a:pt x="910172" y="131352"/>
                    <a:pt x="919167" y="144844"/>
                    <a:pt x="930089" y="156408"/>
                  </a:cubicBezTo>
                  <a:cubicBezTo>
                    <a:pt x="932017" y="158336"/>
                    <a:pt x="933944" y="160263"/>
                    <a:pt x="935872" y="160906"/>
                  </a:cubicBezTo>
                  <a:cubicBezTo>
                    <a:pt x="938442" y="161548"/>
                    <a:pt x="941012" y="161548"/>
                    <a:pt x="943582" y="161548"/>
                  </a:cubicBezTo>
                  <a:cubicBezTo>
                    <a:pt x="948722" y="162191"/>
                    <a:pt x="953219" y="166688"/>
                    <a:pt x="955789" y="171186"/>
                  </a:cubicBezTo>
                  <a:cubicBezTo>
                    <a:pt x="958359" y="175683"/>
                    <a:pt x="959644" y="180823"/>
                    <a:pt x="962214" y="185320"/>
                  </a:cubicBezTo>
                  <a:cubicBezTo>
                    <a:pt x="968639" y="199455"/>
                    <a:pt x="980203" y="211020"/>
                    <a:pt x="989198" y="223870"/>
                  </a:cubicBezTo>
                  <a:cubicBezTo>
                    <a:pt x="998193" y="237362"/>
                    <a:pt x="1003975" y="252782"/>
                    <a:pt x="1005261" y="268201"/>
                  </a:cubicBezTo>
                  <a:cubicBezTo>
                    <a:pt x="1005903" y="272699"/>
                    <a:pt x="1005903" y="276554"/>
                    <a:pt x="1007830" y="281051"/>
                  </a:cubicBezTo>
                  <a:cubicBezTo>
                    <a:pt x="1009758" y="284906"/>
                    <a:pt x="1013613" y="288118"/>
                    <a:pt x="1018110" y="288118"/>
                  </a:cubicBezTo>
                  <a:cubicBezTo>
                    <a:pt x="1023893" y="288118"/>
                    <a:pt x="1027748" y="282979"/>
                    <a:pt x="1032245" y="279766"/>
                  </a:cubicBezTo>
                  <a:cubicBezTo>
                    <a:pt x="1033530" y="279124"/>
                    <a:pt x="1035457" y="277839"/>
                    <a:pt x="1036742" y="277839"/>
                  </a:cubicBezTo>
                  <a:cubicBezTo>
                    <a:pt x="1039955" y="277839"/>
                    <a:pt x="1042525" y="281051"/>
                    <a:pt x="1043810" y="284264"/>
                  </a:cubicBezTo>
                  <a:cubicBezTo>
                    <a:pt x="1049592" y="297113"/>
                    <a:pt x="1052162" y="313175"/>
                    <a:pt x="1042525" y="324098"/>
                  </a:cubicBezTo>
                  <a:cubicBezTo>
                    <a:pt x="1039955" y="327310"/>
                    <a:pt x="1036100" y="329880"/>
                    <a:pt x="1032887" y="332450"/>
                  </a:cubicBezTo>
                  <a:cubicBezTo>
                    <a:pt x="1023250" y="340802"/>
                    <a:pt x="1018753" y="353010"/>
                    <a:pt x="1018753" y="364574"/>
                  </a:cubicBezTo>
                  <a:cubicBezTo>
                    <a:pt x="1018753" y="369072"/>
                    <a:pt x="1018753" y="378067"/>
                    <a:pt x="1022608" y="381279"/>
                  </a:cubicBezTo>
                  <a:cubicBezTo>
                    <a:pt x="1027105" y="385134"/>
                    <a:pt x="1034815" y="381922"/>
                    <a:pt x="1038027" y="378709"/>
                  </a:cubicBezTo>
                  <a:cubicBezTo>
                    <a:pt x="1039312" y="378067"/>
                    <a:pt x="1039955" y="376782"/>
                    <a:pt x="1041240" y="376139"/>
                  </a:cubicBezTo>
                  <a:cubicBezTo>
                    <a:pt x="1043810" y="377424"/>
                    <a:pt x="1045095" y="378067"/>
                    <a:pt x="1046380" y="378709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 21">
              <a:extLst>
                <a:ext uri="{FF2B5EF4-FFF2-40B4-BE49-F238E27FC236}">
                  <a16:creationId xmlns:a16="http://schemas.microsoft.com/office/drawing/2014/main" id="{1C8D0881-E664-DA53-3333-560C3BD58BD4}"/>
                </a:ext>
              </a:extLst>
            </p:cNvPr>
            <p:cNvSpPr/>
            <p:nvPr/>
          </p:nvSpPr>
          <p:spPr>
            <a:xfrm>
              <a:off x="2608595" y="2432416"/>
              <a:ext cx="36621" cy="32867"/>
            </a:xfrm>
            <a:custGeom>
              <a:avLst/>
              <a:gdLst>
                <a:gd name="connsiteX0" fmla="*/ 13492 w 36621"/>
                <a:gd name="connsiteY0" fmla="*/ 5241 h 32867"/>
                <a:gd name="connsiteX1" fmla="*/ 21202 w 36621"/>
                <a:gd name="connsiteY1" fmla="*/ 101 h 32867"/>
                <a:gd name="connsiteX2" fmla="*/ 31482 w 36621"/>
                <a:gd name="connsiteY2" fmla="*/ 3956 h 32867"/>
                <a:gd name="connsiteX3" fmla="*/ 36622 w 36621"/>
                <a:gd name="connsiteY3" fmla="*/ 17448 h 32867"/>
                <a:gd name="connsiteX4" fmla="*/ 35979 w 36621"/>
                <a:gd name="connsiteY4" fmla="*/ 21945 h 32867"/>
                <a:gd name="connsiteX5" fmla="*/ 24414 w 36621"/>
                <a:gd name="connsiteY5" fmla="*/ 30298 h 32867"/>
                <a:gd name="connsiteX6" fmla="*/ 21845 w 36621"/>
                <a:gd name="connsiteY6" fmla="*/ 32225 h 32867"/>
                <a:gd name="connsiteX7" fmla="*/ 18632 w 36621"/>
                <a:gd name="connsiteY7" fmla="*/ 32867 h 32867"/>
                <a:gd name="connsiteX8" fmla="*/ 6425 w 36621"/>
                <a:gd name="connsiteY8" fmla="*/ 29655 h 32867"/>
                <a:gd name="connsiteX9" fmla="*/ 0 w 36621"/>
                <a:gd name="connsiteY9" fmla="*/ 19375 h 32867"/>
                <a:gd name="connsiteX10" fmla="*/ 2570 w 36621"/>
                <a:gd name="connsiteY10" fmla="*/ 11023 h 32867"/>
                <a:gd name="connsiteX11" fmla="*/ 5782 w 36621"/>
                <a:gd name="connsiteY11" fmla="*/ 7168 h 32867"/>
                <a:gd name="connsiteX12" fmla="*/ 13492 w 36621"/>
                <a:gd name="connsiteY12" fmla="*/ 5241 h 3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621" h="32867">
                  <a:moveTo>
                    <a:pt x="13492" y="5241"/>
                  </a:moveTo>
                  <a:cubicBezTo>
                    <a:pt x="16062" y="3956"/>
                    <a:pt x="17990" y="743"/>
                    <a:pt x="21202" y="101"/>
                  </a:cubicBezTo>
                  <a:cubicBezTo>
                    <a:pt x="24414" y="-542"/>
                    <a:pt x="29554" y="2028"/>
                    <a:pt x="31482" y="3956"/>
                  </a:cubicBezTo>
                  <a:cubicBezTo>
                    <a:pt x="34694" y="7168"/>
                    <a:pt x="36622" y="12950"/>
                    <a:pt x="36622" y="17448"/>
                  </a:cubicBezTo>
                  <a:cubicBezTo>
                    <a:pt x="36622" y="18733"/>
                    <a:pt x="36622" y="20660"/>
                    <a:pt x="35979" y="21945"/>
                  </a:cubicBezTo>
                  <a:cubicBezTo>
                    <a:pt x="34052" y="25800"/>
                    <a:pt x="28269" y="27085"/>
                    <a:pt x="24414" y="30298"/>
                  </a:cubicBezTo>
                  <a:cubicBezTo>
                    <a:pt x="23772" y="30940"/>
                    <a:pt x="22487" y="32225"/>
                    <a:pt x="21845" y="32225"/>
                  </a:cubicBezTo>
                  <a:cubicBezTo>
                    <a:pt x="20560" y="32867"/>
                    <a:pt x="19917" y="32867"/>
                    <a:pt x="18632" y="32867"/>
                  </a:cubicBezTo>
                  <a:cubicBezTo>
                    <a:pt x="14135" y="32867"/>
                    <a:pt x="9637" y="32225"/>
                    <a:pt x="6425" y="29655"/>
                  </a:cubicBezTo>
                  <a:cubicBezTo>
                    <a:pt x="2570" y="27085"/>
                    <a:pt x="642" y="23230"/>
                    <a:pt x="0" y="19375"/>
                  </a:cubicBezTo>
                  <a:cubicBezTo>
                    <a:pt x="0" y="16805"/>
                    <a:pt x="1285" y="13593"/>
                    <a:pt x="2570" y="11023"/>
                  </a:cubicBezTo>
                  <a:cubicBezTo>
                    <a:pt x="3212" y="9738"/>
                    <a:pt x="3855" y="8453"/>
                    <a:pt x="5782" y="7168"/>
                  </a:cubicBezTo>
                  <a:cubicBezTo>
                    <a:pt x="7710" y="5883"/>
                    <a:pt x="10922" y="6526"/>
                    <a:pt x="13492" y="5241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 23">
              <a:extLst>
                <a:ext uri="{FF2B5EF4-FFF2-40B4-BE49-F238E27FC236}">
                  <a16:creationId xmlns:a16="http://schemas.microsoft.com/office/drawing/2014/main" id="{23AA9BCD-11FF-0B4F-AA96-5A09F268DD17}"/>
                </a:ext>
              </a:extLst>
            </p:cNvPr>
            <p:cNvSpPr/>
            <p:nvPr/>
          </p:nvSpPr>
          <p:spPr>
            <a:xfrm>
              <a:off x="2608595" y="2432416"/>
              <a:ext cx="36621" cy="32867"/>
            </a:xfrm>
            <a:custGeom>
              <a:avLst/>
              <a:gdLst>
                <a:gd name="connsiteX0" fmla="*/ 13492 w 36621"/>
                <a:gd name="connsiteY0" fmla="*/ 5241 h 32867"/>
                <a:gd name="connsiteX1" fmla="*/ 21202 w 36621"/>
                <a:gd name="connsiteY1" fmla="*/ 101 h 32867"/>
                <a:gd name="connsiteX2" fmla="*/ 31482 w 36621"/>
                <a:gd name="connsiteY2" fmla="*/ 3956 h 32867"/>
                <a:gd name="connsiteX3" fmla="*/ 36622 w 36621"/>
                <a:gd name="connsiteY3" fmla="*/ 17448 h 32867"/>
                <a:gd name="connsiteX4" fmla="*/ 35979 w 36621"/>
                <a:gd name="connsiteY4" fmla="*/ 21945 h 32867"/>
                <a:gd name="connsiteX5" fmla="*/ 24414 w 36621"/>
                <a:gd name="connsiteY5" fmla="*/ 30298 h 32867"/>
                <a:gd name="connsiteX6" fmla="*/ 21845 w 36621"/>
                <a:gd name="connsiteY6" fmla="*/ 32225 h 32867"/>
                <a:gd name="connsiteX7" fmla="*/ 18632 w 36621"/>
                <a:gd name="connsiteY7" fmla="*/ 32867 h 32867"/>
                <a:gd name="connsiteX8" fmla="*/ 6425 w 36621"/>
                <a:gd name="connsiteY8" fmla="*/ 29655 h 32867"/>
                <a:gd name="connsiteX9" fmla="*/ 0 w 36621"/>
                <a:gd name="connsiteY9" fmla="*/ 19375 h 32867"/>
                <a:gd name="connsiteX10" fmla="*/ 2570 w 36621"/>
                <a:gd name="connsiteY10" fmla="*/ 11023 h 32867"/>
                <a:gd name="connsiteX11" fmla="*/ 5782 w 36621"/>
                <a:gd name="connsiteY11" fmla="*/ 7168 h 32867"/>
                <a:gd name="connsiteX12" fmla="*/ 13492 w 36621"/>
                <a:gd name="connsiteY12" fmla="*/ 5241 h 3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621" h="32867">
                  <a:moveTo>
                    <a:pt x="13492" y="5241"/>
                  </a:moveTo>
                  <a:cubicBezTo>
                    <a:pt x="16062" y="3956"/>
                    <a:pt x="17990" y="743"/>
                    <a:pt x="21202" y="101"/>
                  </a:cubicBezTo>
                  <a:cubicBezTo>
                    <a:pt x="24414" y="-542"/>
                    <a:pt x="29554" y="2028"/>
                    <a:pt x="31482" y="3956"/>
                  </a:cubicBezTo>
                  <a:cubicBezTo>
                    <a:pt x="34694" y="7168"/>
                    <a:pt x="36622" y="12950"/>
                    <a:pt x="36622" y="17448"/>
                  </a:cubicBezTo>
                  <a:cubicBezTo>
                    <a:pt x="36622" y="18733"/>
                    <a:pt x="36622" y="20660"/>
                    <a:pt x="35979" y="21945"/>
                  </a:cubicBezTo>
                  <a:cubicBezTo>
                    <a:pt x="34052" y="25800"/>
                    <a:pt x="28269" y="27085"/>
                    <a:pt x="24414" y="30298"/>
                  </a:cubicBezTo>
                  <a:cubicBezTo>
                    <a:pt x="23772" y="30940"/>
                    <a:pt x="22487" y="32225"/>
                    <a:pt x="21845" y="32225"/>
                  </a:cubicBezTo>
                  <a:cubicBezTo>
                    <a:pt x="20560" y="32867"/>
                    <a:pt x="19917" y="32867"/>
                    <a:pt x="18632" y="32867"/>
                  </a:cubicBezTo>
                  <a:cubicBezTo>
                    <a:pt x="14135" y="32867"/>
                    <a:pt x="9637" y="32225"/>
                    <a:pt x="6425" y="29655"/>
                  </a:cubicBezTo>
                  <a:cubicBezTo>
                    <a:pt x="2570" y="27085"/>
                    <a:pt x="642" y="23230"/>
                    <a:pt x="0" y="19375"/>
                  </a:cubicBezTo>
                  <a:cubicBezTo>
                    <a:pt x="0" y="16805"/>
                    <a:pt x="1285" y="13593"/>
                    <a:pt x="2570" y="11023"/>
                  </a:cubicBezTo>
                  <a:cubicBezTo>
                    <a:pt x="3212" y="9738"/>
                    <a:pt x="3855" y="8453"/>
                    <a:pt x="5782" y="7168"/>
                  </a:cubicBezTo>
                  <a:cubicBezTo>
                    <a:pt x="7710" y="5883"/>
                    <a:pt x="10922" y="6526"/>
                    <a:pt x="13492" y="5241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 24">
              <a:extLst>
                <a:ext uri="{FF2B5EF4-FFF2-40B4-BE49-F238E27FC236}">
                  <a16:creationId xmlns:a16="http://schemas.microsoft.com/office/drawing/2014/main" id="{3FEC6617-94EC-622E-F1F0-53B72B1A610D}"/>
                </a:ext>
              </a:extLst>
            </p:cNvPr>
            <p:cNvSpPr/>
            <p:nvPr/>
          </p:nvSpPr>
          <p:spPr>
            <a:xfrm>
              <a:off x="2546817" y="2419827"/>
              <a:ext cx="33509" cy="36727"/>
            </a:xfrm>
            <a:custGeom>
              <a:avLst/>
              <a:gdLst>
                <a:gd name="connsiteX0" fmla="*/ 20017 w 33509"/>
                <a:gd name="connsiteY0" fmla="*/ 1767 h 36727"/>
                <a:gd name="connsiteX1" fmla="*/ 23229 w 33509"/>
                <a:gd name="connsiteY1" fmla="*/ 482 h 36727"/>
                <a:gd name="connsiteX2" fmla="*/ 28369 w 33509"/>
                <a:gd name="connsiteY2" fmla="*/ 482 h 36727"/>
                <a:gd name="connsiteX3" fmla="*/ 31582 w 33509"/>
                <a:gd name="connsiteY3" fmla="*/ 1124 h 36727"/>
                <a:gd name="connsiteX4" fmla="*/ 32867 w 33509"/>
                <a:gd name="connsiteY4" fmla="*/ 4337 h 36727"/>
                <a:gd name="connsiteX5" fmla="*/ 33509 w 33509"/>
                <a:gd name="connsiteY5" fmla="*/ 16544 h 36727"/>
                <a:gd name="connsiteX6" fmla="*/ 32867 w 33509"/>
                <a:gd name="connsiteY6" fmla="*/ 21041 h 36727"/>
                <a:gd name="connsiteX7" fmla="*/ 31582 w 33509"/>
                <a:gd name="connsiteY7" fmla="*/ 23611 h 36727"/>
                <a:gd name="connsiteX8" fmla="*/ 28369 w 33509"/>
                <a:gd name="connsiteY8" fmla="*/ 28751 h 36727"/>
                <a:gd name="connsiteX9" fmla="*/ 25157 w 33509"/>
                <a:gd name="connsiteY9" fmla="*/ 32606 h 36727"/>
                <a:gd name="connsiteX10" fmla="*/ 17447 w 33509"/>
                <a:gd name="connsiteY10" fmla="*/ 35819 h 36727"/>
                <a:gd name="connsiteX11" fmla="*/ 11665 w 33509"/>
                <a:gd name="connsiteY11" fmla="*/ 36461 h 36727"/>
                <a:gd name="connsiteX12" fmla="*/ 8452 w 33509"/>
                <a:gd name="connsiteY12" fmla="*/ 35176 h 36727"/>
                <a:gd name="connsiteX13" fmla="*/ 1385 w 33509"/>
                <a:gd name="connsiteY13" fmla="*/ 24896 h 36727"/>
                <a:gd name="connsiteX14" fmla="*/ 2670 w 33509"/>
                <a:gd name="connsiteY14" fmla="*/ 10762 h 36727"/>
                <a:gd name="connsiteX15" fmla="*/ 100 w 33509"/>
                <a:gd name="connsiteY15" fmla="*/ 6264 h 36727"/>
                <a:gd name="connsiteX16" fmla="*/ 4597 w 33509"/>
                <a:gd name="connsiteY16" fmla="*/ 1124 h 36727"/>
                <a:gd name="connsiteX17" fmla="*/ 12307 w 33509"/>
                <a:gd name="connsiteY17" fmla="*/ 1767 h 36727"/>
                <a:gd name="connsiteX18" fmla="*/ 20017 w 33509"/>
                <a:gd name="connsiteY18" fmla="*/ 176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509" h="36727">
                  <a:moveTo>
                    <a:pt x="20017" y="1767"/>
                  </a:moveTo>
                  <a:cubicBezTo>
                    <a:pt x="21302" y="1124"/>
                    <a:pt x="21944" y="482"/>
                    <a:pt x="23229" y="482"/>
                  </a:cubicBezTo>
                  <a:cubicBezTo>
                    <a:pt x="25157" y="-161"/>
                    <a:pt x="26442" y="-161"/>
                    <a:pt x="28369" y="482"/>
                  </a:cubicBezTo>
                  <a:cubicBezTo>
                    <a:pt x="29654" y="482"/>
                    <a:pt x="30297" y="482"/>
                    <a:pt x="31582" y="1124"/>
                  </a:cubicBezTo>
                  <a:cubicBezTo>
                    <a:pt x="32224" y="1767"/>
                    <a:pt x="32867" y="3052"/>
                    <a:pt x="32867" y="4337"/>
                  </a:cubicBezTo>
                  <a:cubicBezTo>
                    <a:pt x="32867" y="8192"/>
                    <a:pt x="32867" y="12689"/>
                    <a:pt x="33509" y="16544"/>
                  </a:cubicBezTo>
                  <a:cubicBezTo>
                    <a:pt x="33509" y="17829"/>
                    <a:pt x="33509" y="19756"/>
                    <a:pt x="32867" y="21041"/>
                  </a:cubicBezTo>
                  <a:cubicBezTo>
                    <a:pt x="32224" y="22326"/>
                    <a:pt x="32224" y="22969"/>
                    <a:pt x="31582" y="23611"/>
                  </a:cubicBezTo>
                  <a:cubicBezTo>
                    <a:pt x="30297" y="25539"/>
                    <a:pt x="29654" y="26824"/>
                    <a:pt x="28369" y="28751"/>
                  </a:cubicBezTo>
                  <a:cubicBezTo>
                    <a:pt x="27727" y="30036"/>
                    <a:pt x="26442" y="31321"/>
                    <a:pt x="25157" y="32606"/>
                  </a:cubicBezTo>
                  <a:cubicBezTo>
                    <a:pt x="23229" y="34534"/>
                    <a:pt x="20017" y="35176"/>
                    <a:pt x="17447" y="35819"/>
                  </a:cubicBezTo>
                  <a:cubicBezTo>
                    <a:pt x="15520" y="36461"/>
                    <a:pt x="13592" y="37104"/>
                    <a:pt x="11665" y="36461"/>
                  </a:cubicBezTo>
                  <a:cubicBezTo>
                    <a:pt x="10380" y="36461"/>
                    <a:pt x="9095" y="35819"/>
                    <a:pt x="8452" y="35176"/>
                  </a:cubicBezTo>
                  <a:cubicBezTo>
                    <a:pt x="4597" y="32606"/>
                    <a:pt x="1385" y="29394"/>
                    <a:pt x="1385" y="24896"/>
                  </a:cubicBezTo>
                  <a:cubicBezTo>
                    <a:pt x="1385" y="20399"/>
                    <a:pt x="5240" y="15259"/>
                    <a:pt x="2670" y="10762"/>
                  </a:cubicBezTo>
                  <a:cubicBezTo>
                    <a:pt x="2027" y="9477"/>
                    <a:pt x="742" y="8192"/>
                    <a:pt x="100" y="6264"/>
                  </a:cubicBezTo>
                  <a:cubicBezTo>
                    <a:pt x="-543" y="3694"/>
                    <a:pt x="2027" y="1767"/>
                    <a:pt x="4597" y="1124"/>
                  </a:cubicBezTo>
                  <a:cubicBezTo>
                    <a:pt x="7167" y="482"/>
                    <a:pt x="9737" y="1124"/>
                    <a:pt x="12307" y="1767"/>
                  </a:cubicBezTo>
                  <a:cubicBezTo>
                    <a:pt x="14877" y="1767"/>
                    <a:pt x="17447" y="2409"/>
                    <a:pt x="20017" y="1767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 25">
              <a:extLst>
                <a:ext uri="{FF2B5EF4-FFF2-40B4-BE49-F238E27FC236}">
                  <a16:creationId xmlns:a16="http://schemas.microsoft.com/office/drawing/2014/main" id="{C117B25C-FF30-12BE-844F-BDC83307FC20}"/>
                </a:ext>
              </a:extLst>
            </p:cNvPr>
            <p:cNvSpPr/>
            <p:nvPr/>
          </p:nvSpPr>
          <p:spPr>
            <a:xfrm>
              <a:off x="2546817" y="2419827"/>
              <a:ext cx="33509" cy="36727"/>
            </a:xfrm>
            <a:custGeom>
              <a:avLst/>
              <a:gdLst>
                <a:gd name="connsiteX0" fmla="*/ 20017 w 33509"/>
                <a:gd name="connsiteY0" fmla="*/ 1767 h 36727"/>
                <a:gd name="connsiteX1" fmla="*/ 23229 w 33509"/>
                <a:gd name="connsiteY1" fmla="*/ 482 h 36727"/>
                <a:gd name="connsiteX2" fmla="*/ 28369 w 33509"/>
                <a:gd name="connsiteY2" fmla="*/ 482 h 36727"/>
                <a:gd name="connsiteX3" fmla="*/ 31582 w 33509"/>
                <a:gd name="connsiteY3" fmla="*/ 1124 h 36727"/>
                <a:gd name="connsiteX4" fmla="*/ 32867 w 33509"/>
                <a:gd name="connsiteY4" fmla="*/ 4337 h 36727"/>
                <a:gd name="connsiteX5" fmla="*/ 33509 w 33509"/>
                <a:gd name="connsiteY5" fmla="*/ 16544 h 36727"/>
                <a:gd name="connsiteX6" fmla="*/ 32867 w 33509"/>
                <a:gd name="connsiteY6" fmla="*/ 21041 h 36727"/>
                <a:gd name="connsiteX7" fmla="*/ 31582 w 33509"/>
                <a:gd name="connsiteY7" fmla="*/ 23611 h 36727"/>
                <a:gd name="connsiteX8" fmla="*/ 28369 w 33509"/>
                <a:gd name="connsiteY8" fmla="*/ 28751 h 36727"/>
                <a:gd name="connsiteX9" fmla="*/ 25157 w 33509"/>
                <a:gd name="connsiteY9" fmla="*/ 32606 h 36727"/>
                <a:gd name="connsiteX10" fmla="*/ 17447 w 33509"/>
                <a:gd name="connsiteY10" fmla="*/ 35819 h 36727"/>
                <a:gd name="connsiteX11" fmla="*/ 11665 w 33509"/>
                <a:gd name="connsiteY11" fmla="*/ 36461 h 36727"/>
                <a:gd name="connsiteX12" fmla="*/ 8452 w 33509"/>
                <a:gd name="connsiteY12" fmla="*/ 35176 h 36727"/>
                <a:gd name="connsiteX13" fmla="*/ 1385 w 33509"/>
                <a:gd name="connsiteY13" fmla="*/ 24896 h 36727"/>
                <a:gd name="connsiteX14" fmla="*/ 2670 w 33509"/>
                <a:gd name="connsiteY14" fmla="*/ 10762 h 36727"/>
                <a:gd name="connsiteX15" fmla="*/ 100 w 33509"/>
                <a:gd name="connsiteY15" fmla="*/ 6264 h 36727"/>
                <a:gd name="connsiteX16" fmla="*/ 4597 w 33509"/>
                <a:gd name="connsiteY16" fmla="*/ 1124 h 36727"/>
                <a:gd name="connsiteX17" fmla="*/ 12307 w 33509"/>
                <a:gd name="connsiteY17" fmla="*/ 1767 h 36727"/>
                <a:gd name="connsiteX18" fmla="*/ 20017 w 33509"/>
                <a:gd name="connsiteY18" fmla="*/ 176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509" h="36727">
                  <a:moveTo>
                    <a:pt x="20017" y="1767"/>
                  </a:moveTo>
                  <a:cubicBezTo>
                    <a:pt x="21302" y="1124"/>
                    <a:pt x="21944" y="482"/>
                    <a:pt x="23229" y="482"/>
                  </a:cubicBezTo>
                  <a:cubicBezTo>
                    <a:pt x="25157" y="-161"/>
                    <a:pt x="26442" y="-161"/>
                    <a:pt x="28369" y="482"/>
                  </a:cubicBezTo>
                  <a:cubicBezTo>
                    <a:pt x="29654" y="482"/>
                    <a:pt x="30297" y="482"/>
                    <a:pt x="31582" y="1124"/>
                  </a:cubicBezTo>
                  <a:cubicBezTo>
                    <a:pt x="32224" y="1767"/>
                    <a:pt x="32867" y="3052"/>
                    <a:pt x="32867" y="4337"/>
                  </a:cubicBezTo>
                  <a:cubicBezTo>
                    <a:pt x="32867" y="8192"/>
                    <a:pt x="32867" y="12689"/>
                    <a:pt x="33509" y="16544"/>
                  </a:cubicBezTo>
                  <a:cubicBezTo>
                    <a:pt x="33509" y="17829"/>
                    <a:pt x="33509" y="19756"/>
                    <a:pt x="32867" y="21041"/>
                  </a:cubicBezTo>
                  <a:cubicBezTo>
                    <a:pt x="32224" y="22326"/>
                    <a:pt x="32224" y="22969"/>
                    <a:pt x="31582" y="23611"/>
                  </a:cubicBezTo>
                  <a:cubicBezTo>
                    <a:pt x="30297" y="25539"/>
                    <a:pt x="29654" y="26824"/>
                    <a:pt x="28369" y="28751"/>
                  </a:cubicBezTo>
                  <a:cubicBezTo>
                    <a:pt x="27727" y="30036"/>
                    <a:pt x="26442" y="31321"/>
                    <a:pt x="25157" y="32606"/>
                  </a:cubicBezTo>
                  <a:cubicBezTo>
                    <a:pt x="23229" y="34534"/>
                    <a:pt x="20017" y="35176"/>
                    <a:pt x="17447" y="35819"/>
                  </a:cubicBezTo>
                  <a:cubicBezTo>
                    <a:pt x="15520" y="36461"/>
                    <a:pt x="13592" y="37104"/>
                    <a:pt x="11665" y="36461"/>
                  </a:cubicBezTo>
                  <a:cubicBezTo>
                    <a:pt x="10380" y="36461"/>
                    <a:pt x="9095" y="35819"/>
                    <a:pt x="8452" y="35176"/>
                  </a:cubicBezTo>
                  <a:cubicBezTo>
                    <a:pt x="4597" y="32606"/>
                    <a:pt x="1385" y="29394"/>
                    <a:pt x="1385" y="24896"/>
                  </a:cubicBezTo>
                  <a:cubicBezTo>
                    <a:pt x="1385" y="20399"/>
                    <a:pt x="5240" y="15259"/>
                    <a:pt x="2670" y="10762"/>
                  </a:cubicBezTo>
                  <a:cubicBezTo>
                    <a:pt x="2027" y="9477"/>
                    <a:pt x="742" y="8192"/>
                    <a:pt x="100" y="6264"/>
                  </a:cubicBezTo>
                  <a:cubicBezTo>
                    <a:pt x="-543" y="3694"/>
                    <a:pt x="2027" y="1767"/>
                    <a:pt x="4597" y="1124"/>
                  </a:cubicBezTo>
                  <a:cubicBezTo>
                    <a:pt x="7167" y="482"/>
                    <a:pt x="9737" y="1124"/>
                    <a:pt x="12307" y="1767"/>
                  </a:cubicBezTo>
                  <a:cubicBezTo>
                    <a:pt x="14877" y="1767"/>
                    <a:pt x="17447" y="2409"/>
                    <a:pt x="20017" y="1767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 28">
              <a:extLst>
                <a:ext uri="{FF2B5EF4-FFF2-40B4-BE49-F238E27FC236}">
                  <a16:creationId xmlns:a16="http://schemas.microsoft.com/office/drawing/2014/main" id="{19D3B5C7-A6B4-2E95-C990-9FB568D9ED31}"/>
                </a:ext>
              </a:extLst>
            </p:cNvPr>
            <p:cNvSpPr/>
            <p:nvPr/>
          </p:nvSpPr>
          <p:spPr>
            <a:xfrm>
              <a:off x="2498088" y="2332188"/>
              <a:ext cx="57252" cy="37422"/>
            </a:xfrm>
            <a:custGeom>
              <a:avLst/>
              <a:gdLst>
                <a:gd name="connsiteX0" fmla="*/ 36622 w 57252"/>
                <a:gd name="connsiteY0" fmla="*/ 101 h 37422"/>
                <a:gd name="connsiteX1" fmla="*/ 46259 w 57252"/>
                <a:gd name="connsiteY1" fmla="*/ 3956 h 37422"/>
                <a:gd name="connsiteX2" fmla="*/ 55254 w 57252"/>
                <a:gd name="connsiteY2" fmla="*/ 9738 h 37422"/>
                <a:gd name="connsiteX3" fmla="*/ 57181 w 57252"/>
                <a:gd name="connsiteY3" fmla="*/ 20660 h 37422"/>
                <a:gd name="connsiteX4" fmla="*/ 55896 w 57252"/>
                <a:gd name="connsiteY4" fmla="*/ 27728 h 37422"/>
                <a:gd name="connsiteX5" fmla="*/ 52042 w 57252"/>
                <a:gd name="connsiteY5" fmla="*/ 30940 h 37422"/>
                <a:gd name="connsiteX6" fmla="*/ 42404 w 57252"/>
                <a:gd name="connsiteY6" fmla="*/ 36080 h 37422"/>
                <a:gd name="connsiteX7" fmla="*/ 31482 w 57252"/>
                <a:gd name="connsiteY7" fmla="*/ 36722 h 37422"/>
                <a:gd name="connsiteX8" fmla="*/ 18632 w 57252"/>
                <a:gd name="connsiteY8" fmla="*/ 26443 h 37422"/>
                <a:gd name="connsiteX9" fmla="*/ 1927 w 57252"/>
                <a:gd name="connsiteY9" fmla="*/ 20018 h 37422"/>
                <a:gd name="connsiteX10" fmla="*/ 643 w 57252"/>
                <a:gd name="connsiteY10" fmla="*/ 18733 h 37422"/>
                <a:gd name="connsiteX11" fmla="*/ 0 w 57252"/>
                <a:gd name="connsiteY11" fmla="*/ 16805 h 37422"/>
                <a:gd name="connsiteX12" fmla="*/ 0 w 57252"/>
                <a:gd name="connsiteY12" fmla="*/ 11665 h 37422"/>
                <a:gd name="connsiteX13" fmla="*/ 643 w 57252"/>
                <a:gd name="connsiteY13" fmla="*/ 7168 h 37422"/>
                <a:gd name="connsiteX14" fmla="*/ 3855 w 57252"/>
                <a:gd name="connsiteY14" fmla="*/ 4598 h 37422"/>
                <a:gd name="connsiteX15" fmla="*/ 29554 w 57252"/>
                <a:gd name="connsiteY15" fmla="*/ 2028 h 37422"/>
                <a:gd name="connsiteX16" fmla="*/ 36622 w 57252"/>
                <a:gd name="connsiteY16" fmla="*/ 101 h 3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52" h="37422">
                  <a:moveTo>
                    <a:pt x="36622" y="101"/>
                  </a:moveTo>
                  <a:cubicBezTo>
                    <a:pt x="40477" y="-542"/>
                    <a:pt x="43047" y="2028"/>
                    <a:pt x="46259" y="3956"/>
                  </a:cubicBezTo>
                  <a:cubicBezTo>
                    <a:pt x="49472" y="5883"/>
                    <a:pt x="52684" y="7168"/>
                    <a:pt x="55254" y="9738"/>
                  </a:cubicBezTo>
                  <a:cubicBezTo>
                    <a:pt x="57824" y="12308"/>
                    <a:pt x="57181" y="16805"/>
                    <a:pt x="57181" y="20660"/>
                  </a:cubicBezTo>
                  <a:cubicBezTo>
                    <a:pt x="57181" y="23230"/>
                    <a:pt x="57181" y="25800"/>
                    <a:pt x="55896" y="27728"/>
                  </a:cubicBezTo>
                  <a:cubicBezTo>
                    <a:pt x="54611" y="29013"/>
                    <a:pt x="53326" y="30298"/>
                    <a:pt x="52042" y="30940"/>
                  </a:cubicBezTo>
                  <a:cubicBezTo>
                    <a:pt x="48829" y="32867"/>
                    <a:pt x="45617" y="34795"/>
                    <a:pt x="42404" y="36080"/>
                  </a:cubicBezTo>
                  <a:cubicBezTo>
                    <a:pt x="39192" y="37365"/>
                    <a:pt x="34694" y="38007"/>
                    <a:pt x="31482" y="36722"/>
                  </a:cubicBezTo>
                  <a:cubicBezTo>
                    <a:pt x="26342" y="34795"/>
                    <a:pt x="23130" y="29655"/>
                    <a:pt x="18632" y="26443"/>
                  </a:cubicBezTo>
                  <a:cubicBezTo>
                    <a:pt x="13492" y="23230"/>
                    <a:pt x="7067" y="22588"/>
                    <a:pt x="1927" y="20018"/>
                  </a:cubicBezTo>
                  <a:cubicBezTo>
                    <a:pt x="1285" y="20018"/>
                    <a:pt x="643" y="19375"/>
                    <a:pt x="643" y="18733"/>
                  </a:cubicBezTo>
                  <a:cubicBezTo>
                    <a:pt x="0" y="18090"/>
                    <a:pt x="0" y="17448"/>
                    <a:pt x="0" y="16805"/>
                  </a:cubicBezTo>
                  <a:cubicBezTo>
                    <a:pt x="0" y="14878"/>
                    <a:pt x="0" y="13593"/>
                    <a:pt x="0" y="11665"/>
                  </a:cubicBezTo>
                  <a:cubicBezTo>
                    <a:pt x="0" y="10380"/>
                    <a:pt x="0" y="8453"/>
                    <a:pt x="643" y="7168"/>
                  </a:cubicBezTo>
                  <a:cubicBezTo>
                    <a:pt x="1285" y="5883"/>
                    <a:pt x="2570" y="5241"/>
                    <a:pt x="3855" y="4598"/>
                  </a:cubicBezTo>
                  <a:cubicBezTo>
                    <a:pt x="11565" y="1386"/>
                    <a:pt x="21202" y="4598"/>
                    <a:pt x="29554" y="2028"/>
                  </a:cubicBezTo>
                  <a:cubicBezTo>
                    <a:pt x="31482" y="2028"/>
                    <a:pt x="33409" y="101"/>
                    <a:pt x="36622" y="101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 29">
              <a:extLst>
                <a:ext uri="{FF2B5EF4-FFF2-40B4-BE49-F238E27FC236}">
                  <a16:creationId xmlns:a16="http://schemas.microsoft.com/office/drawing/2014/main" id="{CB63FBF3-35B1-FEBA-EA29-3262BD078F4C}"/>
                </a:ext>
              </a:extLst>
            </p:cNvPr>
            <p:cNvSpPr/>
            <p:nvPr/>
          </p:nvSpPr>
          <p:spPr>
            <a:xfrm>
              <a:off x="2498088" y="2332188"/>
              <a:ext cx="57252" cy="37422"/>
            </a:xfrm>
            <a:custGeom>
              <a:avLst/>
              <a:gdLst>
                <a:gd name="connsiteX0" fmla="*/ 36622 w 57252"/>
                <a:gd name="connsiteY0" fmla="*/ 101 h 37422"/>
                <a:gd name="connsiteX1" fmla="*/ 46259 w 57252"/>
                <a:gd name="connsiteY1" fmla="*/ 3956 h 37422"/>
                <a:gd name="connsiteX2" fmla="*/ 55254 w 57252"/>
                <a:gd name="connsiteY2" fmla="*/ 9738 h 37422"/>
                <a:gd name="connsiteX3" fmla="*/ 57181 w 57252"/>
                <a:gd name="connsiteY3" fmla="*/ 20660 h 37422"/>
                <a:gd name="connsiteX4" fmla="*/ 55896 w 57252"/>
                <a:gd name="connsiteY4" fmla="*/ 27728 h 37422"/>
                <a:gd name="connsiteX5" fmla="*/ 52042 w 57252"/>
                <a:gd name="connsiteY5" fmla="*/ 30940 h 37422"/>
                <a:gd name="connsiteX6" fmla="*/ 42404 w 57252"/>
                <a:gd name="connsiteY6" fmla="*/ 36080 h 37422"/>
                <a:gd name="connsiteX7" fmla="*/ 31482 w 57252"/>
                <a:gd name="connsiteY7" fmla="*/ 36722 h 37422"/>
                <a:gd name="connsiteX8" fmla="*/ 18632 w 57252"/>
                <a:gd name="connsiteY8" fmla="*/ 26443 h 37422"/>
                <a:gd name="connsiteX9" fmla="*/ 1927 w 57252"/>
                <a:gd name="connsiteY9" fmla="*/ 20018 h 37422"/>
                <a:gd name="connsiteX10" fmla="*/ 643 w 57252"/>
                <a:gd name="connsiteY10" fmla="*/ 18733 h 37422"/>
                <a:gd name="connsiteX11" fmla="*/ 0 w 57252"/>
                <a:gd name="connsiteY11" fmla="*/ 16805 h 37422"/>
                <a:gd name="connsiteX12" fmla="*/ 0 w 57252"/>
                <a:gd name="connsiteY12" fmla="*/ 11665 h 37422"/>
                <a:gd name="connsiteX13" fmla="*/ 643 w 57252"/>
                <a:gd name="connsiteY13" fmla="*/ 7168 h 37422"/>
                <a:gd name="connsiteX14" fmla="*/ 3855 w 57252"/>
                <a:gd name="connsiteY14" fmla="*/ 4598 h 37422"/>
                <a:gd name="connsiteX15" fmla="*/ 29554 w 57252"/>
                <a:gd name="connsiteY15" fmla="*/ 2028 h 37422"/>
                <a:gd name="connsiteX16" fmla="*/ 36622 w 57252"/>
                <a:gd name="connsiteY16" fmla="*/ 101 h 3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52" h="37422">
                  <a:moveTo>
                    <a:pt x="36622" y="101"/>
                  </a:moveTo>
                  <a:cubicBezTo>
                    <a:pt x="40477" y="-542"/>
                    <a:pt x="43047" y="2028"/>
                    <a:pt x="46259" y="3956"/>
                  </a:cubicBezTo>
                  <a:cubicBezTo>
                    <a:pt x="49472" y="5883"/>
                    <a:pt x="52684" y="7168"/>
                    <a:pt x="55254" y="9738"/>
                  </a:cubicBezTo>
                  <a:cubicBezTo>
                    <a:pt x="57824" y="12308"/>
                    <a:pt x="57181" y="16805"/>
                    <a:pt x="57181" y="20660"/>
                  </a:cubicBezTo>
                  <a:cubicBezTo>
                    <a:pt x="57181" y="23230"/>
                    <a:pt x="57181" y="25800"/>
                    <a:pt x="55896" y="27728"/>
                  </a:cubicBezTo>
                  <a:cubicBezTo>
                    <a:pt x="54611" y="29013"/>
                    <a:pt x="53326" y="30298"/>
                    <a:pt x="52042" y="30940"/>
                  </a:cubicBezTo>
                  <a:cubicBezTo>
                    <a:pt x="48829" y="32867"/>
                    <a:pt x="45617" y="34795"/>
                    <a:pt x="42404" y="36080"/>
                  </a:cubicBezTo>
                  <a:cubicBezTo>
                    <a:pt x="39192" y="37365"/>
                    <a:pt x="34694" y="38007"/>
                    <a:pt x="31482" y="36722"/>
                  </a:cubicBezTo>
                  <a:cubicBezTo>
                    <a:pt x="26342" y="34795"/>
                    <a:pt x="23130" y="29655"/>
                    <a:pt x="18632" y="26443"/>
                  </a:cubicBezTo>
                  <a:cubicBezTo>
                    <a:pt x="13492" y="23230"/>
                    <a:pt x="7067" y="22588"/>
                    <a:pt x="1927" y="20018"/>
                  </a:cubicBezTo>
                  <a:cubicBezTo>
                    <a:pt x="1285" y="20018"/>
                    <a:pt x="643" y="19375"/>
                    <a:pt x="643" y="18733"/>
                  </a:cubicBezTo>
                  <a:cubicBezTo>
                    <a:pt x="0" y="18090"/>
                    <a:pt x="0" y="17448"/>
                    <a:pt x="0" y="16805"/>
                  </a:cubicBezTo>
                  <a:cubicBezTo>
                    <a:pt x="0" y="14878"/>
                    <a:pt x="0" y="13593"/>
                    <a:pt x="0" y="11665"/>
                  </a:cubicBezTo>
                  <a:cubicBezTo>
                    <a:pt x="0" y="10380"/>
                    <a:pt x="0" y="8453"/>
                    <a:pt x="643" y="7168"/>
                  </a:cubicBezTo>
                  <a:cubicBezTo>
                    <a:pt x="1285" y="5883"/>
                    <a:pt x="2570" y="5241"/>
                    <a:pt x="3855" y="4598"/>
                  </a:cubicBezTo>
                  <a:cubicBezTo>
                    <a:pt x="11565" y="1386"/>
                    <a:pt x="21202" y="4598"/>
                    <a:pt x="29554" y="2028"/>
                  </a:cubicBezTo>
                  <a:cubicBezTo>
                    <a:pt x="31482" y="2028"/>
                    <a:pt x="33409" y="101"/>
                    <a:pt x="36622" y="101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 30">
              <a:extLst>
                <a:ext uri="{FF2B5EF4-FFF2-40B4-BE49-F238E27FC236}">
                  <a16:creationId xmlns:a16="http://schemas.microsoft.com/office/drawing/2014/main" id="{68B35FCC-1A4C-B5CA-1F13-020CBC797777}"/>
                </a:ext>
              </a:extLst>
            </p:cNvPr>
            <p:cNvSpPr/>
            <p:nvPr/>
          </p:nvSpPr>
          <p:spPr>
            <a:xfrm>
              <a:off x="2471884" y="2353837"/>
              <a:ext cx="26846" cy="47450"/>
            </a:xfrm>
            <a:custGeom>
              <a:avLst/>
              <a:gdLst>
                <a:gd name="connsiteX0" fmla="*/ 3074 w 26846"/>
                <a:gd name="connsiteY0" fmla="*/ 6078 h 47450"/>
                <a:gd name="connsiteX1" fmla="*/ 20421 w 26846"/>
                <a:gd name="connsiteY1" fmla="*/ 1581 h 47450"/>
                <a:gd name="connsiteX2" fmla="*/ 19779 w 26846"/>
                <a:gd name="connsiteY2" fmla="*/ 17643 h 47450"/>
                <a:gd name="connsiteX3" fmla="*/ 20421 w 26846"/>
                <a:gd name="connsiteY3" fmla="*/ 20213 h 47450"/>
                <a:gd name="connsiteX4" fmla="*/ 22991 w 26846"/>
                <a:gd name="connsiteY4" fmla="*/ 22783 h 47450"/>
                <a:gd name="connsiteX5" fmla="*/ 26846 w 26846"/>
                <a:gd name="connsiteY5" fmla="*/ 34990 h 47450"/>
                <a:gd name="connsiteX6" fmla="*/ 23634 w 26846"/>
                <a:gd name="connsiteY6" fmla="*/ 45913 h 47450"/>
                <a:gd name="connsiteX7" fmla="*/ 15281 w 26846"/>
                <a:gd name="connsiteY7" fmla="*/ 46555 h 47450"/>
                <a:gd name="connsiteX8" fmla="*/ 8214 w 26846"/>
                <a:gd name="connsiteY8" fmla="*/ 42058 h 47450"/>
                <a:gd name="connsiteX9" fmla="*/ 3717 w 26846"/>
                <a:gd name="connsiteY9" fmla="*/ 37560 h 47450"/>
                <a:gd name="connsiteX10" fmla="*/ 2432 w 26846"/>
                <a:gd name="connsiteY10" fmla="*/ 33705 h 47450"/>
                <a:gd name="connsiteX11" fmla="*/ 504 w 26846"/>
                <a:gd name="connsiteY11" fmla="*/ 17643 h 47450"/>
                <a:gd name="connsiteX12" fmla="*/ 3074 w 26846"/>
                <a:gd name="connsiteY12" fmla="*/ 6078 h 4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846" h="47450">
                  <a:moveTo>
                    <a:pt x="3074" y="6078"/>
                  </a:moveTo>
                  <a:cubicBezTo>
                    <a:pt x="6287" y="1581"/>
                    <a:pt x="15281" y="-2274"/>
                    <a:pt x="20421" y="1581"/>
                  </a:cubicBezTo>
                  <a:cubicBezTo>
                    <a:pt x="25561" y="5436"/>
                    <a:pt x="19779" y="12503"/>
                    <a:pt x="19779" y="17643"/>
                  </a:cubicBezTo>
                  <a:cubicBezTo>
                    <a:pt x="19779" y="18286"/>
                    <a:pt x="19779" y="19571"/>
                    <a:pt x="20421" y="20213"/>
                  </a:cubicBezTo>
                  <a:cubicBezTo>
                    <a:pt x="21064" y="21498"/>
                    <a:pt x="22349" y="22141"/>
                    <a:pt x="22991" y="22783"/>
                  </a:cubicBezTo>
                  <a:cubicBezTo>
                    <a:pt x="26204" y="25996"/>
                    <a:pt x="26204" y="30493"/>
                    <a:pt x="26846" y="34990"/>
                  </a:cubicBezTo>
                  <a:cubicBezTo>
                    <a:pt x="26846" y="38845"/>
                    <a:pt x="26846" y="43343"/>
                    <a:pt x="23634" y="45913"/>
                  </a:cubicBezTo>
                  <a:cubicBezTo>
                    <a:pt x="21064" y="47840"/>
                    <a:pt x="17851" y="47840"/>
                    <a:pt x="15281" y="46555"/>
                  </a:cubicBezTo>
                  <a:cubicBezTo>
                    <a:pt x="12711" y="45913"/>
                    <a:pt x="10141" y="43985"/>
                    <a:pt x="8214" y="42058"/>
                  </a:cubicBezTo>
                  <a:cubicBezTo>
                    <a:pt x="6287" y="40773"/>
                    <a:pt x="5002" y="39488"/>
                    <a:pt x="3717" y="37560"/>
                  </a:cubicBezTo>
                  <a:cubicBezTo>
                    <a:pt x="3074" y="36275"/>
                    <a:pt x="2432" y="34990"/>
                    <a:pt x="2432" y="33705"/>
                  </a:cubicBezTo>
                  <a:cubicBezTo>
                    <a:pt x="1147" y="28565"/>
                    <a:pt x="504" y="22783"/>
                    <a:pt x="504" y="17643"/>
                  </a:cubicBezTo>
                  <a:cubicBezTo>
                    <a:pt x="-781" y="13788"/>
                    <a:pt x="504" y="9933"/>
                    <a:pt x="3074" y="6078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 32">
              <a:extLst>
                <a:ext uri="{FF2B5EF4-FFF2-40B4-BE49-F238E27FC236}">
                  <a16:creationId xmlns:a16="http://schemas.microsoft.com/office/drawing/2014/main" id="{E9C50F29-D1AE-DE43-337B-A960C762300A}"/>
                </a:ext>
              </a:extLst>
            </p:cNvPr>
            <p:cNvSpPr/>
            <p:nvPr/>
          </p:nvSpPr>
          <p:spPr>
            <a:xfrm>
              <a:off x="2471884" y="2353837"/>
              <a:ext cx="26846" cy="47450"/>
            </a:xfrm>
            <a:custGeom>
              <a:avLst/>
              <a:gdLst>
                <a:gd name="connsiteX0" fmla="*/ 3074 w 26846"/>
                <a:gd name="connsiteY0" fmla="*/ 6078 h 47450"/>
                <a:gd name="connsiteX1" fmla="*/ 20421 w 26846"/>
                <a:gd name="connsiteY1" fmla="*/ 1581 h 47450"/>
                <a:gd name="connsiteX2" fmla="*/ 19779 w 26846"/>
                <a:gd name="connsiteY2" fmla="*/ 17643 h 47450"/>
                <a:gd name="connsiteX3" fmla="*/ 20421 w 26846"/>
                <a:gd name="connsiteY3" fmla="*/ 20213 h 47450"/>
                <a:gd name="connsiteX4" fmla="*/ 22991 w 26846"/>
                <a:gd name="connsiteY4" fmla="*/ 22783 h 47450"/>
                <a:gd name="connsiteX5" fmla="*/ 26846 w 26846"/>
                <a:gd name="connsiteY5" fmla="*/ 34990 h 47450"/>
                <a:gd name="connsiteX6" fmla="*/ 23634 w 26846"/>
                <a:gd name="connsiteY6" fmla="*/ 45913 h 47450"/>
                <a:gd name="connsiteX7" fmla="*/ 15281 w 26846"/>
                <a:gd name="connsiteY7" fmla="*/ 46555 h 47450"/>
                <a:gd name="connsiteX8" fmla="*/ 8214 w 26846"/>
                <a:gd name="connsiteY8" fmla="*/ 42058 h 47450"/>
                <a:gd name="connsiteX9" fmla="*/ 3717 w 26846"/>
                <a:gd name="connsiteY9" fmla="*/ 37560 h 47450"/>
                <a:gd name="connsiteX10" fmla="*/ 2432 w 26846"/>
                <a:gd name="connsiteY10" fmla="*/ 33705 h 47450"/>
                <a:gd name="connsiteX11" fmla="*/ 504 w 26846"/>
                <a:gd name="connsiteY11" fmla="*/ 17643 h 47450"/>
                <a:gd name="connsiteX12" fmla="*/ 3074 w 26846"/>
                <a:gd name="connsiteY12" fmla="*/ 6078 h 4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846" h="47450">
                  <a:moveTo>
                    <a:pt x="3074" y="6078"/>
                  </a:moveTo>
                  <a:cubicBezTo>
                    <a:pt x="6287" y="1581"/>
                    <a:pt x="15281" y="-2274"/>
                    <a:pt x="20421" y="1581"/>
                  </a:cubicBezTo>
                  <a:cubicBezTo>
                    <a:pt x="25561" y="5436"/>
                    <a:pt x="19779" y="12503"/>
                    <a:pt x="19779" y="17643"/>
                  </a:cubicBezTo>
                  <a:cubicBezTo>
                    <a:pt x="19779" y="18286"/>
                    <a:pt x="19779" y="19571"/>
                    <a:pt x="20421" y="20213"/>
                  </a:cubicBezTo>
                  <a:cubicBezTo>
                    <a:pt x="21064" y="21498"/>
                    <a:pt x="22349" y="22141"/>
                    <a:pt x="22991" y="22783"/>
                  </a:cubicBezTo>
                  <a:cubicBezTo>
                    <a:pt x="26204" y="25996"/>
                    <a:pt x="26204" y="30493"/>
                    <a:pt x="26846" y="34990"/>
                  </a:cubicBezTo>
                  <a:cubicBezTo>
                    <a:pt x="26846" y="38845"/>
                    <a:pt x="26846" y="43343"/>
                    <a:pt x="23634" y="45913"/>
                  </a:cubicBezTo>
                  <a:cubicBezTo>
                    <a:pt x="21064" y="47840"/>
                    <a:pt x="17851" y="47840"/>
                    <a:pt x="15281" y="46555"/>
                  </a:cubicBezTo>
                  <a:cubicBezTo>
                    <a:pt x="12711" y="45913"/>
                    <a:pt x="10141" y="43985"/>
                    <a:pt x="8214" y="42058"/>
                  </a:cubicBezTo>
                  <a:cubicBezTo>
                    <a:pt x="6287" y="40773"/>
                    <a:pt x="5002" y="39488"/>
                    <a:pt x="3717" y="37560"/>
                  </a:cubicBezTo>
                  <a:cubicBezTo>
                    <a:pt x="3074" y="36275"/>
                    <a:pt x="2432" y="34990"/>
                    <a:pt x="2432" y="33705"/>
                  </a:cubicBezTo>
                  <a:cubicBezTo>
                    <a:pt x="1147" y="28565"/>
                    <a:pt x="504" y="22783"/>
                    <a:pt x="504" y="17643"/>
                  </a:cubicBezTo>
                  <a:cubicBezTo>
                    <a:pt x="-781" y="13788"/>
                    <a:pt x="504" y="9933"/>
                    <a:pt x="3074" y="6078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 33">
              <a:extLst>
                <a:ext uri="{FF2B5EF4-FFF2-40B4-BE49-F238E27FC236}">
                  <a16:creationId xmlns:a16="http://schemas.microsoft.com/office/drawing/2014/main" id="{14CCC6E6-7A19-5161-1654-5036A890CF3C}"/>
                </a:ext>
              </a:extLst>
            </p:cNvPr>
            <p:cNvSpPr/>
            <p:nvPr/>
          </p:nvSpPr>
          <p:spPr>
            <a:xfrm>
              <a:off x="2497445" y="2677304"/>
              <a:ext cx="22376" cy="19274"/>
            </a:xfrm>
            <a:custGeom>
              <a:avLst/>
              <a:gdLst>
                <a:gd name="connsiteX0" fmla="*/ 11565 w 22376"/>
                <a:gd name="connsiteY0" fmla="*/ 14135 h 19274"/>
                <a:gd name="connsiteX1" fmla="*/ 12850 w 22376"/>
                <a:gd name="connsiteY1" fmla="*/ 12207 h 19274"/>
                <a:gd name="connsiteX2" fmla="*/ 14777 w 22376"/>
                <a:gd name="connsiteY2" fmla="*/ 11565 h 19274"/>
                <a:gd name="connsiteX3" fmla="*/ 20560 w 22376"/>
                <a:gd name="connsiteY3" fmla="*/ 8995 h 19274"/>
                <a:gd name="connsiteX4" fmla="*/ 21845 w 22376"/>
                <a:gd name="connsiteY4" fmla="*/ 3855 h 19274"/>
                <a:gd name="connsiteX5" fmla="*/ 16062 w 22376"/>
                <a:gd name="connsiteY5" fmla="*/ 1285 h 19274"/>
                <a:gd name="connsiteX6" fmla="*/ 8352 w 22376"/>
                <a:gd name="connsiteY6" fmla="*/ 0 h 19274"/>
                <a:gd name="connsiteX7" fmla="*/ 6425 w 22376"/>
                <a:gd name="connsiteY7" fmla="*/ 0 h 19274"/>
                <a:gd name="connsiteX8" fmla="*/ 3855 w 22376"/>
                <a:gd name="connsiteY8" fmla="*/ 2570 h 19274"/>
                <a:gd name="connsiteX9" fmla="*/ 0 w 22376"/>
                <a:gd name="connsiteY9" fmla="*/ 12207 h 19274"/>
                <a:gd name="connsiteX10" fmla="*/ 0 w 22376"/>
                <a:gd name="connsiteY10" fmla="*/ 13492 h 19274"/>
                <a:gd name="connsiteX11" fmla="*/ 642 w 22376"/>
                <a:gd name="connsiteY11" fmla="*/ 14777 h 19274"/>
                <a:gd name="connsiteX12" fmla="*/ 4497 w 22376"/>
                <a:gd name="connsiteY12" fmla="*/ 18632 h 19274"/>
                <a:gd name="connsiteX13" fmla="*/ 5782 w 22376"/>
                <a:gd name="connsiteY13" fmla="*/ 19275 h 19274"/>
                <a:gd name="connsiteX14" fmla="*/ 7067 w 22376"/>
                <a:gd name="connsiteY14" fmla="*/ 18632 h 19274"/>
                <a:gd name="connsiteX15" fmla="*/ 11565 w 22376"/>
                <a:gd name="connsiteY15" fmla="*/ 14135 h 1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376" h="19274">
                  <a:moveTo>
                    <a:pt x="11565" y="14135"/>
                  </a:moveTo>
                  <a:cubicBezTo>
                    <a:pt x="11565" y="13492"/>
                    <a:pt x="12207" y="12850"/>
                    <a:pt x="12850" y="12207"/>
                  </a:cubicBezTo>
                  <a:cubicBezTo>
                    <a:pt x="13492" y="11565"/>
                    <a:pt x="14135" y="11565"/>
                    <a:pt x="14777" y="11565"/>
                  </a:cubicBezTo>
                  <a:cubicBezTo>
                    <a:pt x="16705" y="10922"/>
                    <a:pt x="19275" y="10280"/>
                    <a:pt x="20560" y="8995"/>
                  </a:cubicBezTo>
                  <a:cubicBezTo>
                    <a:pt x="21845" y="7710"/>
                    <a:pt x="23129" y="5140"/>
                    <a:pt x="21845" y="3855"/>
                  </a:cubicBezTo>
                  <a:cubicBezTo>
                    <a:pt x="20560" y="1927"/>
                    <a:pt x="18632" y="1285"/>
                    <a:pt x="16062" y="1285"/>
                  </a:cubicBezTo>
                  <a:cubicBezTo>
                    <a:pt x="13492" y="642"/>
                    <a:pt x="10922" y="642"/>
                    <a:pt x="8352" y="0"/>
                  </a:cubicBezTo>
                  <a:cubicBezTo>
                    <a:pt x="7710" y="0"/>
                    <a:pt x="7067" y="0"/>
                    <a:pt x="6425" y="0"/>
                  </a:cubicBezTo>
                  <a:cubicBezTo>
                    <a:pt x="5140" y="642"/>
                    <a:pt x="4497" y="1285"/>
                    <a:pt x="3855" y="2570"/>
                  </a:cubicBezTo>
                  <a:cubicBezTo>
                    <a:pt x="2570" y="5782"/>
                    <a:pt x="1285" y="8995"/>
                    <a:pt x="0" y="12207"/>
                  </a:cubicBezTo>
                  <a:cubicBezTo>
                    <a:pt x="0" y="12850"/>
                    <a:pt x="0" y="13492"/>
                    <a:pt x="0" y="13492"/>
                  </a:cubicBezTo>
                  <a:cubicBezTo>
                    <a:pt x="0" y="14135"/>
                    <a:pt x="0" y="14135"/>
                    <a:pt x="642" y="14777"/>
                  </a:cubicBezTo>
                  <a:cubicBezTo>
                    <a:pt x="1927" y="16062"/>
                    <a:pt x="3212" y="17347"/>
                    <a:pt x="4497" y="18632"/>
                  </a:cubicBezTo>
                  <a:cubicBezTo>
                    <a:pt x="5140" y="19275"/>
                    <a:pt x="5140" y="19275"/>
                    <a:pt x="5782" y="19275"/>
                  </a:cubicBezTo>
                  <a:cubicBezTo>
                    <a:pt x="6425" y="19275"/>
                    <a:pt x="6425" y="19275"/>
                    <a:pt x="7067" y="18632"/>
                  </a:cubicBezTo>
                  <a:cubicBezTo>
                    <a:pt x="8352" y="17990"/>
                    <a:pt x="10280" y="16705"/>
                    <a:pt x="11565" y="14135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 37">
              <a:extLst>
                <a:ext uri="{FF2B5EF4-FFF2-40B4-BE49-F238E27FC236}">
                  <a16:creationId xmlns:a16="http://schemas.microsoft.com/office/drawing/2014/main" id="{689D3F50-D78F-594F-2077-9DDF5863DE4E}"/>
                </a:ext>
              </a:extLst>
            </p:cNvPr>
            <p:cNvSpPr/>
            <p:nvPr/>
          </p:nvSpPr>
          <p:spPr>
            <a:xfrm>
              <a:off x="2497445" y="2677304"/>
              <a:ext cx="22376" cy="19274"/>
            </a:xfrm>
            <a:custGeom>
              <a:avLst/>
              <a:gdLst>
                <a:gd name="connsiteX0" fmla="*/ 11565 w 22376"/>
                <a:gd name="connsiteY0" fmla="*/ 14135 h 19274"/>
                <a:gd name="connsiteX1" fmla="*/ 12850 w 22376"/>
                <a:gd name="connsiteY1" fmla="*/ 12207 h 19274"/>
                <a:gd name="connsiteX2" fmla="*/ 14777 w 22376"/>
                <a:gd name="connsiteY2" fmla="*/ 11565 h 19274"/>
                <a:gd name="connsiteX3" fmla="*/ 20560 w 22376"/>
                <a:gd name="connsiteY3" fmla="*/ 8995 h 19274"/>
                <a:gd name="connsiteX4" fmla="*/ 21845 w 22376"/>
                <a:gd name="connsiteY4" fmla="*/ 3855 h 19274"/>
                <a:gd name="connsiteX5" fmla="*/ 16062 w 22376"/>
                <a:gd name="connsiteY5" fmla="*/ 1285 h 19274"/>
                <a:gd name="connsiteX6" fmla="*/ 8352 w 22376"/>
                <a:gd name="connsiteY6" fmla="*/ 0 h 19274"/>
                <a:gd name="connsiteX7" fmla="*/ 6425 w 22376"/>
                <a:gd name="connsiteY7" fmla="*/ 0 h 19274"/>
                <a:gd name="connsiteX8" fmla="*/ 3855 w 22376"/>
                <a:gd name="connsiteY8" fmla="*/ 2570 h 19274"/>
                <a:gd name="connsiteX9" fmla="*/ 0 w 22376"/>
                <a:gd name="connsiteY9" fmla="*/ 12207 h 19274"/>
                <a:gd name="connsiteX10" fmla="*/ 0 w 22376"/>
                <a:gd name="connsiteY10" fmla="*/ 13492 h 19274"/>
                <a:gd name="connsiteX11" fmla="*/ 642 w 22376"/>
                <a:gd name="connsiteY11" fmla="*/ 14777 h 19274"/>
                <a:gd name="connsiteX12" fmla="*/ 4497 w 22376"/>
                <a:gd name="connsiteY12" fmla="*/ 18632 h 19274"/>
                <a:gd name="connsiteX13" fmla="*/ 5782 w 22376"/>
                <a:gd name="connsiteY13" fmla="*/ 19275 h 19274"/>
                <a:gd name="connsiteX14" fmla="*/ 7067 w 22376"/>
                <a:gd name="connsiteY14" fmla="*/ 18632 h 19274"/>
                <a:gd name="connsiteX15" fmla="*/ 11565 w 22376"/>
                <a:gd name="connsiteY15" fmla="*/ 14135 h 1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376" h="19274">
                  <a:moveTo>
                    <a:pt x="11565" y="14135"/>
                  </a:moveTo>
                  <a:cubicBezTo>
                    <a:pt x="11565" y="13492"/>
                    <a:pt x="12207" y="12850"/>
                    <a:pt x="12850" y="12207"/>
                  </a:cubicBezTo>
                  <a:cubicBezTo>
                    <a:pt x="13492" y="11565"/>
                    <a:pt x="14135" y="11565"/>
                    <a:pt x="14777" y="11565"/>
                  </a:cubicBezTo>
                  <a:cubicBezTo>
                    <a:pt x="16705" y="10922"/>
                    <a:pt x="19275" y="10280"/>
                    <a:pt x="20560" y="8995"/>
                  </a:cubicBezTo>
                  <a:cubicBezTo>
                    <a:pt x="21845" y="7710"/>
                    <a:pt x="23129" y="5140"/>
                    <a:pt x="21845" y="3855"/>
                  </a:cubicBezTo>
                  <a:cubicBezTo>
                    <a:pt x="20560" y="1927"/>
                    <a:pt x="18632" y="1285"/>
                    <a:pt x="16062" y="1285"/>
                  </a:cubicBezTo>
                  <a:cubicBezTo>
                    <a:pt x="13492" y="642"/>
                    <a:pt x="10922" y="642"/>
                    <a:pt x="8352" y="0"/>
                  </a:cubicBezTo>
                  <a:cubicBezTo>
                    <a:pt x="7710" y="0"/>
                    <a:pt x="7067" y="0"/>
                    <a:pt x="6425" y="0"/>
                  </a:cubicBezTo>
                  <a:cubicBezTo>
                    <a:pt x="5140" y="642"/>
                    <a:pt x="4497" y="1285"/>
                    <a:pt x="3855" y="2570"/>
                  </a:cubicBezTo>
                  <a:cubicBezTo>
                    <a:pt x="2570" y="5782"/>
                    <a:pt x="1285" y="8995"/>
                    <a:pt x="0" y="12207"/>
                  </a:cubicBezTo>
                  <a:cubicBezTo>
                    <a:pt x="0" y="12850"/>
                    <a:pt x="0" y="13492"/>
                    <a:pt x="0" y="13492"/>
                  </a:cubicBezTo>
                  <a:cubicBezTo>
                    <a:pt x="0" y="14135"/>
                    <a:pt x="0" y="14135"/>
                    <a:pt x="642" y="14777"/>
                  </a:cubicBezTo>
                  <a:cubicBezTo>
                    <a:pt x="1927" y="16062"/>
                    <a:pt x="3212" y="17347"/>
                    <a:pt x="4497" y="18632"/>
                  </a:cubicBezTo>
                  <a:cubicBezTo>
                    <a:pt x="5140" y="19275"/>
                    <a:pt x="5140" y="19275"/>
                    <a:pt x="5782" y="19275"/>
                  </a:cubicBezTo>
                  <a:cubicBezTo>
                    <a:pt x="6425" y="19275"/>
                    <a:pt x="6425" y="19275"/>
                    <a:pt x="7067" y="18632"/>
                  </a:cubicBezTo>
                  <a:cubicBezTo>
                    <a:pt x="8352" y="17990"/>
                    <a:pt x="10280" y="16705"/>
                    <a:pt x="11565" y="14135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 38">
              <a:extLst>
                <a:ext uri="{FF2B5EF4-FFF2-40B4-BE49-F238E27FC236}">
                  <a16:creationId xmlns:a16="http://schemas.microsoft.com/office/drawing/2014/main" id="{C8044080-F74F-6DA2-7D05-C96D2DB2B2EA}"/>
                </a:ext>
              </a:extLst>
            </p:cNvPr>
            <p:cNvSpPr/>
            <p:nvPr/>
          </p:nvSpPr>
          <p:spPr>
            <a:xfrm>
              <a:off x="2567191" y="2623978"/>
              <a:ext cx="19092" cy="22487"/>
            </a:xfrm>
            <a:custGeom>
              <a:avLst/>
              <a:gdLst>
                <a:gd name="connsiteX0" fmla="*/ 3498 w 19092"/>
                <a:gd name="connsiteY0" fmla="*/ 19275 h 22487"/>
                <a:gd name="connsiteX1" fmla="*/ 5425 w 19092"/>
                <a:gd name="connsiteY1" fmla="*/ 21845 h 22487"/>
                <a:gd name="connsiteX2" fmla="*/ 9923 w 19092"/>
                <a:gd name="connsiteY2" fmla="*/ 22487 h 22487"/>
                <a:gd name="connsiteX3" fmla="*/ 14420 w 19092"/>
                <a:gd name="connsiteY3" fmla="*/ 19917 h 22487"/>
                <a:gd name="connsiteX4" fmla="*/ 18918 w 19092"/>
                <a:gd name="connsiteY4" fmla="*/ 14777 h 22487"/>
                <a:gd name="connsiteX5" fmla="*/ 17633 w 19092"/>
                <a:gd name="connsiteY5" fmla="*/ 9637 h 22487"/>
                <a:gd name="connsiteX6" fmla="*/ 15705 w 19092"/>
                <a:gd name="connsiteY6" fmla="*/ 5140 h 22487"/>
                <a:gd name="connsiteX7" fmla="*/ 12493 w 19092"/>
                <a:gd name="connsiteY7" fmla="*/ 643 h 22487"/>
                <a:gd name="connsiteX8" fmla="*/ 7353 w 19092"/>
                <a:gd name="connsiteY8" fmla="*/ 0 h 22487"/>
                <a:gd name="connsiteX9" fmla="*/ 4140 w 19092"/>
                <a:gd name="connsiteY9" fmla="*/ 1927 h 22487"/>
                <a:gd name="connsiteX10" fmla="*/ 2856 w 19092"/>
                <a:gd name="connsiteY10" fmla="*/ 4497 h 22487"/>
                <a:gd name="connsiteX11" fmla="*/ 286 w 19092"/>
                <a:gd name="connsiteY11" fmla="*/ 12850 h 22487"/>
                <a:gd name="connsiteX12" fmla="*/ 286 w 19092"/>
                <a:gd name="connsiteY12" fmla="*/ 14777 h 22487"/>
                <a:gd name="connsiteX13" fmla="*/ 928 w 19092"/>
                <a:gd name="connsiteY13" fmla="*/ 16705 h 22487"/>
                <a:gd name="connsiteX14" fmla="*/ 3498 w 19092"/>
                <a:gd name="connsiteY14" fmla="*/ 19275 h 2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092" h="22487">
                  <a:moveTo>
                    <a:pt x="3498" y="19275"/>
                  </a:moveTo>
                  <a:cubicBezTo>
                    <a:pt x="4140" y="19917"/>
                    <a:pt x="4783" y="21202"/>
                    <a:pt x="5425" y="21845"/>
                  </a:cubicBezTo>
                  <a:cubicBezTo>
                    <a:pt x="6710" y="22487"/>
                    <a:pt x="8638" y="22487"/>
                    <a:pt x="9923" y="22487"/>
                  </a:cubicBezTo>
                  <a:cubicBezTo>
                    <a:pt x="11208" y="21845"/>
                    <a:pt x="13135" y="21202"/>
                    <a:pt x="14420" y="19917"/>
                  </a:cubicBezTo>
                  <a:cubicBezTo>
                    <a:pt x="16348" y="18632"/>
                    <a:pt x="18275" y="16705"/>
                    <a:pt x="18918" y="14777"/>
                  </a:cubicBezTo>
                  <a:cubicBezTo>
                    <a:pt x="19560" y="12850"/>
                    <a:pt x="18275" y="11565"/>
                    <a:pt x="17633" y="9637"/>
                  </a:cubicBezTo>
                  <a:cubicBezTo>
                    <a:pt x="16990" y="8352"/>
                    <a:pt x="16348" y="7067"/>
                    <a:pt x="15705" y="5140"/>
                  </a:cubicBezTo>
                  <a:cubicBezTo>
                    <a:pt x="15063" y="3212"/>
                    <a:pt x="14420" y="1927"/>
                    <a:pt x="12493" y="643"/>
                  </a:cubicBezTo>
                  <a:cubicBezTo>
                    <a:pt x="11208" y="0"/>
                    <a:pt x="9280" y="0"/>
                    <a:pt x="7353" y="0"/>
                  </a:cubicBezTo>
                  <a:cubicBezTo>
                    <a:pt x="6068" y="643"/>
                    <a:pt x="4783" y="643"/>
                    <a:pt x="4140" y="1927"/>
                  </a:cubicBezTo>
                  <a:cubicBezTo>
                    <a:pt x="3498" y="2570"/>
                    <a:pt x="3498" y="3212"/>
                    <a:pt x="2856" y="4497"/>
                  </a:cubicBezTo>
                  <a:cubicBezTo>
                    <a:pt x="2213" y="7067"/>
                    <a:pt x="928" y="10280"/>
                    <a:pt x="286" y="12850"/>
                  </a:cubicBezTo>
                  <a:cubicBezTo>
                    <a:pt x="286" y="13492"/>
                    <a:pt x="-357" y="14135"/>
                    <a:pt x="286" y="14777"/>
                  </a:cubicBezTo>
                  <a:cubicBezTo>
                    <a:pt x="286" y="15420"/>
                    <a:pt x="928" y="16062"/>
                    <a:pt x="928" y="16705"/>
                  </a:cubicBezTo>
                  <a:cubicBezTo>
                    <a:pt x="2213" y="17347"/>
                    <a:pt x="2856" y="17990"/>
                    <a:pt x="3498" y="19275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 39">
              <a:extLst>
                <a:ext uri="{FF2B5EF4-FFF2-40B4-BE49-F238E27FC236}">
                  <a16:creationId xmlns:a16="http://schemas.microsoft.com/office/drawing/2014/main" id="{DFB6D7AD-5E64-9B7B-3FCD-6E64B8804B63}"/>
                </a:ext>
              </a:extLst>
            </p:cNvPr>
            <p:cNvSpPr/>
            <p:nvPr/>
          </p:nvSpPr>
          <p:spPr>
            <a:xfrm>
              <a:off x="2567191" y="2623978"/>
              <a:ext cx="19092" cy="22487"/>
            </a:xfrm>
            <a:custGeom>
              <a:avLst/>
              <a:gdLst>
                <a:gd name="connsiteX0" fmla="*/ 3498 w 19092"/>
                <a:gd name="connsiteY0" fmla="*/ 19275 h 22487"/>
                <a:gd name="connsiteX1" fmla="*/ 5425 w 19092"/>
                <a:gd name="connsiteY1" fmla="*/ 21845 h 22487"/>
                <a:gd name="connsiteX2" fmla="*/ 9923 w 19092"/>
                <a:gd name="connsiteY2" fmla="*/ 22487 h 22487"/>
                <a:gd name="connsiteX3" fmla="*/ 14420 w 19092"/>
                <a:gd name="connsiteY3" fmla="*/ 19917 h 22487"/>
                <a:gd name="connsiteX4" fmla="*/ 18918 w 19092"/>
                <a:gd name="connsiteY4" fmla="*/ 14777 h 22487"/>
                <a:gd name="connsiteX5" fmla="*/ 17633 w 19092"/>
                <a:gd name="connsiteY5" fmla="*/ 9637 h 22487"/>
                <a:gd name="connsiteX6" fmla="*/ 15705 w 19092"/>
                <a:gd name="connsiteY6" fmla="*/ 5140 h 22487"/>
                <a:gd name="connsiteX7" fmla="*/ 12493 w 19092"/>
                <a:gd name="connsiteY7" fmla="*/ 643 h 22487"/>
                <a:gd name="connsiteX8" fmla="*/ 7353 w 19092"/>
                <a:gd name="connsiteY8" fmla="*/ 0 h 22487"/>
                <a:gd name="connsiteX9" fmla="*/ 4140 w 19092"/>
                <a:gd name="connsiteY9" fmla="*/ 1927 h 22487"/>
                <a:gd name="connsiteX10" fmla="*/ 2856 w 19092"/>
                <a:gd name="connsiteY10" fmla="*/ 4497 h 22487"/>
                <a:gd name="connsiteX11" fmla="*/ 286 w 19092"/>
                <a:gd name="connsiteY11" fmla="*/ 12850 h 22487"/>
                <a:gd name="connsiteX12" fmla="*/ 286 w 19092"/>
                <a:gd name="connsiteY12" fmla="*/ 14777 h 22487"/>
                <a:gd name="connsiteX13" fmla="*/ 928 w 19092"/>
                <a:gd name="connsiteY13" fmla="*/ 16705 h 22487"/>
                <a:gd name="connsiteX14" fmla="*/ 3498 w 19092"/>
                <a:gd name="connsiteY14" fmla="*/ 19275 h 2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092" h="22487">
                  <a:moveTo>
                    <a:pt x="3498" y="19275"/>
                  </a:moveTo>
                  <a:cubicBezTo>
                    <a:pt x="4140" y="19917"/>
                    <a:pt x="4783" y="21202"/>
                    <a:pt x="5425" y="21845"/>
                  </a:cubicBezTo>
                  <a:cubicBezTo>
                    <a:pt x="6710" y="22487"/>
                    <a:pt x="8638" y="22487"/>
                    <a:pt x="9923" y="22487"/>
                  </a:cubicBezTo>
                  <a:cubicBezTo>
                    <a:pt x="11208" y="21845"/>
                    <a:pt x="13135" y="21202"/>
                    <a:pt x="14420" y="19917"/>
                  </a:cubicBezTo>
                  <a:cubicBezTo>
                    <a:pt x="16348" y="18632"/>
                    <a:pt x="18275" y="16705"/>
                    <a:pt x="18918" y="14777"/>
                  </a:cubicBezTo>
                  <a:cubicBezTo>
                    <a:pt x="19560" y="12850"/>
                    <a:pt x="18275" y="11565"/>
                    <a:pt x="17633" y="9637"/>
                  </a:cubicBezTo>
                  <a:cubicBezTo>
                    <a:pt x="16990" y="8352"/>
                    <a:pt x="16348" y="7067"/>
                    <a:pt x="15705" y="5140"/>
                  </a:cubicBezTo>
                  <a:cubicBezTo>
                    <a:pt x="15063" y="3212"/>
                    <a:pt x="14420" y="1927"/>
                    <a:pt x="12493" y="643"/>
                  </a:cubicBezTo>
                  <a:cubicBezTo>
                    <a:pt x="11208" y="0"/>
                    <a:pt x="9280" y="0"/>
                    <a:pt x="7353" y="0"/>
                  </a:cubicBezTo>
                  <a:cubicBezTo>
                    <a:pt x="6068" y="643"/>
                    <a:pt x="4783" y="643"/>
                    <a:pt x="4140" y="1927"/>
                  </a:cubicBezTo>
                  <a:cubicBezTo>
                    <a:pt x="3498" y="2570"/>
                    <a:pt x="3498" y="3212"/>
                    <a:pt x="2856" y="4497"/>
                  </a:cubicBezTo>
                  <a:cubicBezTo>
                    <a:pt x="2213" y="7067"/>
                    <a:pt x="928" y="10280"/>
                    <a:pt x="286" y="12850"/>
                  </a:cubicBezTo>
                  <a:cubicBezTo>
                    <a:pt x="286" y="13492"/>
                    <a:pt x="-357" y="14135"/>
                    <a:pt x="286" y="14777"/>
                  </a:cubicBezTo>
                  <a:cubicBezTo>
                    <a:pt x="286" y="15420"/>
                    <a:pt x="928" y="16062"/>
                    <a:pt x="928" y="16705"/>
                  </a:cubicBezTo>
                  <a:cubicBezTo>
                    <a:pt x="2213" y="17347"/>
                    <a:pt x="2856" y="17990"/>
                    <a:pt x="3498" y="19275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 40">
              <a:extLst>
                <a:ext uri="{FF2B5EF4-FFF2-40B4-BE49-F238E27FC236}">
                  <a16:creationId xmlns:a16="http://schemas.microsoft.com/office/drawing/2014/main" id="{FEE5F770-1994-3E8B-A7AE-AAF05A0782F1}"/>
                </a:ext>
              </a:extLst>
            </p:cNvPr>
            <p:cNvSpPr/>
            <p:nvPr/>
          </p:nvSpPr>
          <p:spPr>
            <a:xfrm>
              <a:off x="2417010" y="2775525"/>
              <a:ext cx="24824" cy="19620"/>
            </a:xfrm>
            <a:custGeom>
              <a:avLst/>
              <a:gdLst>
                <a:gd name="connsiteX0" fmla="*/ 2052 w 24824"/>
                <a:gd name="connsiteY0" fmla="*/ 19355 h 19620"/>
                <a:gd name="connsiteX1" fmla="*/ 5907 w 24824"/>
                <a:gd name="connsiteY1" fmla="*/ 18712 h 19620"/>
                <a:gd name="connsiteX2" fmla="*/ 8477 w 24824"/>
                <a:gd name="connsiteY2" fmla="*/ 15500 h 19620"/>
                <a:gd name="connsiteX3" fmla="*/ 18757 w 24824"/>
                <a:gd name="connsiteY3" fmla="*/ 10360 h 19620"/>
                <a:gd name="connsiteX4" fmla="*/ 21969 w 24824"/>
                <a:gd name="connsiteY4" fmla="*/ 10360 h 19620"/>
                <a:gd name="connsiteX5" fmla="*/ 24539 w 24824"/>
                <a:gd name="connsiteY5" fmla="*/ 8432 h 19620"/>
                <a:gd name="connsiteX6" fmla="*/ 24539 w 24824"/>
                <a:gd name="connsiteY6" fmla="*/ 6505 h 19620"/>
                <a:gd name="connsiteX7" fmla="*/ 24539 w 24824"/>
                <a:gd name="connsiteY7" fmla="*/ 3935 h 19620"/>
                <a:gd name="connsiteX8" fmla="*/ 23254 w 24824"/>
                <a:gd name="connsiteY8" fmla="*/ 3293 h 19620"/>
                <a:gd name="connsiteX9" fmla="*/ 7834 w 24824"/>
                <a:gd name="connsiteY9" fmla="*/ 1365 h 19620"/>
                <a:gd name="connsiteX10" fmla="*/ 3979 w 24824"/>
                <a:gd name="connsiteY10" fmla="*/ 6505 h 19620"/>
                <a:gd name="connsiteX11" fmla="*/ 125 w 24824"/>
                <a:gd name="connsiteY11" fmla="*/ 17427 h 19620"/>
                <a:gd name="connsiteX12" fmla="*/ 2052 w 24824"/>
                <a:gd name="connsiteY12" fmla="*/ 19355 h 1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24" h="19620">
                  <a:moveTo>
                    <a:pt x="2052" y="19355"/>
                  </a:moveTo>
                  <a:cubicBezTo>
                    <a:pt x="3337" y="19997"/>
                    <a:pt x="5264" y="19355"/>
                    <a:pt x="5907" y="18712"/>
                  </a:cubicBezTo>
                  <a:cubicBezTo>
                    <a:pt x="7192" y="18070"/>
                    <a:pt x="7834" y="16142"/>
                    <a:pt x="8477" y="15500"/>
                  </a:cubicBezTo>
                  <a:cubicBezTo>
                    <a:pt x="10404" y="12287"/>
                    <a:pt x="14259" y="10360"/>
                    <a:pt x="18757" y="10360"/>
                  </a:cubicBezTo>
                  <a:cubicBezTo>
                    <a:pt x="20042" y="10360"/>
                    <a:pt x="21327" y="10360"/>
                    <a:pt x="21969" y="10360"/>
                  </a:cubicBezTo>
                  <a:cubicBezTo>
                    <a:pt x="23254" y="10360"/>
                    <a:pt x="23897" y="9717"/>
                    <a:pt x="24539" y="8432"/>
                  </a:cubicBezTo>
                  <a:cubicBezTo>
                    <a:pt x="24539" y="7790"/>
                    <a:pt x="24539" y="7148"/>
                    <a:pt x="24539" y="6505"/>
                  </a:cubicBezTo>
                  <a:cubicBezTo>
                    <a:pt x="24539" y="5863"/>
                    <a:pt x="25182" y="4578"/>
                    <a:pt x="24539" y="3935"/>
                  </a:cubicBezTo>
                  <a:cubicBezTo>
                    <a:pt x="24539" y="3293"/>
                    <a:pt x="23897" y="3293"/>
                    <a:pt x="23254" y="3293"/>
                  </a:cubicBezTo>
                  <a:cubicBezTo>
                    <a:pt x="19399" y="1365"/>
                    <a:pt x="12332" y="-1847"/>
                    <a:pt x="7834" y="1365"/>
                  </a:cubicBezTo>
                  <a:cubicBezTo>
                    <a:pt x="6549" y="2650"/>
                    <a:pt x="5264" y="4578"/>
                    <a:pt x="3979" y="6505"/>
                  </a:cubicBezTo>
                  <a:cubicBezTo>
                    <a:pt x="1409" y="9717"/>
                    <a:pt x="-518" y="13572"/>
                    <a:pt x="125" y="17427"/>
                  </a:cubicBezTo>
                  <a:cubicBezTo>
                    <a:pt x="767" y="17427"/>
                    <a:pt x="1409" y="18712"/>
                    <a:pt x="2052" y="19355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 41">
              <a:extLst>
                <a:ext uri="{FF2B5EF4-FFF2-40B4-BE49-F238E27FC236}">
                  <a16:creationId xmlns:a16="http://schemas.microsoft.com/office/drawing/2014/main" id="{FEA529C5-E0FD-8152-E12F-0220E0FA1FB5}"/>
                </a:ext>
              </a:extLst>
            </p:cNvPr>
            <p:cNvSpPr/>
            <p:nvPr/>
          </p:nvSpPr>
          <p:spPr>
            <a:xfrm>
              <a:off x="2417010" y="2775525"/>
              <a:ext cx="24824" cy="19620"/>
            </a:xfrm>
            <a:custGeom>
              <a:avLst/>
              <a:gdLst>
                <a:gd name="connsiteX0" fmla="*/ 2052 w 24824"/>
                <a:gd name="connsiteY0" fmla="*/ 19355 h 19620"/>
                <a:gd name="connsiteX1" fmla="*/ 5907 w 24824"/>
                <a:gd name="connsiteY1" fmla="*/ 18712 h 19620"/>
                <a:gd name="connsiteX2" fmla="*/ 8477 w 24824"/>
                <a:gd name="connsiteY2" fmla="*/ 15500 h 19620"/>
                <a:gd name="connsiteX3" fmla="*/ 18757 w 24824"/>
                <a:gd name="connsiteY3" fmla="*/ 10360 h 19620"/>
                <a:gd name="connsiteX4" fmla="*/ 21969 w 24824"/>
                <a:gd name="connsiteY4" fmla="*/ 10360 h 19620"/>
                <a:gd name="connsiteX5" fmla="*/ 24539 w 24824"/>
                <a:gd name="connsiteY5" fmla="*/ 8432 h 19620"/>
                <a:gd name="connsiteX6" fmla="*/ 24539 w 24824"/>
                <a:gd name="connsiteY6" fmla="*/ 6505 h 19620"/>
                <a:gd name="connsiteX7" fmla="*/ 24539 w 24824"/>
                <a:gd name="connsiteY7" fmla="*/ 3935 h 19620"/>
                <a:gd name="connsiteX8" fmla="*/ 23254 w 24824"/>
                <a:gd name="connsiteY8" fmla="*/ 3293 h 19620"/>
                <a:gd name="connsiteX9" fmla="*/ 7834 w 24824"/>
                <a:gd name="connsiteY9" fmla="*/ 1365 h 19620"/>
                <a:gd name="connsiteX10" fmla="*/ 3979 w 24824"/>
                <a:gd name="connsiteY10" fmla="*/ 6505 h 19620"/>
                <a:gd name="connsiteX11" fmla="*/ 125 w 24824"/>
                <a:gd name="connsiteY11" fmla="*/ 17427 h 19620"/>
                <a:gd name="connsiteX12" fmla="*/ 2052 w 24824"/>
                <a:gd name="connsiteY12" fmla="*/ 19355 h 1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24" h="19620">
                  <a:moveTo>
                    <a:pt x="2052" y="19355"/>
                  </a:moveTo>
                  <a:cubicBezTo>
                    <a:pt x="3337" y="19997"/>
                    <a:pt x="5264" y="19355"/>
                    <a:pt x="5907" y="18712"/>
                  </a:cubicBezTo>
                  <a:cubicBezTo>
                    <a:pt x="7192" y="18070"/>
                    <a:pt x="7834" y="16142"/>
                    <a:pt x="8477" y="15500"/>
                  </a:cubicBezTo>
                  <a:cubicBezTo>
                    <a:pt x="10404" y="12287"/>
                    <a:pt x="14259" y="10360"/>
                    <a:pt x="18757" y="10360"/>
                  </a:cubicBezTo>
                  <a:cubicBezTo>
                    <a:pt x="20042" y="10360"/>
                    <a:pt x="21327" y="10360"/>
                    <a:pt x="21969" y="10360"/>
                  </a:cubicBezTo>
                  <a:cubicBezTo>
                    <a:pt x="23254" y="10360"/>
                    <a:pt x="23897" y="9717"/>
                    <a:pt x="24539" y="8432"/>
                  </a:cubicBezTo>
                  <a:cubicBezTo>
                    <a:pt x="24539" y="7790"/>
                    <a:pt x="24539" y="7148"/>
                    <a:pt x="24539" y="6505"/>
                  </a:cubicBezTo>
                  <a:cubicBezTo>
                    <a:pt x="24539" y="5863"/>
                    <a:pt x="25182" y="4578"/>
                    <a:pt x="24539" y="3935"/>
                  </a:cubicBezTo>
                  <a:cubicBezTo>
                    <a:pt x="24539" y="3293"/>
                    <a:pt x="23897" y="3293"/>
                    <a:pt x="23254" y="3293"/>
                  </a:cubicBezTo>
                  <a:cubicBezTo>
                    <a:pt x="19399" y="1365"/>
                    <a:pt x="12332" y="-1847"/>
                    <a:pt x="7834" y="1365"/>
                  </a:cubicBezTo>
                  <a:cubicBezTo>
                    <a:pt x="6549" y="2650"/>
                    <a:pt x="5264" y="4578"/>
                    <a:pt x="3979" y="6505"/>
                  </a:cubicBezTo>
                  <a:cubicBezTo>
                    <a:pt x="1409" y="9717"/>
                    <a:pt x="-518" y="13572"/>
                    <a:pt x="125" y="17427"/>
                  </a:cubicBezTo>
                  <a:cubicBezTo>
                    <a:pt x="767" y="17427"/>
                    <a:pt x="1409" y="18712"/>
                    <a:pt x="2052" y="19355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 43">
              <a:extLst>
                <a:ext uri="{FF2B5EF4-FFF2-40B4-BE49-F238E27FC236}">
                  <a16:creationId xmlns:a16="http://schemas.microsoft.com/office/drawing/2014/main" id="{349BE280-B2B9-8F06-0C6D-D08AC0275AD9}"/>
                </a:ext>
              </a:extLst>
            </p:cNvPr>
            <p:cNvSpPr/>
            <p:nvPr/>
          </p:nvSpPr>
          <p:spPr>
            <a:xfrm>
              <a:off x="2292882" y="2753385"/>
              <a:ext cx="46031" cy="15528"/>
            </a:xfrm>
            <a:custGeom>
              <a:avLst/>
              <a:gdLst>
                <a:gd name="connsiteX0" fmla="*/ 43941 w 46031"/>
                <a:gd name="connsiteY0" fmla="*/ 9370 h 15528"/>
                <a:gd name="connsiteX1" fmla="*/ 32376 w 46031"/>
                <a:gd name="connsiteY1" fmla="*/ 13225 h 15528"/>
                <a:gd name="connsiteX2" fmla="*/ 24667 w 46031"/>
                <a:gd name="connsiteY2" fmla="*/ 14510 h 15528"/>
                <a:gd name="connsiteX3" fmla="*/ 6034 w 46031"/>
                <a:gd name="connsiteY3" fmla="*/ 14510 h 15528"/>
                <a:gd name="connsiteX4" fmla="*/ 1537 w 46031"/>
                <a:gd name="connsiteY4" fmla="*/ 12583 h 15528"/>
                <a:gd name="connsiteX5" fmla="*/ 252 w 46031"/>
                <a:gd name="connsiteY5" fmla="*/ 8728 h 15528"/>
                <a:gd name="connsiteX6" fmla="*/ 5392 w 46031"/>
                <a:gd name="connsiteY6" fmla="*/ 4230 h 15528"/>
                <a:gd name="connsiteX7" fmla="*/ 12459 w 46031"/>
                <a:gd name="connsiteY7" fmla="*/ 1660 h 15528"/>
                <a:gd name="connsiteX8" fmla="*/ 24667 w 46031"/>
                <a:gd name="connsiteY8" fmla="*/ 1018 h 15528"/>
                <a:gd name="connsiteX9" fmla="*/ 38801 w 46031"/>
                <a:gd name="connsiteY9" fmla="*/ 1018 h 15528"/>
                <a:gd name="connsiteX10" fmla="*/ 43941 w 46031"/>
                <a:gd name="connsiteY10" fmla="*/ 9370 h 1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31" h="15528">
                  <a:moveTo>
                    <a:pt x="43941" y="9370"/>
                  </a:moveTo>
                  <a:cubicBezTo>
                    <a:pt x="40729" y="11940"/>
                    <a:pt x="36231" y="12583"/>
                    <a:pt x="32376" y="13225"/>
                  </a:cubicBezTo>
                  <a:cubicBezTo>
                    <a:pt x="29807" y="13868"/>
                    <a:pt x="27237" y="13868"/>
                    <a:pt x="24667" y="14510"/>
                  </a:cubicBezTo>
                  <a:cubicBezTo>
                    <a:pt x="18242" y="15153"/>
                    <a:pt x="11817" y="16438"/>
                    <a:pt x="6034" y="14510"/>
                  </a:cubicBezTo>
                  <a:cubicBezTo>
                    <a:pt x="4749" y="13868"/>
                    <a:pt x="2822" y="13225"/>
                    <a:pt x="1537" y="12583"/>
                  </a:cubicBezTo>
                  <a:cubicBezTo>
                    <a:pt x="252" y="11298"/>
                    <a:pt x="-390" y="10013"/>
                    <a:pt x="252" y="8728"/>
                  </a:cubicBezTo>
                  <a:cubicBezTo>
                    <a:pt x="895" y="6800"/>
                    <a:pt x="2822" y="5515"/>
                    <a:pt x="5392" y="4230"/>
                  </a:cubicBezTo>
                  <a:cubicBezTo>
                    <a:pt x="7962" y="2945"/>
                    <a:pt x="9889" y="2303"/>
                    <a:pt x="12459" y="1660"/>
                  </a:cubicBezTo>
                  <a:cubicBezTo>
                    <a:pt x="16314" y="1018"/>
                    <a:pt x="20812" y="1660"/>
                    <a:pt x="24667" y="1018"/>
                  </a:cubicBezTo>
                  <a:cubicBezTo>
                    <a:pt x="29164" y="376"/>
                    <a:pt x="34946" y="-909"/>
                    <a:pt x="38801" y="1018"/>
                  </a:cubicBezTo>
                  <a:cubicBezTo>
                    <a:pt x="42014" y="2303"/>
                    <a:pt x="49724" y="5515"/>
                    <a:pt x="43941" y="9370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 45">
              <a:extLst>
                <a:ext uri="{FF2B5EF4-FFF2-40B4-BE49-F238E27FC236}">
                  <a16:creationId xmlns:a16="http://schemas.microsoft.com/office/drawing/2014/main" id="{F46F7974-FE50-6BAF-B38E-C3CFDC1CBBA5}"/>
                </a:ext>
              </a:extLst>
            </p:cNvPr>
            <p:cNvSpPr/>
            <p:nvPr/>
          </p:nvSpPr>
          <p:spPr>
            <a:xfrm>
              <a:off x="2292882" y="2753385"/>
              <a:ext cx="46031" cy="15528"/>
            </a:xfrm>
            <a:custGeom>
              <a:avLst/>
              <a:gdLst>
                <a:gd name="connsiteX0" fmla="*/ 43941 w 46031"/>
                <a:gd name="connsiteY0" fmla="*/ 9370 h 15528"/>
                <a:gd name="connsiteX1" fmla="*/ 32376 w 46031"/>
                <a:gd name="connsiteY1" fmla="*/ 13225 h 15528"/>
                <a:gd name="connsiteX2" fmla="*/ 24667 w 46031"/>
                <a:gd name="connsiteY2" fmla="*/ 14510 h 15528"/>
                <a:gd name="connsiteX3" fmla="*/ 6034 w 46031"/>
                <a:gd name="connsiteY3" fmla="*/ 14510 h 15528"/>
                <a:gd name="connsiteX4" fmla="*/ 1537 w 46031"/>
                <a:gd name="connsiteY4" fmla="*/ 12583 h 15528"/>
                <a:gd name="connsiteX5" fmla="*/ 252 w 46031"/>
                <a:gd name="connsiteY5" fmla="*/ 8728 h 15528"/>
                <a:gd name="connsiteX6" fmla="*/ 5392 w 46031"/>
                <a:gd name="connsiteY6" fmla="*/ 4230 h 15528"/>
                <a:gd name="connsiteX7" fmla="*/ 12459 w 46031"/>
                <a:gd name="connsiteY7" fmla="*/ 1660 h 15528"/>
                <a:gd name="connsiteX8" fmla="*/ 24667 w 46031"/>
                <a:gd name="connsiteY8" fmla="*/ 1018 h 15528"/>
                <a:gd name="connsiteX9" fmla="*/ 38801 w 46031"/>
                <a:gd name="connsiteY9" fmla="*/ 1018 h 15528"/>
                <a:gd name="connsiteX10" fmla="*/ 43941 w 46031"/>
                <a:gd name="connsiteY10" fmla="*/ 9370 h 1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31" h="15528">
                  <a:moveTo>
                    <a:pt x="43941" y="9370"/>
                  </a:moveTo>
                  <a:cubicBezTo>
                    <a:pt x="40729" y="11940"/>
                    <a:pt x="36231" y="12583"/>
                    <a:pt x="32376" y="13225"/>
                  </a:cubicBezTo>
                  <a:cubicBezTo>
                    <a:pt x="29807" y="13868"/>
                    <a:pt x="27237" y="13868"/>
                    <a:pt x="24667" y="14510"/>
                  </a:cubicBezTo>
                  <a:cubicBezTo>
                    <a:pt x="18242" y="15153"/>
                    <a:pt x="11817" y="16438"/>
                    <a:pt x="6034" y="14510"/>
                  </a:cubicBezTo>
                  <a:cubicBezTo>
                    <a:pt x="4749" y="13868"/>
                    <a:pt x="2822" y="13225"/>
                    <a:pt x="1537" y="12583"/>
                  </a:cubicBezTo>
                  <a:cubicBezTo>
                    <a:pt x="252" y="11298"/>
                    <a:pt x="-390" y="10013"/>
                    <a:pt x="252" y="8728"/>
                  </a:cubicBezTo>
                  <a:cubicBezTo>
                    <a:pt x="895" y="6800"/>
                    <a:pt x="2822" y="5515"/>
                    <a:pt x="5392" y="4230"/>
                  </a:cubicBezTo>
                  <a:cubicBezTo>
                    <a:pt x="7962" y="2945"/>
                    <a:pt x="9889" y="2303"/>
                    <a:pt x="12459" y="1660"/>
                  </a:cubicBezTo>
                  <a:cubicBezTo>
                    <a:pt x="16314" y="1018"/>
                    <a:pt x="20812" y="1660"/>
                    <a:pt x="24667" y="1018"/>
                  </a:cubicBezTo>
                  <a:cubicBezTo>
                    <a:pt x="29164" y="376"/>
                    <a:pt x="34946" y="-909"/>
                    <a:pt x="38801" y="1018"/>
                  </a:cubicBezTo>
                  <a:cubicBezTo>
                    <a:pt x="42014" y="2303"/>
                    <a:pt x="49724" y="5515"/>
                    <a:pt x="43941" y="9370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 46">
              <a:extLst>
                <a:ext uri="{FF2B5EF4-FFF2-40B4-BE49-F238E27FC236}">
                  <a16:creationId xmlns:a16="http://schemas.microsoft.com/office/drawing/2014/main" id="{584C61F2-664F-3188-05C4-7E8D67C5FB2D}"/>
                </a:ext>
              </a:extLst>
            </p:cNvPr>
            <p:cNvSpPr/>
            <p:nvPr/>
          </p:nvSpPr>
          <p:spPr>
            <a:xfrm>
              <a:off x="2232905" y="2761444"/>
              <a:ext cx="55732" cy="21494"/>
            </a:xfrm>
            <a:custGeom>
              <a:avLst/>
              <a:gdLst>
                <a:gd name="connsiteX0" fmla="*/ 1121 w 55732"/>
                <a:gd name="connsiteY0" fmla="*/ 21228 h 21494"/>
                <a:gd name="connsiteX1" fmla="*/ 2406 w 55732"/>
                <a:gd name="connsiteY1" fmla="*/ 10306 h 21494"/>
                <a:gd name="connsiteX2" fmla="*/ 6903 w 55732"/>
                <a:gd name="connsiteY2" fmla="*/ 6451 h 21494"/>
                <a:gd name="connsiteX3" fmla="*/ 17183 w 55732"/>
                <a:gd name="connsiteY3" fmla="*/ 1954 h 21494"/>
                <a:gd name="connsiteX4" fmla="*/ 36458 w 55732"/>
                <a:gd name="connsiteY4" fmla="*/ 669 h 21494"/>
                <a:gd name="connsiteX5" fmla="*/ 42882 w 55732"/>
                <a:gd name="connsiteY5" fmla="*/ 2596 h 21494"/>
                <a:gd name="connsiteX6" fmla="*/ 51877 w 55732"/>
                <a:gd name="connsiteY6" fmla="*/ 5808 h 21494"/>
                <a:gd name="connsiteX7" fmla="*/ 55732 w 55732"/>
                <a:gd name="connsiteY7" fmla="*/ 8378 h 21494"/>
                <a:gd name="connsiteX8" fmla="*/ 55090 w 55732"/>
                <a:gd name="connsiteY8" fmla="*/ 10948 h 21494"/>
                <a:gd name="connsiteX9" fmla="*/ 46737 w 55732"/>
                <a:gd name="connsiteY9" fmla="*/ 14161 h 21494"/>
                <a:gd name="connsiteX10" fmla="*/ 39027 w 55732"/>
                <a:gd name="connsiteY10" fmla="*/ 14803 h 21494"/>
                <a:gd name="connsiteX11" fmla="*/ 30675 w 55732"/>
                <a:gd name="connsiteY11" fmla="*/ 14161 h 21494"/>
                <a:gd name="connsiteX12" fmla="*/ 22323 w 55732"/>
                <a:gd name="connsiteY12" fmla="*/ 12233 h 21494"/>
                <a:gd name="connsiteX13" fmla="*/ 16540 w 55732"/>
                <a:gd name="connsiteY13" fmla="*/ 17373 h 21494"/>
                <a:gd name="connsiteX14" fmla="*/ 10115 w 55732"/>
                <a:gd name="connsiteY14" fmla="*/ 20586 h 21494"/>
                <a:gd name="connsiteX15" fmla="*/ 1121 w 55732"/>
                <a:gd name="connsiteY15" fmla="*/ 21228 h 21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732" h="21494">
                  <a:moveTo>
                    <a:pt x="1121" y="21228"/>
                  </a:moveTo>
                  <a:cubicBezTo>
                    <a:pt x="-807" y="18016"/>
                    <a:pt x="-164" y="13518"/>
                    <a:pt x="2406" y="10306"/>
                  </a:cubicBezTo>
                  <a:cubicBezTo>
                    <a:pt x="3691" y="9021"/>
                    <a:pt x="5618" y="7736"/>
                    <a:pt x="6903" y="6451"/>
                  </a:cubicBezTo>
                  <a:cubicBezTo>
                    <a:pt x="10115" y="4523"/>
                    <a:pt x="13328" y="2596"/>
                    <a:pt x="17183" y="1954"/>
                  </a:cubicBezTo>
                  <a:cubicBezTo>
                    <a:pt x="22965" y="26"/>
                    <a:pt x="30675" y="-616"/>
                    <a:pt x="36458" y="669"/>
                  </a:cubicBezTo>
                  <a:cubicBezTo>
                    <a:pt x="38385" y="1311"/>
                    <a:pt x="40955" y="1954"/>
                    <a:pt x="42882" y="2596"/>
                  </a:cubicBezTo>
                  <a:cubicBezTo>
                    <a:pt x="46095" y="3238"/>
                    <a:pt x="48665" y="4523"/>
                    <a:pt x="51877" y="5808"/>
                  </a:cubicBezTo>
                  <a:cubicBezTo>
                    <a:pt x="53162" y="6451"/>
                    <a:pt x="55090" y="7093"/>
                    <a:pt x="55732" y="8378"/>
                  </a:cubicBezTo>
                  <a:cubicBezTo>
                    <a:pt x="55732" y="9021"/>
                    <a:pt x="55732" y="10306"/>
                    <a:pt x="55090" y="10948"/>
                  </a:cubicBezTo>
                  <a:cubicBezTo>
                    <a:pt x="53162" y="13518"/>
                    <a:pt x="49950" y="14161"/>
                    <a:pt x="46737" y="14161"/>
                  </a:cubicBezTo>
                  <a:cubicBezTo>
                    <a:pt x="44167" y="14161"/>
                    <a:pt x="41597" y="14803"/>
                    <a:pt x="39027" y="14803"/>
                  </a:cubicBezTo>
                  <a:cubicBezTo>
                    <a:pt x="36458" y="14803"/>
                    <a:pt x="33245" y="14803"/>
                    <a:pt x="30675" y="14161"/>
                  </a:cubicBezTo>
                  <a:cubicBezTo>
                    <a:pt x="28105" y="13518"/>
                    <a:pt x="24893" y="10948"/>
                    <a:pt x="22323" y="12233"/>
                  </a:cubicBezTo>
                  <a:cubicBezTo>
                    <a:pt x="19753" y="12876"/>
                    <a:pt x="18468" y="15446"/>
                    <a:pt x="16540" y="17373"/>
                  </a:cubicBezTo>
                  <a:cubicBezTo>
                    <a:pt x="14613" y="19301"/>
                    <a:pt x="12043" y="19943"/>
                    <a:pt x="10115" y="20586"/>
                  </a:cubicBezTo>
                  <a:cubicBezTo>
                    <a:pt x="6903" y="21228"/>
                    <a:pt x="3691" y="21871"/>
                    <a:pt x="1121" y="21228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 47">
              <a:extLst>
                <a:ext uri="{FF2B5EF4-FFF2-40B4-BE49-F238E27FC236}">
                  <a16:creationId xmlns:a16="http://schemas.microsoft.com/office/drawing/2014/main" id="{FF66A14B-B3D7-4289-3943-344E97089F81}"/>
                </a:ext>
              </a:extLst>
            </p:cNvPr>
            <p:cNvSpPr/>
            <p:nvPr/>
          </p:nvSpPr>
          <p:spPr>
            <a:xfrm>
              <a:off x="2232905" y="2761444"/>
              <a:ext cx="55732" cy="21494"/>
            </a:xfrm>
            <a:custGeom>
              <a:avLst/>
              <a:gdLst>
                <a:gd name="connsiteX0" fmla="*/ 1121 w 55732"/>
                <a:gd name="connsiteY0" fmla="*/ 21228 h 21494"/>
                <a:gd name="connsiteX1" fmla="*/ 2406 w 55732"/>
                <a:gd name="connsiteY1" fmla="*/ 10306 h 21494"/>
                <a:gd name="connsiteX2" fmla="*/ 6903 w 55732"/>
                <a:gd name="connsiteY2" fmla="*/ 6451 h 21494"/>
                <a:gd name="connsiteX3" fmla="*/ 17183 w 55732"/>
                <a:gd name="connsiteY3" fmla="*/ 1954 h 21494"/>
                <a:gd name="connsiteX4" fmla="*/ 36458 w 55732"/>
                <a:gd name="connsiteY4" fmla="*/ 669 h 21494"/>
                <a:gd name="connsiteX5" fmla="*/ 42882 w 55732"/>
                <a:gd name="connsiteY5" fmla="*/ 2596 h 21494"/>
                <a:gd name="connsiteX6" fmla="*/ 51877 w 55732"/>
                <a:gd name="connsiteY6" fmla="*/ 5808 h 21494"/>
                <a:gd name="connsiteX7" fmla="*/ 55732 w 55732"/>
                <a:gd name="connsiteY7" fmla="*/ 8378 h 21494"/>
                <a:gd name="connsiteX8" fmla="*/ 55090 w 55732"/>
                <a:gd name="connsiteY8" fmla="*/ 10948 h 21494"/>
                <a:gd name="connsiteX9" fmla="*/ 46737 w 55732"/>
                <a:gd name="connsiteY9" fmla="*/ 14161 h 21494"/>
                <a:gd name="connsiteX10" fmla="*/ 39027 w 55732"/>
                <a:gd name="connsiteY10" fmla="*/ 14803 h 21494"/>
                <a:gd name="connsiteX11" fmla="*/ 30675 w 55732"/>
                <a:gd name="connsiteY11" fmla="*/ 14161 h 21494"/>
                <a:gd name="connsiteX12" fmla="*/ 22323 w 55732"/>
                <a:gd name="connsiteY12" fmla="*/ 12233 h 21494"/>
                <a:gd name="connsiteX13" fmla="*/ 16540 w 55732"/>
                <a:gd name="connsiteY13" fmla="*/ 17373 h 21494"/>
                <a:gd name="connsiteX14" fmla="*/ 10115 w 55732"/>
                <a:gd name="connsiteY14" fmla="*/ 20586 h 21494"/>
                <a:gd name="connsiteX15" fmla="*/ 1121 w 55732"/>
                <a:gd name="connsiteY15" fmla="*/ 21228 h 21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732" h="21494">
                  <a:moveTo>
                    <a:pt x="1121" y="21228"/>
                  </a:moveTo>
                  <a:cubicBezTo>
                    <a:pt x="-807" y="18016"/>
                    <a:pt x="-164" y="13518"/>
                    <a:pt x="2406" y="10306"/>
                  </a:cubicBezTo>
                  <a:cubicBezTo>
                    <a:pt x="3691" y="9021"/>
                    <a:pt x="5618" y="7736"/>
                    <a:pt x="6903" y="6451"/>
                  </a:cubicBezTo>
                  <a:cubicBezTo>
                    <a:pt x="10115" y="4523"/>
                    <a:pt x="13328" y="2596"/>
                    <a:pt x="17183" y="1954"/>
                  </a:cubicBezTo>
                  <a:cubicBezTo>
                    <a:pt x="22965" y="26"/>
                    <a:pt x="30675" y="-616"/>
                    <a:pt x="36458" y="669"/>
                  </a:cubicBezTo>
                  <a:cubicBezTo>
                    <a:pt x="38385" y="1311"/>
                    <a:pt x="40955" y="1954"/>
                    <a:pt x="42882" y="2596"/>
                  </a:cubicBezTo>
                  <a:cubicBezTo>
                    <a:pt x="46095" y="3238"/>
                    <a:pt x="48665" y="4523"/>
                    <a:pt x="51877" y="5808"/>
                  </a:cubicBezTo>
                  <a:cubicBezTo>
                    <a:pt x="53162" y="6451"/>
                    <a:pt x="55090" y="7093"/>
                    <a:pt x="55732" y="8378"/>
                  </a:cubicBezTo>
                  <a:cubicBezTo>
                    <a:pt x="55732" y="9021"/>
                    <a:pt x="55732" y="10306"/>
                    <a:pt x="55090" y="10948"/>
                  </a:cubicBezTo>
                  <a:cubicBezTo>
                    <a:pt x="53162" y="13518"/>
                    <a:pt x="49950" y="14161"/>
                    <a:pt x="46737" y="14161"/>
                  </a:cubicBezTo>
                  <a:cubicBezTo>
                    <a:pt x="44167" y="14161"/>
                    <a:pt x="41597" y="14803"/>
                    <a:pt x="39027" y="14803"/>
                  </a:cubicBezTo>
                  <a:cubicBezTo>
                    <a:pt x="36458" y="14803"/>
                    <a:pt x="33245" y="14803"/>
                    <a:pt x="30675" y="14161"/>
                  </a:cubicBezTo>
                  <a:cubicBezTo>
                    <a:pt x="28105" y="13518"/>
                    <a:pt x="24893" y="10948"/>
                    <a:pt x="22323" y="12233"/>
                  </a:cubicBezTo>
                  <a:cubicBezTo>
                    <a:pt x="19753" y="12876"/>
                    <a:pt x="18468" y="15446"/>
                    <a:pt x="16540" y="17373"/>
                  </a:cubicBezTo>
                  <a:cubicBezTo>
                    <a:pt x="14613" y="19301"/>
                    <a:pt x="12043" y="19943"/>
                    <a:pt x="10115" y="20586"/>
                  </a:cubicBezTo>
                  <a:cubicBezTo>
                    <a:pt x="6903" y="21228"/>
                    <a:pt x="3691" y="21871"/>
                    <a:pt x="1121" y="21228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 48">
              <a:extLst>
                <a:ext uri="{FF2B5EF4-FFF2-40B4-BE49-F238E27FC236}">
                  <a16:creationId xmlns:a16="http://schemas.microsoft.com/office/drawing/2014/main" id="{BF513D3C-2907-DA92-A649-8E3579B14401}"/>
                </a:ext>
              </a:extLst>
            </p:cNvPr>
            <p:cNvSpPr/>
            <p:nvPr/>
          </p:nvSpPr>
          <p:spPr>
            <a:xfrm>
              <a:off x="2151237" y="2772769"/>
              <a:ext cx="60301" cy="20183"/>
            </a:xfrm>
            <a:custGeom>
              <a:avLst/>
              <a:gdLst>
                <a:gd name="connsiteX0" fmla="*/ 1835 w 60301"/>
                <a:gd name="connsiteY0" fmla="*/ 19541 h 20183"/>
                <a:gd name="connsiteX1" fmla="*/ 1192 w 60301"/>
                <a:gd name="connsiteY1" fmla="*/ 18256 h 20183"/>
                <a:gd name="connsiteX2" fmla="*/ 550 w 60301"/>
                <a:gd name="connsiteY2" fmla="*/ 11831 h 20183"/>
                <a:gd name="connsiteX3" fmla="*/ 1835 w 60301"/>
                <a:gd name="connsiteY3" fmla="*/ 9903 h 20183"/>
                <a:gd name="connsiteX4" fmla="*/ 6975 w 60301"/>
                <a:gd name="connsiteY4" fmla="*/ 5406 h 20183"/>
                <a:gd name="connsiteX5" fmla="*/ 24322 w 60301"/>
                <a:gd name="connsiteY5" fmla="*/ 2836 h 20183"/>
                <a:gd name="connsiteX6" fmla="*/ 40384 w 60301"/>
                <a:gd name="connsiteY6" fmla="*/ 909 h 20183"/>
                <a:gd name="connsiteX7" fmla="*/ 50664 w 60301"/>
                <a:gd name="connsiteY7" fmla="*/ 266 h 20183"/>
                <a:gd name="connsiteX8" fmla="*/ 58374 w 60301"/>
                <a:gd name="connsiteY8" fmla="*/ 909 h 20183"/>
                <a:gd name="connsiteX9" fmla="*/ 60301 w 60301"/>
                <a:gd name="connsiteY9" fmla="*/ 6691 h 20183"/>
                <a:gd name="connsiteX10" fmla="*/ 60301 w 60301"/>
                <a:gd name="connsiteY10" fmla="*/ 7976 h 20183"/>
                <a:gd name="connsiteX11" fmla="*/ 59016 w 60301"/>
                <a:gd name="connsiteY11" fmla="*/ 9261 h 20183"/>
                <a:gd name="connsiteX12" fmla="*/ 41669 w 60301"/>
                <a:gd name="connsiteY12" fmla="*/ 14401 h 20183"/>
                <a:gd name="connsiteX13" fmla="*/ 33317 w 60301"/>
                <a:gd name="connsiteY13" fmla="*/ 14401 h 20183"/>
                <a:gd name="connsiteX14" fmla="*/ 24322 w 60301"/>
                <a:gd name="connsiteY14" fmla="*/ 16328 h 20183"/>
                <a:gd name="connsiteX15" fmla="*/ 3120 w 60301"/>
                <a:gd name="connsiteY15" fmla="*/ 20183 h 20183"/>
                <a:gd name="connsiteX16" fmla="*/ 1835 w 60301"/>
                <a:gd name="connsiteY16" fmla="*/ 19541 h 20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301" h="20183">
                  <a:moveTo>
                    <a:pt x="1835" y="19541"/>
                  </a:moveTo>
                  <a:cubicBezTo>
                    <a:pt x="1192" y="19541"/>
                    <a:pt x="1192" y="18898"/>
                    <a:pt x="1192" y="18256"/>
                  </a:cubicBezTo>
                  <a:cubicBezTo>
                    <a:pt x="550" y="16328"/>
                    <a:pt x="-735" y="13758"/>
                    <a:pt x="550" y="11831"/>
                  </a:cubicBezTo>
                  <a:cubicBezTo>
                    <a:pt x="1192" y="11188"/>
                    <a:pt x="1192" y="10546"/>
                    <a:pt x="1835" y="9903"/>
                  </a:cubicBezTo>
                  <a:cubicBezTo>
                    <a:pt x="3120" y="7976"/>
                    <a:pt x="5047" y="6691"/>
                    <a:pt x="6975" y="5406"/>
                  </a:cubicBezTo>
                  <a:cubicBezTo>
                    <a:pt x="12115" y="2836"/>
                    <a:pt x="18539" y="2836"/>
                    <a:pt x="24322" y="2836"/>
                  </a:cubicBezTo>
                  <a:cubicBezTo>
                    <a:pt x="30104" y="2194"/>
                    <a:pt x="35244" y="1551"/>
                    <a:pt x="40384" y="909"/>
                  </a:cubicBezTo>
                  <a:cubicBezTo>
                    <a:pt x="43596" y="266"/>
                    <a:pt x="47451" y="-376"/>
                    <a:pt x="50664" y="266"/>
                  </a:cubicBezTo>
                  <a:cubicBezTo>
                    <a:pt x="53234" y="266"/>
                    <a:pt x="56446" y="-376"/>
                    <a:pt x="58374" y="909"/>
                  </a:cubicBezTo>
                  <a:cubicBezTo>
                    <a:pt x="59659" y="1551"/>
                    <a:pt x="60301" y="5406"/>
                    <a:pt x="60301" y="6691"/>
                  </a:cubicBezTo>
                  <a:cubicBezTo>
                    <a:pt x="60301" y="7333"/>
                    <a:pt x="60301" y="7976"/>
                    <a:pt x="60301" y="7976"/>
                  </a:cubicBezTo>
                  <a:cubicBezTo>
                    <a:pt x="60301" y="8618"/>
                    <a:pt x="59659" y="8618"/>
                    <a:pt x="59016" y="9261"/>
                  </a:cubicBezTo>
                  <a:cubicBezTo>
                    <a:pt x="53876" y="12473"/>
                    <a:pt x="48094" y="14401"/>
                    <a:pt x="41669" y="14401"/>
                  </a:cubicBezTo>
                  <a:cubicBezTo>
                    <a:pt x="39099" y="14401"/>
                    <a:pt x="35887" y="14401"/>
                    <a:pt x="33317" y="14401"/>
                  </a:cubicBezTo>
                  <a:cubicBezTo>
                    <a:pt x="30104" y="14401"/>
                    <a:pt x="27534" y="15686"/>
                    <a:pt x="24322" y="16328"/>
                  </a:cubicBezTo>
                  <a:cubicBezTo>
                    <a:pt x="17255" y="18256"/>
                    <a:pt x="10187" y="19541"/>
                    <a:pt x="3120" y="20183"/>
                  </a:cubicBezTo>
                  <a:cubicBezTo>
                    <a:pt x="2477" y="19541"/>
                    <a:pt x="1835" y="20183"/>
                    <a:pt x="1835" y="19541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 49">
              <a:extLst>
                <a:ext uri="{FF2B5EF4-FFF2-40B4-BE49-F238E27FC236}">
                  <a16:creationId xmlns:a16="http://schemas.microsoft.com/office/drawing/2014/main" id="{3A8E29DE-5732-24A1-EFAC-741B958E0AB6}"/>
                </a:ext>
              </a:extLst>
            </p:cNvPr>
            <p:cNvSpPr/>
            <p:nvPr/>
          </p:nvSpPr>
          <p:spPr>
            <a:xfrm>
              <a:off x="2151237" y="2772769"/>
              <a:ext cx="60301" cy="20183"/>
            </a:xfrm>
            <a:custGeom>
              <a:avLst/>
              <a:gdLst>
                <a:gd name="connsiteX0" fmla="*/ 1835 w 60301"/>
                <a:gd name="connsiteY0" fmla="*/ 19541 h 20183"/>
                <a:gd name="connsiteX1" fmla="*/ 1192 w 60301"/>
                <a:gd name="connsiteY1" fmla="*/ 18256 h 20183"/>
                <a:gd name="connsiteX2" fmla="*/ 550 w 60301"/>
                <a:gd name="connsiteY2" fmla="*/ 11831 h 20183"/>
                <a:gd name="connsiteX3" fmla="*/ 1835 w 60301"/>
                <a:gd name="connsiteY3" fmla="*/ 9903 h 20183"/>
                <a:gd name="connsiteX4" fmla="*/ 6975 w 60301"/>
                <a:gd name="connsiteY4" fmla="*/ 5406 h 20183"/>
                <a:gd name="connsiteX5" fmla="*/ 24322 w 60301"/>
                <a:gd name="connsiteY5" fmla="*/ 2836 h 20183"/>
                <a:gd name="connsiteX6" fmla="*/ 40384 w 60301"/>
                <a:gd name="connsiteY6" fmla="*/ 909 h 20183"/>
                <a:gd name="connsiteX7" fmla="*/ 50664 w 60301"/>
                <a:gd name="connsiteY7" fmla="*/ 266 h 20183"/>
                <a:gd name="connsiteX8" fmla="*/ 58374 w 60301"/>
                <a:gd name="connsiteY8" fmla="*/ 909 h 20183"/>
                <a:gd name="connsiteX9" fmla="*/ 60301 w 60301"/>
                <a:gd name="connsiteY9" fmla="*/ 6691 h 20183"/>
                <a:gd name="connsiteX10" fmla="*/ 60301 w 60301"/>
                <a:gd name="connsiteY10" fmla="*/ 7976 h 20183"/>
                <a:gd name="connsiteX11" fmla="*/ 59016 w 60301"/>
                <a:gd name="connsiteY11" fmla="*/ 9261 h 20183"/>
                <a:gd name="connsiteX12" fmla="*/ 41669 w 60301"/>
                <a:gd name="connsiteY12" fmla="*/ 14401 h 20183"/>
                <a:gd name="connsiteX13" fmla="*/ 33317 w 60301"/>
                <a:gd name="connsiteY13" fmla="*/ 14401 h 20183"/>
                <a:gd name="connsiteX14" fmla="*/ 24322 w 60301"/>
                <a:gd name="connsiteY14" fmla="*/ 16328 h 20183"/>
                <a:gd name="connsiteX15" fmla="*/ 3120 w 60301"/>
                <a:gd name="connsiteY15" fmla="*/ 20183 h 20183"/>
                <a:gd name="connsiteX16" fmla="*/ 1835 w 60301"/>
                <a:gd name="connsiteY16" fmla="*/ 19541 h 20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301" h="20183">
                  <a:moveTo>
                    <a:pt x="1835" y="19541"/>
                  </a:moveTo>
                  <a:cubicBezTo>
                    <a:pt x="1192" y="19541"/>
                    <a:pt x="1192" y="18898"/>
                    <a:pt x="1192" y="18256"/>
                  </a:cubicBezTo>
                  <a:cubicBezTo>
                    <a:pt x="550" y="16328"/>
                    <a:pt x="-735" y="13758"/>
                    <a:pt x="550" y="11831"/>
                  </a:cubicBezTo>
                  <a:cubicBezTo>
                    <a:pt x="1192" y="11188"/>
                    <a:pt x="1192" y="10546"/>
                    <a:pt x="1835" y="9903"/>
                  </a:cubicBezTo>
                  <a:cubicBezTo>
                    <a:pt x="3120" y="7976"/>
                    <a:pt x="5047" y="6691"/>
                    <a:pt x="6975" y="5406"/>
                  </a:cubicBezTo>
                  <a:cubicBezTo>
                    <a:pt x="12115" y="2836"/>
                    <a:pt x="18539" y="2836"/>
                    <a:pt x="24322" y="2836"/>
                  </a:cubicBezTo>
                  <a:cubicBezTo>
                    <a:pt x="30104" y="2194"/>
                    <a:pt x="35244" y="1551"/>
                    <a:pt x="40384" y="909"/>
                  </a:cubicBezTo>
                  <a:cubicBezTo>
                    <a:pt x="43596" y="266"/>
                    <a:pt x="47451" y="-376"/>
                    <a:pt x="50664" y="266"/>
                  </a:cubicBezTo>
                  <a:cubicBezTo>
                    <a:pt x="53234" y="266"/>
                    <a:pt x="56446" y="-376"/>
                    <a:pt x="58374" y="909"/>
                  </a:cubicBezTo>
                  <a:cubicBezTo>
                    <a:pt x="59659" y="1551"/>
                    <a:pt x="60301" y="5406"/>
                    <a:pt x="60301" y="6691"/>
                  </a:cubicBezTo>
                  <a:cubicBezTo>
                    <a:pt x="60301" y="7333"/>
                    <a:pt x="60301" y="7976"/>
                    <a:pt x="60301" y="7976"/>
                  </a:cubicBezTo>
                  <a:cubicBezTo>
                    <a:pt x="60301" y="8618"/>
                    <a:pt x="59659" y="8618"/>
                    <a:pt x="59016" y="9261"/>
                  </a:cubicBezTo>
                  <a:cubicBezTo>
                    <a:pt x="53876" y="12473"/>
                    <a:pt x="48094" y="14401"/>
                    <a:pt x="41669" y="14401"/>
                  </a:cubicBezTo>
                  <a:cubicBezTo>
                    <a:pt x="39099" y="14401"/>
                    <a:pt x="35887" y="14401"/>
                    <a:pt x="33317" y="14401"/>
                  </a:cubicBezTo>
                  <a:cubicBezTo>
                    <a:pt x="30104" y="14401"/>
                    <a:pt x="27534" y="15686"/>
                    <a:pt x="24322" y="16328"/>
                  </a:cubicBezTo>
                  <a:cubicBezTo>
                    <a:pt x="17255" y="18256"/>
                    <a:pt x="10187" y="19541"/>
                    <a:pt x="3120" y="20183"/>
                  </a:cubicBezTo>
                  <a:cubicBezTo>
                    <a:pt x="2477" y="19541"/>
                    <a:pt x="1835" y="20183"/>
                    <a:pt x="1835" y="19541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 50">
              <a:extLst>
                <a:ext uri="{FF2B5EF4-FFF2-40B4-BE49-F238E27FC236}">
                  <a16:creationId xmlns:a16="http://schemas.microsoft.com/office/drawing/2014/main" id="{8D7A91AA-17DC-6231-DCE0-F4B7BD185A47}"/>
                </a:ext>
              </a:extLst>
            </p:cNvPr>
            <p:cNvSpPr/>
            <p:nvPr/>
          </p:nvSpPr>
          <p:spPr>
            <a:xfrm>
              <a:off x="2076616" y="2789739"/>
              <a:ext cx="53493" cy="12336"/>
            </a:xfrm>
            <a:custGeom>
              <a:avLst/>
              <a:gdLst>
                <a:gd name="connsiteX0" fmla="*/ 642 w 53493"/>
                <a:gd name="connsiteY0" fmla="*/ 9637 h 12336"/>
                <a:gd name="connsiteX1" fmla="*/ 642 w 53493"/>
                <a:gd name="connsiteY1" fmla="*/ 5140 h 12336"/>
                <a:gd name="connsiteX2" fmla="*/ 8352 w 53493"/>
                <a:gd name="connsiteY2" fmla="*/ 1927 h 12336"/>
                <a:gd name="connsiteX3" fmla="*/ 22487 w 53493"/>
                <a:gd name="connsiteY3" fmla="*/ 1285 h 12336"/>
                <a:gd name="connsiteX4" fmla="*/ 44974 w 53493"/>
                <a:gd name="connsiteY4" fmla="*/ 0 h 12336"/>
                <a:gd name="connsiteX5" fmla="*/ 50756 w 53493"/>
                <a:gd name="connsiteY5" fmla="*/ 642 h 12336"/>
                <a:gd name="connsiteX6" fmla="*/ 53326 w 53493"/>
                <a:gd name="connsiteY6" fmla="*/ 5140 h 12336"/>
                <a:gd name="connsiteX7" fmla="*/ 48829 w 53493"/>
                <a:gd name="connsiteY7" fmla="*/ 8352 h 12336"/>
                <a:gd name="connsiteX8" fmla="*/ 38549 w 53493"/>
                <a:gd name="connsiteY8" fmla="*/ 10280 h 12336"/>
                <a:gd name="connsiteX9" fmla="*/ 26342 w 53493"/>
                <a:gd name="connsiteY9" fmla="*/ 10280 h 12336"/>
                <a:gd name="connsiteX10" fmla="*/ 1927 w 53493"/>
                <a:gd name="connsiteY10" fmla="*/ 12207 h 12336"/>
                <a:gd name="connsiteX11" fmla="*/ 0 w 53493"/>
                <a:gd name="connsiteY11" fmla="*/ 11565 h 12336"/>
                <a:gd name="connsiteX12" fmla="*/ 642 w 53493"/>
                <a:gd name="connsiteY12" fmla="*/ 9637 h 12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493" h="12336">
                  <a:moveTo>
                    <a:pt x="642" y="9637"/>
                  </a:moveTo>
                  <a:cubicBezTo>
                    <a:pt x="642" y="8352"/>
                    <a:pt x="0" y="6425"/>
                    <a:pt x="642" y="5140"/>
                  </a:cubicBezTo>
                  <a:cubicBezTo>
                    <a:pt x="1927" y="2570"/>
                    <a:pt x="5782" y="1927"/>
                    <a:pt x="8352" y="1927"/>
                  </a:cubicBezTo>
                  <a:cubicBezTo>
                    <a:pt x="12850" y="1927"/>
                    <a:pt x="17990" y="1285"/>
                    <a:pt x="22487" y="1285"/>
                  </a:cubicBezTo>
                  <a:cubicBezTo>
                    <a:pt x="30197" y="642"/>
                    <a:pt x="37907" y="642"/>
                    <a:pt x="44974" y="0"/>
                  </a:cubicBezTo>
                  <a:cubicBezTo>
                    <a:pt x="46902" y="0"/>
                    <a:pt x="48829" y="0"/>
                    <a:pt x="50756" y="642"/>
                  </a:cubicBezTo>
                  <a:cubicBezTo>
                    <a:pt x="52684" y="1285"/>
                    <a:pt x="53969" y="3212"/>
                    <a:pt x="53326" y="5140"/>
                  </a:cubicBezTo>
                  <a:cubicBezTo>
                    <a:pt x="52684" y="7067"/>
                    <a:pt x="50756" y="7710"/>
                    <a:pt x="48829" y="8352"/>
                  </a:cubicBezTo>
                  <a:cubicBezTo>
                    <a:pt x="45617" y="9637"/>
                    <a:pt x="42404" y="10280"/>
                    <a:pt x="38549" y="10280"/>
                  </a:cubicBezTo>
                  <a:cubicBezTo>
                    <a:pt x="34694" y="10280"/>
                    <a:pt x="30839" y="10280"/>
                    <a:pt x="26342" y="10280"/>
                  </a:cubicBezTo>
                  <a:cubicBezTo>
                    <a:pt x="17990" y="10922"/>
                    <a:pt x="10280" y="12850"/>
                    <a:pt x="1927" y="12207"/>
                  </a:cubicBezTo>
                  <a:cubicBezTo>
                    <a:pt x="1285" y="12207"/>
                    <a:pt x="642" y="12207"/>
                    <a:pt x="0" y="11565"/>
                  </a:cubicBezTo>
                  <a:cubicBezTo>
                    <a:pt x="1285" y="11565"/>
                    <a:pt x="642" y="10922"/>
                    <a:pt x="642" y="9637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 51">
              <a:extLst>
                <a:ext uri="{FF2B5EF4-FFF2-40B4-BE49-F238E27FC236}">
                  <a16:creationId xmlns:a16="http://schemas.microsoft.com/office/drawing/2014/main" id="{608121BA-91E7-6A9C-A0EC-5DE3D27E1520}"/>
                </a:ext>
              </a:extLst>
            </p:cNvPr>
            <p:cNvSpPr/>
            <p:nvPr/>
          </p:nvSpPr>
          <p:spPr>
            <a:xfrm>
              <a:off x="2076616" y="2789739"/>
              <a:ext cx="53493" cy="12336"/>
            </a:xfrm>
            <a:custGeom>
              <a:avLst/>
              <a:gdLst>
                <a:gd name="connsiteX0" fmla="*/ 642 w 53493"/>
                <a:gd name="connsiteY0" fmla="*/ 9637 h 12336"/>
                <a:gd name="connsiteX1" fmla="*/ 642 w 53493"/>
                <a:gd name="connsiteY1" fmla="*/ 5140 h 12336"/>
                <a:gd name="connsiteX2" fmla="*/ 8352 w 53493"/>
                <a:gd name="connsiteY2" fmla="*/ 1927 h 12336"/>
                <a:gd name="connsiteX3" fmla="*/ 22487 w 53493"/>
                <a:gd name="connsiteY3" fmla="*/ 1285 h 12336"/>
                <a:gd name="connsiteX4" fmla="*/ 44974 w 53493"/>
                <a:gd name="connsiteY4" fmla="*/ 0 h 12336"/>
                <a:gd name="connsiteX5" fmla="*/ 50756 w 53493"/>
                <a:gd name="connsiteY5" fmla="*/ 642 h 12336"/>
                <a:gd name="connsiteX6" fmla="*/ 53326 w 53493"/>
                <a:gd name="connsiteY6" fmla="*/ 5140 h 12336"/>
                <a:gd name="connsiteX7" fmla="*/ 48829 w 53493"/>
                <a:gd name="connsiteY7" fmla="*/ 8352 h 12336"/>
                <a:gd name="connsiteX8" fmla="*/ 38549 w 53493"/>
                <a:gd name="connsiteY8" fmla="*/ 10280 h 12336"/>
                <a:gd name="connsiteX9" fmla="*/ 26342 w 53493"/>
                <a:gd name="connsiteY9" fmla="*/ 10280 h 12336"/>
                <a:gd name="connsiteX10" fmla="*/ 1927 w 53493"/>
                <a:gd name="connsiteY10" fmla="*/ 12207 h 12336"/>
                <a:gd name="connsiteX11" fmla="*/ 0 w 53493"/>
                <a:gd name="connsiteY11" fmla="*/ 11565 h 12336"/>
                <a:gd name="connsiteX12" fmla="*/ 642 w 53493"/>
                <a:gd name="connsiteY12" fmla="*/ 9637 h 12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493" h="12336">
                  <a:moveTo>
                    <a:pt x="642" y="9637"/>
                  </a:moveTo>
                  <a:cubicBezTo>
                    <a:pt x="642" y="8352"/>
                    <a:pt x="0" y="6425"/>
                    <a:pt x="642" y="5140"/>
                  </a:cubicBezTo>
                  <a:cubicBezTo>
                    <a:pt x="1927" y="2570"/>
                    <a:pt x="5782" y="1927"/>
                    <a:pt x="8352" y="1927"/>
                  </a:cubicBezTo>
                  <a:cubicBezTo>
                    <a:pt x="12850" y="1927"/>
                    <a:pt x="17990" y="1285"/>
                    <a:pt x="22487" y="1285"/>
                  </a:cubicBezTo>
                  <a:cubicBezTo>
                    <a:pt x="30197" y="642"/>
                    <a:pt x="37907" y="642"/>
                    <a:pt x="44974" y="0"/>
                  </a:cubicBezTo>
                  <a:cubicBezTo>
                    <a:pt x="46902" y="0"/>
                    <a:pt x="48829" y="0"/>
                    <a:pt x="50756" y="642"/>
                  </a:cubicBezTo>
                  <a:cubicBezTo>
                    <a:pt x="52684" y="1285"/>
                    <a:pt x="53969" y="3212"/>
                    <a:pt x="53326" y="5140"/>
                  </a:cubicBezTo>
                  <a:cubicBezTo>
                    <a:pt x="52684" y="7067"/>
                    <a:pt x="50756" y="7710"/>
                    <a:pt x="48829" y="8352"/>
                  </a:cubicBezTo>
                  <a:cubicBezTo>
                    <a:pt x="45617" y="9637"/>
                    <a:pt x="42404" y="10280"/>
                    <a:pt x="38549" y="10280"/>
                  </a:cubicBezTo>
                  <a:cubicBezTo>
                    <a:pt x="34694" y="10280"/>
                    <a:pt x="30839" y="10280"/>
                    <a:pt x="26342" y="10280"/>
                  </a:cubicBezTo>
                  <a:cubicBezTo>
                    <a:pt x="17990" y="10922"/>
                    <a:pt x="10280" y="12850"/>
                    <a:pt x="1927" y="12207"/>
                  </a:cubicBezTo>
                  <a:cubicBezTo>
                    <a:pt x="1285" y="12207"/>
                    <a:pt x="642" y="12207"/>
                    <a:pt x="0" y="11565"/>
                  </a:cubicBezTo>
                  <a:cubicBezTo>
                    <a:pt x="1285" y="11565"/>
                    <a:pt x="642" y="10922"/>
                    <a:pt x="642" y="9637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 52">
              <a:extLst>
                <a:ext uri="{FF2B5EF4-FFF2-40B4-BE49-F238E27FC236}">
                  <a16:creationId xmlns:a16="http://schemas.microsoft.com/office/drawing/2014/main" id="{54E5CE12-E8D7-14E9-095A-918AB5EECEB0}"/>
                </a:ext>
              </a:extLst>
            </p:cNvPr>
            <p:cNvSpPr/>
            <p:nvPr/>
          </p:nvSpPr>
          <p:spPr>
            <a:xfrm>
              <a:off x="3202736" y="2427274"/>
              <a:ext cx="88538" cy="55998"/>
            </a:xfrm>
            <a:custGeom>
              <a:avLst/>
              <a:gdLst>
                <a:gd name="connsiteX0" fmla="*/ 1446 w 88538"/>
                <a:gd name="connsiteY0" fmla="*/ 40579 h 55998"/>
                <a:gd name="connsiteX1" fmla="*/ 5301 w 88538"/>
                <a:gd name="connsiteY1" fmla="*/ 43149 h 55998"/>
                <a:gd name="connsiteX2" fmla="*/ 18793 w 88538"/>
                <a:gd name="connsiteY2" fmla="*/ 45076 h 55998"/>
                <a:gd name="connsiteX3" fmla="*/ 22648 w 88538"/>
                <a:gd name="connsiteY3" fmla="*/ 45076 h 55998"/>
                <a:gd name="connsiteX4" fmla="*/ 26503 w 88538"/>
                <a:gd name="connsiteY4" fmla="*/ 48289 h 55998"/>
                <a:gd name="connsiteX5" fmla="*/ 41922 w 88538"/>
                <a:gd name="connsiteY5" fmla="*/ 55356 h 55998"/>
                <a:gd name="connsiteX6" fmla="*/ 56057 w 88538"/>
                <a:gd name="connsiteY6" fmla="*/ 54071 h 55998"/>
                <a:gd name="connsiteX7" fmla="*/ 77902 w 88538"/>
                <a:gd name="connsiteY7" fmla="*/ 55356 h 55998"/>
                <a:gd name="connsiteX8" fmla="*/ 83684 w 88538"/>
                <a:gd name="connsiteY8" fmla="*/ 55999 h 55998"/>
                <a:gd name="connsiteX9" fmla="*/ 86254 w 88538"/>
                <a:gd name="connsiteY9" fmla="*/ 54714 h 55998"/>
                <a:gd name="connsiteX10" fmla="*/ 88181 w 88538"/>
                <a:gd name="connsiteY10" fmla="*/ 46361 h 55998"/>
                <a:gd name="connsiteX11" fmla="*/ 83042 w 88538"/>
                <a:gd name="connsiteY11" fmla="*/ 39294 h 55998"/>
                <a:gd name="connsiteX12" fmla="*/ 70834 w 88538"/>
                <a:gd name="connsiteY12" fmla="*/ 25159 h 55998"/>
                <a:gd name="connsiteX13" fmla="*/ 62482 w 88538"/>
                <a:gd name="connsiteY13" fmla="*/ 12952 h 55998"/>
                <a:gd name="connsiteX14" fmla="*/ 50917 w 88538"/>
                <a:gd name="connsiteY14" fmla="*/ 3315 h 55998"/>
                <a:gd name="connsiteX15" fmla="*/ 34212 w 88538"/>
                <a:gd name="connsiteY15" fmla="*/ 2030 h 55998"/>
                <a:gd name="connsiteX16" fmla="*/ 24575 w 88538"/>
                <a:gd name="connsiteY16" fmla="*/ 2672 h 55998"/>
                <a:gd name="connsiteX17" fmla="*/ 13653 w 88538"/>
                <a:gd name="connsiteY17" fmla="*/ 102 h 55998"/>
                <a:gd name="connsiteX18" fmla="*/ 7228 w 88538"/>
                <a:gd name="connsiteY18" fmla="*/ 6527 h 55998"/>
                <a:gd name="connsiteX19" fmla="*/ 4658 w 88538"/>
                <a:gd name="connsiteY19" fmla="*/ 16807 h 55998"/>
                <a:gd name="connsiteX20" fmla="*/ 4658 w 88538"/>
                <a:gd name="connsiteY20" fmla="*/ 23232 h 55998"/>
                <a:gd name="connsiteX21" fmla="*/ 1446 w 88538"/>
                <a:gd name="connsiteY21" fmla="*/ 31584 h 55998"/>
                <a:gd name="connsiteX22" fmla="*/ 1446 w 88538"/>
                <a:gd name="connsiteY22" fmla="*/ 40579 h 5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8538" h="55998">
                  <a:moveTo>
                    <a:pt x="1446" y="40579"/>
                  </a:moveTo>
                  <a:cubicBezTo>
                    <a:pt x="2731" y="41864"/>
                    <a:pt x="4016" y="42506"/>
                    <a:pt x="5301" y="43149"/>
                  </a:cubicBezTo>
                  <a:cubicBezTo>
                    <a:pt x="9155" y="45076"/>
                    <a:pt x="14295" y="45719"/>
                    <a:pt x="18793" y="45076"/>
                  </a:cubicBezTo>
                  <a:cubicBezTo>
                    <a:pt x="20078" y="45076"/>
                    <a:pt x="21363" y="45076"/>
                    <a:pt x="22648" y="45076"/>
                  </a:cubicBezTo>
                  <a:cubicBezTo>
                    <a:pt x="23933" y="45719"/>
                    <a:pt x="25218" y="47004"/>
                    <a:pt x="26503" y="48289"/>
                  </a:cubicBezTo>
                  <a:cubicBezTo>
                    <a:pt x="30357" y="52786"/>
                    <a:pt x="36140" y="55356"/>
                    <a:pt x="41922" y="55356"/>
                  </a:cubicBezTo>
                  <a:cubicBezTo>
                    <a:pt x="46420" y="55356"/>
                    <a:pt x="51560" y="54714"/>
                    <a:pt x="56057" y="54071"/>
                  </a:cubicBezTo>
                  <a:cubicBezTo>
                    <a:pt x="63124" y="53429"/>
                    <a:pt x="70834" y="53429"/>
                    <a:pt x="77902" y="55356"/>
                  </a:cubicBezTo>
                  <a:cubicBezTo>
                    <a:pt x="79829" y="55999"/>
                    <a:pt x="81756" y="55999"/>
                    <a:pt x="83684" y="55999"/>
                  </a:cubicBezTo>
                  <a:cubicBezTo>
                    <a:pt x="84969" y="55999"/>
                    <a:pt x="85611" y="55356"/>
                    <a:pt x="86254" y="54714"/>
                  </a:cubicBezTo>
                  <a:cubicBezTo>
                    <a:pt x="88824" y="52786"/>
                    <a:pt x="88824" y="49574"/>
                    <a:pt x="88181" y="46361"/>
                  </a:cubicBezTo>
                  <a:cubicBezTo>
                    <a:pt x="86896" y="43791"/>
                    <a:pt x="84969" y="41221"/>
                    <a:pt x="83042" y="39294"/>
                  </a:cubicBezTo>
                  <a:cubicBezTo>
                    <a:pt x="78544" y="34797"/>
                    <a:pt x="74689" y="29657"/>
                    <a:pt x="70834" y="25159"/>
                  </a:cubicBezTo>
                  <a:cubicBezTo>
                    <a:pt x="68264" y="21304"/>
                    <a:pt x="65694" y="16807"/>
                    <a:pt x="62482" y="12952"/>
                  </a:cubicBezTo>
                  <a:cubicBezTo>
                    <a:pt x="59269" y="9097"/>
                    <a:pt x="56057" y="5242"/>
                    <a:pt x="50917" y="3315"/>
                  </a:cubicBezTo>
                  <a:cubicBezTo>
                    <a:pt x="45777" y="745"/>
                    <a:pt x="39352" y="745"/>
                    <a:pt x="34212" y="2030"/>
                  </a:cubicBezTo>
                  <a:cubicBezTo>
                    <a:pt x="31000" y="2672"/>
                    <a:pt x="27788" y="3315"/>
                    <a:pt x="24575" y="2672"/>
                  </a:cubicBezTo>
                  <a:cubicBezTo>
                    <a:pt x="20720" y="2030"/>
                    <a:pt x="17508" y="-540"/>
                    <a:pt x="13653" y="102"/>
                  </a:cubicBezTo>
                  <a:cubicBezTo>
                    <a:pt x="10441" y="745"/>
                    <a:pt x="8513" y="3957"/>
                    <a:pt x="7228" y="6527"/>
                  </a:cubicBezTo>
                  <a:cubicBezTo>
                    <a:pt x="5943" y="9740"/>
                    <a:pt x="4658" y="13594"/>
                    <a:pt x="4658" y="16807"/>
                  </a:cubicBezTo>
                  <a:cubicBezTo>
                    <a:pt x="4658" y="18734"/>
                    <a:pt x="4658" y="21304"/>
                    <a:pt x="4658" y="23232"/>
                  </a:cubicBezTo>
                  <a:cubicBezTo>
                    <a:pt x="4016" y="26444"/>
                    <a:pt x="2088" y="29014"/>
                    <a:pt x="1446" y="31584"/>
                  </a:cubicBezTo>
                  <a:cubicBezTo>
                    <a:pt x="-482" y="34797"/>
                    <a:pt x="-482" y="38009"/>
                    <a:pt x="1446" y="40579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 53">
              <a:extLst>
                <a:ext uri="{FF2B5EF4-FFF2-40B4-BE49-F238E27FC236}">
                  <a16:creationId xmlns:a16="http://schemas.microsoft.com/office/drawing/2014/main" id="{058B6414-3A83-B4F5-45B1-9A4470B79447}"/>
                </a:ext>
              </a:extLst>
            </p:cNvPr>
            <p:cNvSpPr/>
            <p:nvPr/>
          </p:nvSpPr>
          <p:spPr>
            <a:xfrm>
              <a:off x="3202736" y="2427274"/>
              <a:ext cx="88538" cy="55998"/>
            </a:xfrm>
            <a:custGeom>
              <a:avLst/>
              <a:gdLst>
                <a:gd name="connsiteX0" fmla="*/ 1446 w 88538"/>
                <a:gd name="connsiteY0" fmla="*/ 40579 h 55998"/>
                <a:gd name="connsiteX1" fmla="*/ 5301 w 88538"/>
                <a:gd name="connsiteY1" fmla="*/ 43149 h 55998"/>
                <a:gd name="connsiteX2" fmla="*/ 18793 w 88538"/>
                <a:gd name="connsiteY2" fmla="*/ 45076 h 55998"/>
                <a:gd name="connsiteX3" fmla="*/ 22648 w 88538"/>
                <a:gd name="connsiteY3" fmla="*/ 45076 h 55998"/>
                <a:gd name="connsiteX4" fmla="*/ 26503 w 88538"/>
                <a:gd name="connsiteY4" fmla="*/ 48289 h 55998"/>
                <a:gd name="connsiteX5" fmla="*/ 41922 w 88538"/>
                <a:gd name="connsiteY5" fmla="*/ 55356 h 55998"/>
                <a:gd name="connsiteX6" fmla="*/ 56057 w 88538"/>
                <a:gd name="connsiteY6" fmla="*/ 54071 h 55998"/>
                <a:gd name="connsiteX7" fmla="*/ 77902 w 88538"/>
                <a:gd name="connsiteY7" fmla="*/ 55356 h 55998"/>
                <a:gd name="connsiteX8" fmla="*/ 83684 w 88538"/>
                <a:gd name="connsiteY8" fmla="*/ 55999 h 55998"/>
                <a:gd name="connsiteX9" fmla="*/ 86254 w 88538"/>
                <a:gd name="connsiteY9" fmla="*/ 54714 h 55998"/>
                <a:gd name="connsiteX10" fmla="*/ 88181 w 88538"/>
                <a:gd name="connsiteY10" fmla="*/ 46361 h 55998"/>
                <a:gd name="connsiteX11" fmla="*/ 83042 w 88538"/>
                <a:gd name="connsiteY11" fmla="*/ 39294 h 55998"/>
                <a:gd name="connsiteX12" fmla="*/ 70834 w 88538"/>
                <a:gd name="connsiteY12" fmla="*/ 25159 h 55998"/>
                <a:gd name="connsiteX13" fmla="*/ 62482 w 88538"/>
                <a:gd name="connsiteY13" fmla="*/ 12952 h 55998"/>
                <a:gd name="connsiteX14" fmla="*/ 50917 w 88538"/>
                <a:gd name="connsiteY14" fmla="*/ 3315 h 55998"/>
                <a:gd name="connsiteX15" fmla="*/ 34212 w 88538"/>
                <a:gd name="connsiteY15" fmla="*/ 2030 h 55998"/>
                <a:gd name="connsiteX16" fmla="*/ 24575 w 88538"/>
                <a:gd name="connsiteY16" fmla="*/ 2672 h 55998"/>
                <a:gd name="connsiteX17" fmla="*/ 13653 w 88538"/>
                <a:gd name="connsiteY17" fmla="*/ 102 h 55998"/>
                <a:gd name="connsiteX18" fmla="*/ 7228 w 88538"/>
                <a:gd name="connsiteY18" fmla="*/ 6527 h 55998"/>
                <a:gd name="connsiteX19" fmla="*/ 4658 w 88538"/>
                <a:gd name="connsiteY19" fmla="*/ 16807 h 55998"/>
                <a:gd name="connsiteX20" fmla="*/ 4658 w 88538"/>
                <a:gd name="connsiteY20" fmla="*/ 23232 h 55998"/>
                <a:gd name="connsiteX21" fmla="*/ 1446 w 88538"/>
                <a:gd name="connsiteY21" fmla="*/ 31584 h 55998"/>
                <a:gd name="connsiteX22" fmla="*/ 1446 w 88538"/>
                <a:gd name="connsiteY22" fmla="*/ 40579 h 5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8538" h="55998">
                  <a:moveTo>
                    <a:pt x="1446" y="40579"/>
                  </a:moveTo>
                  <a:cubicBezTo>
                    <a:pt x="2731" y="41864"/>
                    <a:pt x="4016" y="42506"/>
                    <a:pt x="5301" y="43149"/>
                  </a:cubicBezTo>
                  <a:cubicBezTo>
                    <a:pt x="9155" y="45076"/>
                    <a:pt x="14295" y="45719"/>
                    <a:pt x="18793" y="45076"/>
                  </a:cubicBezTo>
                  <a:cubicBezTo>
                    <a:pt x="20078" y="45076"/>
                    <a:pt x="21363" y="45076"/>
                    <a:pt x="22648" y="45076"/>
                  </a:cubicBezTo>
                  <a:cubicBezTo>
                    <a:pt x="23933" y="45719"/>
                    <a:pt x="25218" y="47004"/>
                    <a:pt x="26503" y="48289"/>
                  </a:cubicBezTo>
                  <a:cubicBezTo>
                    <a:pt x="30357" y="52786"/>
                    <a:pt x="36140" y="55356"/>
                    <a:pt x="41922" y="55356"/>
                  </a:cubicBezTo>
                  <a:cubicBezTo>
                    <a:pt x="46420" y="55356"/>
                    <a:pt x="51560" y="54714"/>
                    <a:pt x="56057" y="54071"/>
                  </a:cubicBezTo>
                  <a:cubicBezTo>
                    <a:pt x="63124" y="53429"/>
                    <a:pt x="70834" y="53429"/>
                    <a:pt x="77902" y="55356"/>
                  </a:cubicBezTo>
                  <a:cubicBezTo>
                    <a:pt x="79829" y="55999"/>
                    <a:pt x="81756" y="55999"/>
                    <a:pt x="83684" y="55999"/>
                  </a:cubicBezTo>
                  <a:cubicBezTo>
                    <a:pt x="84969" y="55999"/>
                    <a:pt x="85611" y="55356"/>
                    <a:pt x="86254" y="54714"/>
                  </a:cubicBezTo>
                  <a:cubicBezTo>
                    <a:pt x="88824" y="52786"/>
                    <a:pt x="88824" y="49574"/>
                    <a:pt x="88181" y="46361"/>
                  </a:cubicBezTo>
                  <a:cubicBezTo>
                    <a:pt x="86896" y="43791"/>
                    <a:pt x="84969" y="41221"/>
                    <a:pt x="83042" y="39294"/>
                  </a:cubicBezTo>
                  <a:cubicBezTo>
                    <a:pt x="78544" y="34797"/>
                    <a:pt x="74689" y="29657"/>
                    <a:pt x="70834" y="25159"/>
                  </a:cubicBezTo>
                  <a:cubicBezTo>
                    <a:pt x="68264" y="21304"/>
                    <a:pt x="65694" y="16807"/>
                    <a:pt x="62482" y="12952"/>
                  </a:cubicBezTo>
                  <a:cubicBezTo>
                    <a:pt x="59269" y="9097"/>
                    <a:pt x="56057" y="5242"/>
                    <a:pt x="50917" y="3315"/>
                  </a:cubicBezTo>
                  <a:cubicBezTo>
                    <a:pt x="45777" y="745"/>
                    <a:pt x="39352" y="745"/>
                    <a:pt x="34212" y="2030"/>
                  </a:cubicBezTo>
                  <a:cubicBezTo>
                    <a:pt x="31000" y="2672"/>
                    <a:pt x="27788" y="3315"/>
                    <a:pt x="24575" y="2672"/>
                  </a:cubicBezTo>
                  <a:cubicBezTo>
                    <a:pt x="20720" y="2030"/>
                    <a:pt x="17508" y="-540"/>
                    <a:pt x="13653" y="102"/>
                  </a:cubicBezTo>
                  <a:cubicBezTo>
                    <a:pt x="10441" y="745"/>
                    <a:pt x="8513" y="3957"/>
                    <a:pt x="7228" y="6527"/>
                  </a:cubicBezTo>
                  <a:cubicBezTo>
                    <a:pt x="5943" y="9740"/>
                    <a:pt x="4658" y="13594"/>
                    <a:pt x="4658" y="16807"/>
                  </a:cubicBezTo>
                  <a:cubicBezTo>
                    <a:pt x="4658" y="18734"/>
                    <a:pt x="4658" y="21304"/>
                    <a:pt x="4658" y="23232"/>
                  </a:cubicBezTo>
                  <a:cubicBezTo>
                    <a:pt x="4016" y="26444"/>
                    <a:pt x="2088" y="29014"/>
                    <a:pt x="1446" y="31584"/>
                  </a:cubicBezTo>
                  <a:cubicBezTo>
                    <a:pt x="-482" y="34797"/>
                    <a:pt x="-482" y="38009"/>
                    <a:pt x="1446" y="40579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 54">
              <a:extLst>
                <a:ext uri="{FF2B5EF4-FFF2-40B4-BE49-F238E27FC236}">
                  <a16:creationId xmlns:a16="http://schemas.microsoft.com/office/drawing/2014/main" id="{7FAD2752-4102-0F9D-CF45-779DA9C680D4}"/>
                </a:ext>
              </a:extLst>
            </p:cNvPr>
            <p:cNvSpPr/>
            <p:nvPr/>
          </p:nvSpPr>
          <p:spPr>
            <a:xfrm>
              <a:off x="2467791" y="2204823"/>
              <a:ext cx="774549" cy="729261"/>
            </a:xfrm>
            <a:custGeom>
              <a:avLst/>
              <a:gdLst>
                <a:gd name="connsiteX0" fmla="*/ 755664 w 774549"/>
                <a:gd name="connsiteY0" fmla="*/ 306077 h 729261"/>
                <a:gd name="connsiteX1" fmla="*/ 758877 w 774549"/>
                <a:gd name="connsiteY1" fmla="*/ 313787 h 729261"/>
                <a:gd name="connsiteX2" fmla="*/ 763374 w 774549"/>
                <a:gd name="connsiteY2" fmla="*/ 345911 h 729261"/>
                <a:gd name="connsiteX3" fmla="*/ 765944 w 774549"/>
                <a:gd name="connsiteY3" fmla="*/ 360046 h 729261"/>
                <a:gd name="connsiteX4" fmla="*/ 758877 w 774549"/>
                <a:gd name="connsiteY4" fmla="*/ 377393 h 729261"/>
                <a:gd name="connsiteX5" fmla="*/ 748597 w 774549"/>
                <a:gd name="connsiteY5" fmla="*/ 381891 h 729261"/>
                <a:gd name="connsiteX6" fmla="*/ 731892 w 774549"/>
                <a:gd name="connsiteY6" fmla="*/ 392813 h 729261"/>
                <a:gd name="connsiteX7" fmla="*/ 711975 w 774549"/>
                <a:gd name="connsiteY7" fmla="*/ 412087 h 729261"/>
                <a:gd name="connsiteX8" fmla="*/ 692701 w 774549"/>
                <a:gd name="connsiteY8" fmla="*/ 417870 h 729261"/>
                <a:gd name="connsiteX9" fmla="*/ 675996 w 774549"/>
                <a:gd name="connsiteY9" fmla="*/ 422367 h 729261"/>
                <a:gd name="connsiteX10" fmla="*/ 674069 w 774549"/>
                <a:gd name="connsiteY10" fmla="*/ 444854 h 729261"/>
                <a:gd name="connsiteX11" fmla="*/ 696556 w 774549"/>
                <a:gd name="connsiteY11" fmla="*/ 457704 h 729261"/>
                <a:gd name="connsiteX12" fmla="*/ 711333 w 774549"/>
                <a:gd name="connsiteY12" fmla="*/ 460916 h 729261"/>
                <a:gd name="connsiteX13" fmla="*/ 710048 w 774549"/>
                <a:gd name="connsiteY13" fmla="*/ 471196 h 729261"/>
                <a:gd name="connsiteX14" fmla="*/ 710048 w 774549"/>
                <a:gd name="connsiteY14" fmla="*/ 471196 h 729261"/>
                <a:gd name="connsiteX15" fmla="*/ 711975 w 774549"/>
                <a:gd name="connsiteY15" fmla="*/ 483404 h 729261"/>
                <a:gd name="connsiteX16" fmla="*/ 683063 w 774549"/>
                <a:gd name="connsiteY16" fmla="*/ 500108 h 729261"/>
                <a:gd name="connsiteX17" fmla="*/ 672141 w 774549"/>
                <a:gd name="connsiteY17" fmla="*/ 523880 h 729261"/>
                <a:gd name="connsiteX18" fmla="*/ 681136 w 774549"/>
                <a:gd name="connsiteY18" fmla="*/ 553435 h 729261"/>
                <a:gd name="connsiteX19" fmla="*/ 701053 w 774549"/>
                <a:gd name="connsiteY19" fmla="*/ 588129 h 729261"/>
                <a:gd name="connsiteX20" fmla="*/ 724183 w 774549"/>
                <a:gd name="connsiteY20" fmla="*/ 588129 h 729261"/>
                <a:gd name="connsiteX21" fmla="*/ 737032 w 774549"/>
                <a:gd name="connsiteY21" fmla="*/ 615113 h 729261"/>
                <a:gd name="connsiteX22" fmla="*/ 731892 w 774549"/>
                <a:gd name="connsiteY22" fmla="*/ 621538 h 729261"/>
                <a:gd name="connsiteX23" fmla="*/ 719043 w 774549"/>
                <a:gd name="connsiteY23" fmla="*/ 638885 h 729261"/>
                <a:gd name="connsiteX24" fmla="*/ 705550 w 774549"/>
                <a:gd name="connsiteY24" fmla="*/ 642740 h 729261"/>
                <a:gd name="connsiteX25" fmla="*/ 695271 w 774549"/>
                <a:gd name="connsiteY25" fmla="*/ 665870 h 729261"/>
                <a:gd name="connsiteX26" fmla="*/ 672141 w 774549"/>
                <a:gd name="connsiteY26" fmla="*/ 683217 h 729261"/>
                <a:gd name="connsiteX27" fmla="*/ 646442 w 774549"/>
                <a:gd name="connsiteY27" fmla="*/ 693497 h 729261"/>
                <a:gd name="connsiteX28" fmla="*/ 649654 w 774549"/>
                <a:gd name="connsiteY28" fmla="*/ 724979 h 729261"/>
                <a:gd name="connsiteX29" fmla="*/ 645157 w 774549"/>
                <a:gd name="connsiteY29" fmla="*/ 727549 h 729261"/>
                <a:gd name="connsiteX30" fmla="*/ 625240 w 774549"/>
                <a:gd name="connsiteY30" fmla="*/ 727549 h 729261"/>
                <a:gd name="connsiteX31" fmla="*/ 587333 w 774549"/>
                <a:gd name="connsiteY31" fmla="*/ 719196 h 729261"/>
                <a:gd name="connsiteX32" fmla="*/ 559063 w 774549"/>
                <a:gd name="connsiteY32" fmla="*/ 706989 h 729261"/>
                <a:gd name="connsiteX33" fmla="*/ 554566 w 774549"/>
                <a:gd name="connsiteY33" fmla="*/ 701849 h 729261"/>
                <a:gd name="connsiteX34" fmla="*/ 540431 w 774549"/>
                <a:gd name="connsiteY34" fmla="*/ 678077 h 729261"/>
                <a:gd name="connsiteX35" fmla="*/ 524369 w 774549"/>
                <a:gd name="connsiteY35" fmla="*/ 641455 h 729261"/>
                <a:gd name="connsiteX36" fmla="*/ 532079 w 774549"/>
                <a:gd name="connsiteY36" fmla="*/ 615113 h 729261"/>
                <a:gd name="connsiteX37" fmla="*/ 498027 w 774549"/>
                <a:gd name="connsiteY37" fmla="*/ 584917 h 729261"/>
                <a:gd name="connsiteX38" fmla="*/ 458835 w 774549"/>
                <a:gd name="connsiteY38" fmla="*/ 612544 h 729261"/>
                <a:gd name="connsiteX39" fmla="*/ 426068 w 774549"/>
                <a:gd name="connsiteY39" fmla="*/ 627321 h 729261"/>
                <a:gd name="connsiteX40" fmla="*/ 407436 w 774549"/>
                <a:gd name="connsiteY40" fmla="*/ 619611 h 729261"/>
                <a:gd name="connsiteX41" fmla="*/ 399084 w 774549"/>
                <a:gd name="connsiteY41" fmla="*/ 636316 h 729261"/>
                <a:gd name="connsiteX42" fmla="*/ 395872 w 774549"/>
                <a:gd name="connsiteY42" fmla="*/ 650450 h 729261"/>
                <a:gd name="connsiteX43" fmla="*/ 394587 w 774549"/>
                <a:gd name="connsiteY43" fmla="*/ 650450 h 729261"/>
                <a:gd name="connsiteX44" fmla="*/ 376597 w 774549"/>
                <a:gd name="connsiteY44" fmla="*/ 646595 h 729261"/>
                <a:gd name="connsiteX45" fmla="*/ 350897 w 774549"/>
                <a:gd name="connsiteY45" fmla="*/ 624108 h 729261"/>
                <a:gd name="connsiteX46" fmla="*/ 339975 w 774549"/>
                <a:gd name="connsiteY46" fmla="*/ 602906 h 729261"/>
                <a:gd name="connsiteX47" fmla="*/ 336120 w 774549"/>
                <a:gd name="connsiteY47" fmla="*/ 590056 h 729261"/>
                <a:gd name="connsiteX48" fmla="*/ 321986 w 774549"/>
                <a:gd name="connsiteY48" fmla="*/ 575922 h 729261"/>
                <a:gd name="connsiteX49" fmla="*/ 306566 w 774549"/>
                <a:gd name="connsiteY49" fmla="*/ 555362 h 729261"/>
                <a:gd name="connsiteX50" fmla="*/ 285364 w 774549"/>
                <a:gd name="connsiteY50" fmla="*/ 523238 h 729261"/>
                <a:gd name="connsiteX51" fmla="*/ 250027 w 774549"/>
                <a:gd name="connsiteY51" fmla="*/ 509103 h 729261"/>
                <a:gd name="connsiteX52" fmla="*/ 206980 w 774549"/>
                <a:gd name="connsiteY52" fmla="*/ 506533 h 729261"/>
                <a:gd name="connsiteX53" fmla="*/ 174213 w 774549"/>
                <a:gd name="connsiteY53" fmla="*/ 501393 h 729261"/>
                <a:gd name="connsiteX54" fmla="*/ 155581 w 774549"/>
                <a:gd name="connsiteY54" fmla="*/ 469911 h 729261"/>
                <a:gd name="connsiteX55" fmla="*/ 153011 w 774549"/>
                <a:gd name="connsiteY55" fmla="*/ 439714 h 729261"/>
                <a:gd name="connsiteX56" fmla="*/ 176141 w 774549"/>
                <a:gd name="connsiteY56" fmla="*/ 446782 h 729261"/>
                <a:gd name="connsiteX57" fmla="*/ 194773 w 774549"/>
                <a:gd name="connsiteY57" fmla="*/ 448067 h 729261"/>
                <a:gd name="connsiteX58" fmla="*/ 190918 w 774549"/>
                <a:gd name="connsiteY58" fmla="*/ 421725 h 729261"/>
                <a:gd name="connsiteX59" fmla="*/ 187706 w 774549"/>
                <a:gd name="connsiteY59" fmla="*/ 400523 h 729261"/>
                <a:gd name="connsiteX60" fmla="*/ 171001 w 774549"/>
                <a:gd name="connsiteY60" fmla="*/ 403735 h 729261"/>
                <a:gd name="connsiteX61" fmla="*/ 160079 w 774549"/>
                <a:gd name="connsiteY61" fmla="*/ 410160 h 729261"/>
                <a:gd name="connsiteX62" fmla="*/ 147229 w 774549"/>
                <a:gd name="connsiteY62" fmla="*/ 404378 h 729261"/>
                <a:gd name="connsiteX63" fmla="*/ 145944 w 774549"/>
                <a:gd name="connsiteY63" fmla="*/ 402450 h 729261"/>
                <a:gd name="connsiteX64" fmla="*/ 145302 w 774549"/>
                <a:gd name="connsiteY64" fmla="*/ 399880 h 729261"/>
                <a:gd name="connsiteX65" fmla="*/ 142732 w 774549"/>
                <a:gd name="connsiteY65" fmla="*/ 360046 h 729261"/>
                <a:gd name="connsiteX66" fmla="*/ 152369 w 774549"/>
                <a:gd name="connsiteY66" fmla="*/ 346554 h 729261"/>
                <a:gd name="connsiteX67" fmla="*/ 153654 w 774549"/>
                <a:gd name="connsiteY67" fmla="*/ 329207 h 729261"/>
                <a:gd name="connsiteX68" fmla="*/ 138234 w 774549"/>
                <a:gd name="connsiteY68" fmla="*/ 336916 h 729261"/>
                <a:gd name="connsiteX69" fmla="*/ 123457 w 774549"/>
                <a:gd name="connsiteY69" fmla="*/ 345269 h 729261"/>
                <a:gd name="connsiteX70" fmla="*/ 99042 w 774549"/>
                <a:gd name="connsiteY70" fmla="*/ 347196 h 729261"/>
                <a:gd name="connsiteX71" fmla="*/ 82338 w 774549"/>
                <a:gd name="connsiteY71" fmla="*/ 331777 h 729261"/>
                <a:gd name="connsiteX72" fmla="*/ 82338 w 774549"/>
                <a:gd name="connsiteY72" fmla="*/ 315072 h 729261"/>
                <a:gd name="connsiteX73" fmla="*/ 93903 w 774549"/>
                <a:gd name="connsiteY73" fmla="*/ 288087 h 729261"/>
                <a:gd name="connsiteX74" fmla="*/ 118960 w 774549"/>
                <a:gd name="connsiteY74" fmla="*/ 282305 h 729261"/>
                <a:gd name="connsiteX75" fmla="*/ 149156 w 774549"/>
                <a:gd name="connsiteY75" fmla="*/ 281020 h 729261"/>
                <a:gd name="connsiteX76" fmla="*/ 171643 w 774549"/>
                <a:gd name="connsiteY76" fmla="*/ 276523 h 729261"/>
                <a:gd name="connsiteX77" fmla="*/ 193488 w 774549"/>
                <a:gd name="connsiteY77" fmla="*/ 259175 h 729261"/>
                <a:gd name="connsiteX78" fmla="*/ 199270 w 774549"/>
                <a:gd name="connsiteY78" fmla="*/ 248896 h 729261"/>
                <a:gd name="connsiteX79" fmla="*/ 177426 w 774549"/>
                <a:gd name="connsiteY79" fmla="*/ 218056 h 729261"/>
                <a:gd name="connsiteX80" fmla="*/ 158151 w 774549"/>
                <a:gd name="connsiteY80" fmla="*/ 198139 h 729261"/>
                <a:gd name="connsiteX81" fmla="*/ 148514 w 774549"/>
                <a:gd name="connsiteY81" fmla="*/ 180792 h 729261"/>
                <a:gd name="connsiteX82" fmla="*/ 133737 w 774549"/>
                <a:gd name="connsiteY82" fmla="*/ 161517 h 729261"/>
                <a:gd name="connsiteX83" fmla="*/ 110607 w 774549"/>
                <a:gd name="connsiteY83" fmla="*/ 142885 h 729261"/>
                <a:gd name="connsiteX84" fmla="*/ 96472 w 774549"/>
                <a:gd name="connsiteY84" fmla="*/ 112688 h 729261"/>
                <a:gd name="connsiteX85" fmla="*/ 74628 w 774549"/>
                <a:gd name="connsiteY85" fmla="*/ 84419 h 729261"/>
                <a:gd name="connsiteX86" fmla="*/ 53426 w 774549"/>
                <a:gd name="connsiteY86" fmla="*/ 81206 h 729261"/>
                <a:gd name="connsiteX87" fmla="*/ 20017 w 774549"/>
                <a:gd name="connsiteY87" fmla="*/ 85061 h 729261"/>
                <a:gd name="connsiteX88" fmla="*/ 10379 w 774549"/>
                <a:gd name="connsiteY88" fmla="*/ 99196 h 729261"/>
                <a:gd name="connsiteX89" fmla="*/ 5882 w 774549"/>
                <a:gd name="connsiteY89" fmla="*/ 104978 h 729261"/>
                <a:gd name="connsiteX90" fmla="*/ 742 w 774549"/>
                <a:gd name="connsiteY90" fmla="*/ 96626 h 729261"/>
                <a:gd name="connsiteX91" fmla="*/ 742 w 774549"/>
                <a:gd name="connsiteY91" fmla="*/ 79922 h 729261"/>
                <a:gd name="connsiteX92" fmla="*/ 13592 w 774549"/>
                <a:gd name="connsiteY92" fmla="*/ 46512 h 729261"/>
                <a:gd name="connsiteX93" fmla="*/ 14877 w 774549"/>
                <a:gd name="connsiteY93" fmla="*/ 30450 h 729261"/>
                <a:gd name="connsiteX94" fmla="*/ 17446 w 774549"/>
                <a:gd name="connsiteY94" fmla="*/ 18243 h 729261"/>
                <a:gd name="connsiteX95" fmla="*/ 34151 w 774549"/>
                <a:gd name="connsiteY95" fmla="*/ 3465 h 729261"/>
                <a:gd name="connsiteX96" fmla="*/ 39291 w 774549"/>
                <a:gd name="connsiteY96" fmla="*/ 896 h 729261"/>
                <a:gd name="connsiteX97" fmla="*/ 51498 w 774549"/>
                <a:gd name="connsiteY97" fmla="*/ 1538 h 729261"/>
                <a:gd name="connsiteX98" fmla="*/ 51498 w 774549"/>
                <a:gd name="connsiteY98" fmla="*/ 11175 h 729261"/>
                <a:gd name="connsiteX99" fmla="*/ 37364 w 774549"/>
                <a:gd name="connsiteY99" fmla="*/ 24025 h 729261"/>
                <a:gd name="connsiteX100" fmla="*/ 26441 w 774549"/>
                <a:gd name="connsiteY100" fmla="*/ 27238 h 729261"/>
                <a:gd name="connsiteX101" fmla="*/ 24514 w 774549"/>
                <a:gd name="connsiteY101" fmla="*/ 37517 h 729261"/>
                <a:gd name="connsiteX102" fmla="*/ 32866 w 774549"/>
                <a:gd name="connsiteY102" fmla="*/ 52295 h 729261"/>
                <a:gd name="connsiteX103" fmla="*/ 47001 w 774549"/>
                <a:gd name="connsiteY103" fmla="*/ 63859 h 729261"/>
                <a:gd name="connsiteX104" fmla="*/ 71415 w 774549"/>
                <a:gd name="connsiteY104" fmla="*/ 67714 h 729261"/>
                <a:gd name="connsiteX105" fmla="*/ 91333 w 774549"/>
                <a:gd name="connsiteY105" fmla="*/ 59362 h 729261"/>
                <a:gd name="connsiteX106" fmla="*/ 105467 w 774549"/>
                <a:gd name="connsiteY106" fmla="*/ 56792 h 729261"/>
                <a:gd name="connsiteX107" fmla="*/ 113177 w 774549"/>
                <a:gd name="connsiteY107" fmla="*/ 70284 h 729261"/>
                <a:gd name="connsiteX108" fmla="*/ 126027 w 774549"/>
                <a:gd name="connsiteY108" fmla="*/ 70284 h 729261"/>
                <a:gd name="connsiteX109" fmla="*/ 132452 w 774549"/>
                <a:gd name="connsiteY109" fmla="*/ 65144 h 729261"/>
                <a:gd name="connsiteX110" fmla="*/ 147229 w 774549"/>
                <a:gd name="connsiteY110" fmla="*/ 61289 h 729261"/>
                <a:gd name="connsiteX111" fmla="*/ 162006 w 774549"/>
                <a:gd name="connsiteY111" fmla="*/ 65787 h 729261"/>
                <a:gd name="connsiteX112" fmla="*/ 183208 w 774549"/>
                <a:gd name="connsiteY112" fmla="*/ 67714 h 729261"/>
                <a:gd name="connsiteX113" fmla="*/ 206338 w 774549"/>
                <a:gd name="connsiteY113" fmla="*/ 70927 h 729261"/>
                <a:gd name="connsiteX114" fmla="*/ 222400 w 774549"/>
                <a:gd name="connsiteY114" fmla="*/ 82491 h 729261"/>
                <a:gd name="connsiteX115" fmla="*/ 248742 w 774549"/>
                <a:gd name="connsiteY115" fmla="*/ 86989 h 729261"/>
                <a:gd name="connsiteX116" fmla="*/ 264162 w 774549"/>
                <a:gd name="connsiteY116" fmla="*/ 104336 h 729261"/>
                <a:gd name="connsiteX117" fmla="*/ 291146 w 774549"/>
                <a:gd name="connsiteY117" fmla="*/ 108191 h 729261"/>
                <a:gd name="connsiteX118" fmla="*/ 300783 w 774549"/>
                <a:gd name="connsiteY118" fmla="*/ 98554 h 729261"/>
                <a:gd name="connsiteX119" fmla="*/ 327125 w 774549"/>
                <a:gd name="connsiteY119" fmla="*/ 91486 h 729261"/>
                <a:gd name="connsiteX120" fmla="*/ 312348 w 774549"/>
                <a:gd name="connsiteY120" fmla="*/ 104336 h 729261"/>
                <a:gd name="connsiteX121" fmla="*/ 318773 w 774549"/>
                <a:gd name="connsiteY121" fmla="*/ 109476 h 729261"/>
                <a:gd name="connsiteX122" fmla="*/ 329695 w 774549"/>
                <a:gd name="connsiteY122" fmla="*/ 103051 h 729261"/>
                <a:gd name="connsiteX123" fmla="*/ 348970 w 774549"/>
                <a:gd name="connsiteY123" fmla="*/ 102409 h 729261"/>
                <a:gd name="connsiteX124" fmla="*/ 368245 w 774549"/>
                <a:gd name="connsiteY124" fmla="*/ 104336 h 729261"/>
                <a:gd name="connsiteX125" fmla="*/ 378524 w 774549"/>
                <a:gd name="connsiteY125" fmla="*/ 101766 h 729261"/>
                <a:gd name="connsiteX126" fmla="*/ 399084 w 774549"/>
                <a:gd name="connsiteY126" fmla="*/ 110761 h 729261"/>
                <a:gd name="connsiteX127" fmla="*/ 415146 w 774549"/>
                <a:gd name="connsiteY127" fmla="*/ 115258 h 729261"/>
                <a:gd name="connsiteX128" fmla="*/ 433778 w 774549"/>
                <a:gd name="connsiteY128" fmla="*/ 115901 h 729261"/>
                <a:gd name="connsiteX129" fmla="*/ 444701 w 774549"/>
                <a:gd name="connsiteY129" fmla="*/ 111403 h 729261"/>
                <a:gd name="connsiteX130" fmla="*/ 447913 w 774549"/>
                <a:gd name="connsiteY130" fmla="*/ 121041 h 729261"/>
                <a:gd name="connsiteX131" fmla="*/ 463333 w 774549"/>
                <a:gd name="connsiteY131" fmla="*/ 134533 h 729261"/>
                <a:gd name="connsiteX132" fmla="*/ 467830 w 774549"/>
                <a:gd name="connsiteY132" fmla="*/ 149953 h 729261"/>
                <a:gd name="connsiteX133" fmla="*/ 471043 w 774549"/>
                <a:gd name="connsiteY133" fmla="*/ 159590 h 729261"/>
                <a:gd name="connsiteX134" fmla="*/ 477467 w 774549"/>
                <a:gd name="connsiteY134" fmla="*/ 174367 h 729261"/>
                <a:gd name="connsiteX135" fmla="*/ 478753 w 774549"/>
                <a:gd name="connsiteY135" fmla="*/ 201352 h 729261"/>
                <a:gd name="connsiteX136" fmla="*/ 472970 w 774549"/>
                <a:gd name="connsiteY136" fmla="*/ 216771 h 729261"/>
                <a:gd name="connsiteX137" fmla="*/ 468473 w 774549"/>
                <a:gd name="connsiteY137" fmla="*/ 227694 h 729261"/>
                <a:gd name="connsiteX138" fmla="*/ 453695 w 774549"/>
                <a:gd name="connsiteY138" fmla="*/ 241186 h 729261"/>
                <a:gd name="connsiteX139" fmla="*/ 433778 w 774549"/>
                <a:gd name="connsiteY139" fmla="*/ 250181 h 729261"/>
                <a:gd name="connsiteX140" fmla="*/ 424141 w 774549"/>
                <a:gd name="connsiteY140" fmla="*/ 258533 h 729261"/>
                <a:gd name="connsiteX141" fmla="*/ 441488 w 774549"/>
                <a:gd name="connsiteY141" fmla="*/ 261103 h 729261"/>
                <a:gd name="connsiteX142" fmla="*/ 454338 w 774549"/>
                <a:gd name="connsiteY142" fmla="*/ 253393 h 729261"/>
                <a:gd name="connsiteX143" fmla="*/ 474255 w 774549"/>
                <a:gd name="connsiteY143" fmla="*/ 251466 h 729261"/>
                <a:gd name="connsiteX144" fmla="*/ 485177 w 774549"/>
                <a:gd name="connsiteY144" fmla="*/ 246968 h 729261"/>
                <a:gd name="connsiteX145" fmla="*/ 510877 w 774549"/>
                <a:gd name="connsiteY145" fmla="*/ 248896 h 729261"/>
                <a:gd name="connsiteX146" fmla="*/ 523084 w 774549"/>
                <a:gd name="connsiteY146" fmla="*/ 255321 h 729261"/>
                <a:gd name="connsiteX147" fmla="*/ 550068 w 774549"/>
                <a:gd name="connsiteY147" fmla="*/ 261745 h 729261"/>
                <a:gd name="connsiteX148" fmla="*/ 580265 w 774549"/>
                <a:gd name="connsiteY148" fmla="*/ 272668 h 729261"/>
                <a:gd name="connsiteX149" fmla="*/ 607250 w 774549"/>
                <a:gd name="connsiteY149" fmla="*/ 288087 h 729261"/>
                <a:gd name="connsiteX150" fmla="*/ 635519 w 774549"/>
                <a:gd name="connsiteY150" fmla="*/ 301580 h 729261"/>
                <a:gd name="connsiteX151" fmla="*/ 659291 w 774549"/>
                <a:gd name="connsiteY151" fmla="*/ 318927 h 729261"/>
                <a:gd name="connsiteX152" fmla="*/ 688203 w 774549"/>
                <a:gd name="connsiteY152" fmla="*/ 315072 h 729261"/>
                <a:gd name="connsiteX153" fmla="*/ 704908 w 774549"/>
                <a:gd name="connsiteY153" fmla="*/ 295155 h 729261"/>
                <a:gd name="connsiteX154" fmla="*/ 734462 w 774549"/>
                <a:gd name="connsiteY154" fmla="*/ 283590 h 729261"/>
                <a:gd name="connsiteX155" fmla="*/ 754380 w 774549"/>
                <a:gd name="connsiteY155" fmla="*/ 290657 h 729261"/>
                <a:gd name="connsiteX156" fmla="*/ 769157 w 774549"/>
                <a:gd name="connsiteY156" fmla="*/ 289372 h 729261"/>
                <a:gd name="connsiteX157" fmla="*/ 772369 w 774549"/>
                <a:gd name="connsiteY157" fmla="*/ 296440 h 729261"/>
                <a:gd name="connsiteX158" fmla="*/ 755664 w 774549"/>
                <a:gd name="connsiteY158" fmla="*/ 306077 h 729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774549" h="729261">
                  <a:moveTo>
                    <a:pt x="755664" y="306077"/>
                  </a:moveTo>
                  <a:cubicBezTo>
                    <a:pt x="756307" y="309932"/>
                    <a:pt x="758235" y="311217"/>
                    <a:pt x="758877" y="313787"/>
                  </a:cubicBezTo>
                  <a:cubicBezTo>
                    <a:pt x="758877" y="316357"/>
                    <a:pt x="762732" y="339486"/>
                    <a:pt x="763374" y="345911"/>
                  </a:cubicBezTo>
                  <a:cubicBezTo>
                    <a:pt x="764017" y="352336"/>
                    <a:pt x="766587" y="353621"/>
                    <a:pt x="765944" y="360046"/>
                  </a:cubicBezTo>
                  <a:cubicBezTo>
                    <a:pt x="765302" y="366471"/>
                    <a:pt x="763374" y="374823"/>
                    <a:pt x="758877" y="377393"/>
                  </a:cubicBezTo>
                  <a:cubicBezTo>
                    <a:pt x="755022" y="379963"/>
                    <a:pt x="757592" y="375466"/>
                    <a:pt x="748597" y="381891"/>
                  </a:cubicBezTo>
                  <a:cubicBezTo>
                    <a:pt x="739602" y="387673"/>
                    <a:pt x="737675" y="386388"/>
                    <a:pt x="731892" y="392813"/>
                  </a:cubicBezTo>
                  <a:cubicBezTo>
                    <a:pt x="726752" y="399238"/>
                    <a:pt x="717758" y="406305"/>
                    <a:pt x="711975" y="412087"/>
                  </a:cubicBezTo>
                  <a:cubicBezTo>
                    <a:pt x="706836" y="417870"/>
                    <a:pt x="699126" y="417870"/>
                    <a:pt x="692701" y="417870"/>
                  </a:cubicBezTo>
                  <a:cubicBezTo>
                    <a:pt x="685633" y="417870"/>
                    <a:pt x="676639" y="419797"/>
                    <a:pt x="675996" y="422367"/>
                  </a:cubicBezTo>
                  <a:cubicBezTo>
                    <a:pt x="675996" y="424937"/>
                    <a:pt x="663789" y="435217"/>
                    <a:pt x="674069" y="444854"/>
                  </a:cubicBezTo>
                  <a:cubicBezTo>
                    <a:pt x="683706" y="454492"/>
                    <a:pt x="688203" y="457704"/>
                    <a:pt x="696556" y="457704"/>
                  </a:cubicBezTo>
                  <a:cubicBezTo>
                    <a:pt x="704908" y="457704"/>
                    <a:pt x="710690" y="456419"/>
                    <a:pt x="711333" y="460916"/>
                  </a:cubicBezTo>
                  <a:cubicBezTo>
                    <a:pt x="711975" y="464129"/>
                    <a:pt x="708763" y="469269"/>
                    <a:pt x="710048" y="471196"/>
                  </a:cubicBezTo>
                  <a:lnTo>
                    <a:pt x="710048" y="471196"/>
                  </a:lnTo>
                  <a:cubicBezTo>
                    <a:pt x="710690" y="471839"/>
                    <a:pt x="713903" y="480191"/>
                    <a:pt x="711975" y="483404"/>
                  </a:cubicBezTo>
                  <a:cubicBezTo>
                    <a:pt x="710048" y="486616"/>
                    <a:pt x="684991" y="498181"/>
                    <a:pt x="683063" y="500108"/>
                  </a:cubicBezTo>
                  <a:cubicBezTo>
                    <a:pt x="681778" y="501393"/>
                    <a:pt x="672141" y="516170"/>
                    <a:pt x="672141" y="523880"/>
                  </a:cubicBezTo>
                  <a:cubicBezTo>
                    <a:pt x="672141" y="531590"/>
                    <a:pt x="681136" y="553435"/>
                    <a:pt x="681136" y="553435"/>
                  </a:cubicBezTo>
                  <a:cubicBezTo>
                    <a:pt x="681136" y="553435"/>
                    <a:pt x="694628" y="588129"/>
                    <a:pt x="701053" y="588129"/>
                  </a:cubicBezTo>
                  <a:cubicBezTo>
                    <a:pt x="707478" y="588129"/>
                    <a:pt x="717115" y="582347"/>
                    <a:pt x="724183" y="588129"/>
                  </a:cubicBezTo>
                  <a:cubicBezTo>
                    <a:pt x="730607" y="593269"/>
                    <a:pt x="744742" y="606119"/>
                    <a:pt x="737032" y="615113"/>
                  </a:cubicBezTo>
                  <a:cubicBezTo>
                    <a:pt x="735747" y="617041"/>
                    <a:pt x="733820" y="618968"/>
                    <a:pt x="731892" y="621538"/>
                  </a:cubicBezTo>
                  <a:cubicBezTo>
                    <a:pt x="725468" y="629891"/>
                    <a:pt x="719043" y="638885"/>
                    <a:pt x="719043" y="638885"/>
                  </a:cubicBezTo>
                  <a:lnTo>
                    <a:pt x="705550" y="642740"/>
                  </a:lnTo>
                  <a:cubicBezTo>
                    <a:pt x="705550" y="642740"/>
                    <a:pt x="697841" y="658803"/>
                    <a:pt x="695271" y="665870"/>
                  </a:cubicBezTo>
                  <a:cubicBezTo>
                    <a:pt x="692058" y="672937"/>
                    <a:pt x="672784" y="682575"/>
                    <a:pt x="672141" y="683217"/>
                  </a:cubicBezTo>
                  <a:cubicBezTo>
                    <a:pt x="671499" y="684502"/>
                    <a:pt x="647727" y="683217"/>
                    <a:pt x="646442" y="693497"/>
                  </a:cubicBezTo>
                  <a:cubicBezTo>
                    <a:pt x="645157" y="701849"/>
                    <a:pt x="644514" y="718554"/>
                    <a:pt x="649654" y="724979"/>
                  </a:cubicBezTo>
                  <a:cubicBezTo>
                    <a:pt x="647727" y="726264"/>
                    <a:pt x="645799" y="726906"/>
                    <a:pt x="645157" y="727549"/>
                  </a:cubicBezTo>
                  <a:cubicBezTo>
                    <a:pt x="641944" y="731404"/>
                    <a:pt x="625240" y="727549"/>
                    <a:pt x="625240" y="727549"/>
                  </a:cubicBezTo>
                  <a:cubicBezTo>
                    <a:pt x="625240" y="727549"/>
                    <a:pt x="595043" y="721124"/>
                    <a:pt x="587333" y="719196"/>
                  </a:cubicBezTo>
                  <a:cubicBezTo>
                    <a:pt x="581550" y="717911"/>
                    <a:pt x="568058" y="714057"/>
                    <a:pt x="559063" y="706989"/>
                  </a:cubicBezTo>
                  <a:cubicBezTo>
                    <a:pt x="557136" y="705704"/>
                    <a:pt x="555851" y="703777"/>
                    <a:pt x="554566" y="701849"/>
                  </a:cubicBezTo>
                  <a:cubicBezTo>
                    <a:pt x="546856" y="691569"/>
                    <a:pt x="544929" y="684502"/>
                    <a:pt x="540431" y="678077"/>
                  </a:cubicBezTo>
                  <a:cubicBezTo>
                    <a:pt x="535934" y="671652"/>
                    <a:pt x="524369" y="648523"/>
                    <a:pt x="524369" y="641455"/>
                  </a:cubicBezTo>
                  <a:cubicBezTo>
                    <a:pt x="524369" y="634388"/>
                    <a:pt x="532721" y="627321"/>
                    <a:pt x="532079" y="615113"/>
                  </a:cubicBezTo>
                  <a:cubicBezTo>
                    <a:pt x="531436" y="602906"/>
                    <a:pt x="516659" y="583632"/>
                    <a:pt x="498027" y="584917"/>
                  </a:cubicBezTo>
                  <a:cubicBezTo>
                    <a:pt x="479395" y="585559"/>
                    <a:pt x="478110" y="597124"/>
                    <a:pt x="458835" y="612544"/>
                  </a:cubicBezTo>
                  <a:cubicBezTo>
                    <a:pt x="439561" y="627963"/>
                    <a:pt x="431851" y="626036"/>
                    <a:pt x="426068" y="627321"/>
                  </a:cubicBezTo>
                  <a:cubicBezTo>
                    <a:pt x="420286" y="627963"/>
                    <a:pt x="409364" y="620253"/>
                    <a:pt x="407436" y="619611"/>
                  </a:cubicBezTo>
                  <a:cubicBezTo>
                    <a:pt x="405509" y="618968"/>
                    <a:pt x="401654" y="632461"/>
                    <a:pt x="399084" y="636316"/>
                  </a:cubicBezTo>
                  <a:cubicBezTo>
                    <a:pt x="397157" y="638885"/>
                    <a:pt x="396514" y="645953"/>
                    <a:pt x="395872" y="650450"/>
                  </a:cubicBezTo>
                  <a:cubicBezTo>
                    <a:pt x="395229" y="650450"/>
                    <a:pt x="395229" y="650450"/>
                    <a:pt x="394587" y="650450"/>
                  </a:cubicBezTo>
                  <a:cubicBezTo>
                    <a:pt x="387519" y="649808"/>
                    <a:pt x="380452" y="649165"/>
                    <a:pt x="376597" y="646595"/>
                  </a:cubicBezTo>
                  <a:cubicBezTo>
                    <a:pt x="370172" y="642740"/>
                    <a:pt x="356680" y="631818"/>
                    <a:pt x="350897" y="624108"/>
                  </a:cubicBezTo>
                  <a:cubicBezTo>
                    <a:pt x="345115" y="616398"/>
                    <a:pt x="341903" y="610616"/>
                    <a:pt x="339975" y="602906"/>
                  </a:cubicBezTo>
                  <a:cubicBezTo>
                    <a:pt x="338048" y="595196"/>
                    <a:pt x="336763" y="591341"/>
                    <a:pt x="336120" y="590056"/>
                  </a:cubicBezTo>
                  <a:cubicBezTo>
                    <a:pt x="335478" y="588771"/>
                    <a:pt x="328410" y="581062"/>
                    <a:pt x="321986" y="575922"/>
                  </a:cubicBezTo>
                  <a:cubicBezTo>
                    <a:pt x="316203" y="570782"/>
                    <a:pt x="309778" y="565642"/>
                    <a:pt x="306566" y="555362"/>
                  </a:cubicBezTo>
                  <a:cubicBezTo>
                    <a:pt x="303353" y="545082"/>
                    <a:pt x="290504" y="527093"/>
                    <a:pt x="285364" y="523238"/>
                  </a:cubicBezTo>
                  <a:cubicBezTo>
                    <a:pt x="280224" y="519383"/>
                    <a:pt x="257094" y="511030"/>
                    <a:pt x="250027" y="509103"/>
                  </a:cubicBezTo>
                  <a:cubicBezTo>
                    <a:pt x="242960" y="507176"/>
                    <a:pt x="212120" y="506533"/>
                    <a:pt x="206980" y="506533"/>
                  </a:cubicBezTo>
                  <a:cubicBezTo>
                    <a:pt x="201840" y="506533"/>
                    <a:pt x="181281" y="510388"/>
                    <a:pt x="174213" y="501393"/>
                  </a:cubicBezTo>
                  <a:cubicBezTo>
                    <a:pt x="167146" y="492398"/>
                    <a:pt x="155581" y="470554"/>
                    <a:pt x="155581" y="469911"/>
                  </a:cubicBezTo>
                  <a:cubicBezTo>
                    <a:pt x="155581" y="468626"/>
                    <a:pt x="149799" y="440999"/>
                    <a:pt x="153011" y="439714"/>
                  </a:cubicBezTo>
                  <a:cubicBezTo>
                    <a:pt x="156866" y="438429"/>
                    <a:pt x="167789" y="442284"/>
                    <a:pt x="176141" y="446782"/>
                  </a:cubicBezTo>
                  <a:cubicBezTo>
                    <a:pt x="184493" y="451279"/>
                    <a:pt x="194773" y="457704"/>
                    <a:pt x="194773" y="448067"/>
                  </a:cubicBezTo>
                  <a:cubicBezTo>
                    <a:pt x="194773" y="438429"/>
                    <a:pt x="192846" y="432005"/>
                    <a:pt x="190918" y="421725"/>
                  </a:cubicBezTo>
                  <a:cubicBezTo>
                    <a:pt x="188991" y="411445"/>
                    <a:pt x="193488" y="401165"/>
                    <a:pt x="187706" y="400523"/>
                  </a:cubicBezTo>
                  <a:cubicBezTo>
                    <a:pt x="181923" y="399880"/>
                    <a:pt x="172286" y="401165"/>
                    <a:pt x="171001" y="403735"/>
                  </a:cubicBezTo>
                  <a:cubicBezTo>
                    <a:pt x="169716" y="406305"/>
                    <a:pt x="164576" y="410802"/>
                    <a:pt x="160079" y="410160"/>
                  </a:cubicBezTo>
                  <a:cubicBezTo>
                    <a:pt x="155581" y="409517"/>
                    <a:pt x="152369" y="412087"/>
                    <a:pt x="147229" y="404378"/>
                  </a:cubicBezTo>
                  <a:cubicBezTo>
                    <a:pt x="146586" y="403735"/>
                    <a:pt x="146586" y="403093"/>
                    <a:pt x="145944" y="402450"/>
                  </a:cubicBezTo>
                  <a:cubicBezTo>
                    <a:pt x="145302" y="401808"/>
                    <a:pt x="145302" y="401165"/>
                    <a:pt x="145302" y="399880"/>
                  </a:cubicBezTo>
                  <a:cubicBezTo>
                    <a:pt x="141447" y="388958"/>
                    <a:pt x="140162" y="365828"/>
                    <a:pt x="142732" y="360046"/>
                  </a:cubicBezTo>
                  <a:cubicBezTo>
                    <a:pt x="145944" y="353621"/>
                    <a:pt x="149799" y="352336"/>
                    <a:pt x="152369" y="346554"/>
                  </a:cubicBezTo>
                  <a:cubicBezTo>
                    <a:pt x="154939" y="340771"/>
                    <a:pt x="157509" y="329207"/>
                    <a:pt x="153654" y="329207"/>
                  </a:cubicBezTo>
                  <a:cubicBezTo>
                    <a:pt x="150441" y="329207"/>
                    <a:pt x="141447" y="333704"/>
                    <a:pt x="138234" y="336916"/>
                  </a:cubicBezTo>
                  <a:cubicBezTo>
                    <a:pt x="134379" y="340129"/>
                    <a:pt x="127954" y="342699"/>
                    <a:pt x="123457" y="345269"/>
                  </a:cubicBezTo>
                  <a:cubicBezTo>
                    <a:pt x="118960" y="347196"/>
                    <a:pt x="103540" y="349124"/>
                    <a:pt x="99042" y="347196"/>
                  </a:cubicBezTo>
                  <a:cubicBezTo>
                    <a:pt x="94545" y="345269"/>
                    <a:pt x="84908" y="340129"/>
                    <a:pt x="82338" y="331777"/>
                  </a:cubicBezTo>
                  <a:cubicBezTo>
                    <a:pt x="79768" y="323424"/>
                    <a:pt x="81053" y="319569"/>
                    <a:pt x="82338" y="315072"/>
                  </a:cubicBezTo>
                  <a:cubicBezTo>
                    <a:pt x="83623" y="310574"/>
                    <a:pt x="89405" y="290015"/>
                    <a:pt x="93903" y="288087"/>
                  </a:cubicBezTo>
                  <a:cubicBezTo>
                    <a:pt x="98400" y="286160"/>
                    <a:pt x="109965" y="283590"/>
                    <a:pt x="118960" y="282305"/>
                  </a:cubicBezTo>
                  <a:cubicBezTo>
                    <a:pt x="127954" y="281020"/>
                    <a:pt x="145302" y="281020"/>
                    <a:pt x="149156" y="281020"/>
                  </a:cubicBezTo>
                  <a:cubicBezTo>
                    <a:pt x="153011" y="281020"/>
                    <a:pt x="162006" y="284875"/>
                    <a:pt x="171643" y="276523"/>
                  </a:cubicBezTo>
                  <a:cubicBezTo>
                    <a:pt x="181281" y="268813"/>
                    <a:pt x="188991" y="263030"/>
                    <a:pt x="193488" y="259175"/>
                  </a:cubicBezTo>
                  <a:cubicBezTo>
                    <a:pt x="197985" y="255321"/>
                    <a:pt x="201840" y="255321"/>
                    <a:pt x="199270" y="248896"/>
                  </a:cubicBezTo>
                  <a:cubicBezTo>
                    <a:pt x="196701" y="242471"/>
                    <a:pt x="185778" y="225766"/>
                    <a:pt x="177426" y="218056"/>
                  </a:cubicBezTo>
                  <a:cubicBezTo>
                    <a:pt x="169074" y="210346"/>
                    <a:pt x="161364" y="205207"/>
                    <a:pt x="158151" y="198139"/>
                  </a:cubicBezTo>
                  <a:cubicBezTo>
                    <a:pt x="154939" y="191072"/>
                    <a:pt x="153654" y="187859"/>
                    <a:pt x="148514" y="180792"/>
                  </a:cubicBezTo>
                  <a:cubicBezTo>
                    <a:pt x="143374" y="173082"/>
                    <a:pt x="138234" y="167300"/>
                    <a:pt x="133737" y="161517"/>
                  </a:cubicBezTo>
                  <a:cubicBezTo>
                    <a:pt x="129239" y="156377"/>
                    <a:pt x="113177" y="146740"/>
                    <a:pt x="110607" y="142885"/>
                  </a:cubicBezTo>
                  <a:cubicBezTo>
                    <a:pt x="108037" y="138388"/>
                    <a:pt x="102897" y="124253"/>
                    <a:pt x="96472" y="112688"/>
                  </a:cubicBezTo>
                  <a:cubicBezTo>
                    <a:pt x="90048" y="101124"/>
                    <a:pt x="81053" y="86346"/>
                    <a:pt x="74628" y="84419"/>
                  </a:cubicBezTo>
                  <a:cubicBezTo>
                    <a:pt x="68845" y="82491"/>
                    <a:pt x="62421" y="80564"/>
                    <a:pt x="53426" y="81206"/>
                  </a:cubicBezTo>
                  <a:cubicBezTo>
                    <a:pt x="44431" y="81849"/>
                    <a:pt x="25156" y="81849"/>
                    <a:pt x="20017" y="85061"/>
                  </a:cubicBezTo>
                  <a:cubicBezTo>
                    <a:pt x="14877" y="88274"/>
                    <a:pt x="11022" y="95984"/>
                    <a:pt x="10379" y="99196"/>
                  </a:cubicBezTo>
                  <a:cubicBezTo>
                    <a:pt x="9737" y="101766"/>
                    <a:pt x="6524" y="104978"/>
                    <a:pt x="5882" y="104978"/>
                  </a:cubicBezTo>
                  <a:cubicBezTo>
                    <a:pt x="5239" y="104978"/>
                    <a:pt x="1384" y="104978"/>
                    <a:pt x="742" y="96626"/>
                  </a:cubicBezTo>
                  <a:cubicBezTo>
                    <a:pt x="99" y="88274"/>
                    <a:pt x="-543" y="84419"/>
                    <a:pt x="742" y="79922"/>
                  </a:cubicBezTo>
                  <a:cubicBezTo>
                    <a:pt x="1384" y="76067"/>
                    <a:pt x="12949" y="54222"/>
                    <a:pt x="13592" y="46512"/>
                  </a:cubicBezTo>
                  <a:cubicBezTo>
                    <a:pt x="14234" y="38160"/>
                    <a:pt x="14877" y="34947"/>
                    <a:pt x="14877" y="30450"/>
                  </a:cubicBezTo>
                  <a:cubicBezTo>
                    <a:pt x="14877" y="25953"/>
                    <a:pt x="11664" y="27238"/>
                    <a:pt x="17446" y="18243"/>
                  </a:cubicBezTo>
                  <a:cubicBezTo>
                    <a:pt x="21944" y="11818"/>
                    <a:pt x="29011" y="9248"/>
                    <a:pt x="34151" y="3465"/>
                  </a:cubicBezTo>
                  <a:cubicBezTo>
                    <a:pt x="35436" y="2181"/>
                    <a:pt x="37364" y="1538"/>
                    <a:pt x="39291" y="896"/>
                  </a:cubicBezTo>
                  <a:cubicBezTo>
                    <a:pt x="43146" y="-389"/>
                    <a:pt x="48928" y="-389"/>
                    <a:pt x="51498" y="1538"/>
                  </a:cubicBezTo>
                  <a:cubicBezTo>
                    <a:pt x="55353" y="3465"/>
                    <a:pt x="53426" y="9248"/>
                    <a:pt x="51498" y="11175"/>
                  </a:cubicBezTo>
                  <a:cubicBezTo>
                    <a:pt x="47643" y="16315"/>
                    <a:pt x="39291" y="23383"/>
                    <a:pt x="37364" y="24025"/>
                  </a:cubicBezTo>
                  <a:cubicBezTo>
                    <a:pt x="35436" y="24668"/>
                    <a:pt x="26441" y="27238"/>
                    <a:pt x="26441" y="27238"/>
                  </a:cubicBezTo>
                  <a:cubicBezTo>
                    <a:pt x="26441" y="27238"/>
                    <a:pt x="24514" y="33020"/>
                    <a:pt x="24514" y="37517"/>
                  </a:cubicBezTo>
                  <a:cubicBezTo>
                    <a:pt x="24514" y="42015"/>
                    <a:pt x="29011" y="49082"/>
                    <a:pt x="32866" y="52295"/>
                  </a:cubicBezTo>
                  <a:cubicBezTo>
                    <a:pt x="36721" y="55507"/>
                    <a:pt x="39291" y="61289"/>
                    <a:pt x="47001" y="63859"/>
                  </a:cubicBezTo>
                  <a:cubicBezTo>
                    <a:pt x="54711" y="66429"/>
                    <a:pt x="67561" y="68357"/>
                    <a:pt x="71415" y="67714"/>
                  </a:cubicBezTo>
                  <a:cubicBezTo>
                    <a:pt x="75913" y="67072"/>
                    <a:pt x="88120" y="60647"/>
                    <a:pt x="91333" y="59362"/>
                  </a:cubicBezTo>
                  <a:cubicBezTo>
                    <a:pt x="94545" y="58077"/>
                    <a:pt x="102897" y="53580"/>
                    <a:pt x="105467" y="56792"/>
                  </a:cubicBezTo>
                  <a:cubicBezTo>
                    <a:pt x="107395" y="60004"/>
                    <a:pt x="109322" y="68999"/>
                    <a:pt x="113177" y="70284"/>
                  </a:cubicBezTo>
                  <a:cubicBezTo>
                    <a:pt x="117032" y="70927"/>
                    <a:pt x="123457" y="68999"/>
                    <a:pt x="126027" y="70284"/>
                  </a:cubicBezTo>
                  <a:cubicBezTo>
                    <a:pt x="128597" y="71569"/>
                    <a:pt x="131809" y="67072"/>
                    <a:pt x="132452" y="65144"/>
                  </a:cubicBezTo>
                  <a:cubicBezTo>
                    <a:pt x="133737" y="63217"/>
                    <a:pt x="142089" y="60647"/>
                    <a:pt x="147229" y="61289"/>
                  </a:cubicBezTo>
                  <a:cubicBezTo>
                    <a:pt x="153011" y="61932"/>
                    <a:pt x="158151" y="65144"/>
                    <a:pt x="162006" y="65787"/>
                  </a:cubicBezTo>
                  <a:cubicBezTo>
                    <a:pt x="165861" y="67072"/>
                    <a:pt x="177426" y="67714"/>
                    <a:pt x="183208" y="67714"/>
                  </a:cubicBezTo>
                  <a:cubicBezTo>
                    <a:pt x="188348" y="67714"/>
                    <a:pt x="200555" y="65787"/>
                    <a:pt x="206338" y="70927"/>
                  </a:cubicBezTo>
                  <a:cubicBezTo>
                    <a:pt x="212120" y="76067"/>
                    <a:pt x="220473" y="81206"/>
                    <a:pt x="222400" y="82491"/>
                  </a:cubicBezTo>
                  <a:cubicBezTo>
                    <a:pt x="224327" y="83776"/>
                    <a:pt x="246172" y="85061"/>
                    <a:pt x="248742" y="86989"/>
                  </a:cubicBezTo>
                  <a:cubicBezTo>
                    <a:pt x="251312" y="88274"/>
                    <a:pt x="259664" y="98554"/>
                    <a:pt x="264162" y="104336"/>
                  </a:cubicBezTo>
                  <a:cubicBezTo>
                    <a:pt x="268659" y="110118"/>
                    <a:pt x="287291" y="111403"/>
                    <a:pt x="291146" y="108191"/>
                  </a:cubicBezTo>
                  <a:cubicBezTo>
                    <a:pt x="295001" y="104978"/>
                    <a:pt x="296286" y="101124"/>
                    <a:pt x="300783" y="98554"/>
                  </a:cubicBezTo>
                  <a:cubicBezTo>
                    <a:pt x="305281" y="95984"/>
                    <a:pt x="327768" y="88274"/>
                    <a:pt x="327125" y="91486"/>
                  </a:cubicBezTo>
                  <a:cubicBezTo>
                    <a:pt x="326483" y="94699"/>
                    <a:pt x="312348" y="101124"/>
                    <a:pt x="312348" y="104336"/>
                  </a:cubicBezTo>
                  <a:cubicBezTo>
                    <a:pt x="312348" y="107548"/>
                    <a:pt x="314918" y="112046"/>
                    <a:pt x="318773" y="109476"/>
                  </a:cubicBezTo>
                  <a:cubicBezTo>
                    <a:pt x="323271" y="106263"/>
                    <a:pt x="329695" y="103051"/>
                    <a:pt x="329695" y="103051"/>
                  </a:cubicBezTo>
                  <a:cubicBezTo>
                    <a:pt x="329695" y="103051"/>
                    <a:pt x="341260" y="101766"/>
                    <a:pt x="348970" y="102409"/>
                  </a:cubicBezTo>
                  <a:cubicBezTo>
                    <a:pt x="357322" y="103051"/>
                    <a:pt x="367602" y="104336"/>
                    <a:pt x="368245" y="104336"/>
                  </a:cubicBezTo>
                  <a:cubicBezTo>
                    <a:pt x="368887" y="104336"/>
                    <a:pt x="375954" y="101124"/>
                    <a:pt x="378524" y="101766"/>
                  </a:cubicBezTo>
                  <a:cubicBezTo>
                    <a:pt x="381737" y="102409"/>
                    <a:pt x="395872" y="108191"/>
                    <a:pt x="399084" y="110761"/>
                  </a:cubicBezTo>
                  <a:cubicBezTo>
                    <a:pt x="401654" y="113331"/>
                    <a:pt x="415146" y="115258"/>
                    <a:pt x="415146" y="115258"/>
                  </a:cubicBezTo>
                  <a:cubicBezTo>
                    <a:pt x="415146" y="115258"/>
                    <a:pt x="428638" y="117828"/>
                    <a:pt x="433778" y="115901"/>
                  </a:cubicBezTo>
                  <a:cubicBezTo>
                    <a:pt x="439561" y="113973"/>
                    <a:pt x="442131" y="107548"/>
                    <a:pt x="444701" y="111403"/>
                  </a:cubicBezTo>
                  <a:cubicBezTo>
                    <a:pt x="446628" y="115258"/>
                    <a:pt x="442773" y="117828"/>
                    <a:pt x="447913" y="121041"/>
                  </a:cubicBezTo>
                  <a:cubicBezTo>
                    <a:pt x="453053" y="124896"/>
                    <a:pt x="463333" y="134533"/>
                    <a:pt x="463333" y="134533"/>
                  </a:cubicBezTo>
                  <a:cubicBezTo>
                    <a:pt x="463333" y="134533"/>
                    <a:pt x="467830" y="144813"/>
                    <a:pt x="467830" y="149953"/>
                  </a:cubicBezTo>
                  <a:cubicBezTo>
                    <a:pt x="468473" y="155092"/>
                    <a:pt x="469115" y="157020"/>
                    <a:pt x="471043" y="159590"/>
                  </a:cubicBezTo>
                  <a:cubicBezTo>
                    <a:pt x="472970" y="162802"/>
                    <a:pt x="476825" y="172440"/>
                    <a:pt x="477467" y="174367"/>
                  </a:cubicBezTo>
                  <a:cubicBezTo>
                    <a:pt x="478110" y="176295"/>
                    <a:pt x="483250" y="188502"/>
                    <a:pt x="478753" y="201352"/>
                  </a:cubicBezTo>
                  <a:cubicBezTo>
                    <a:pt x="474255" y="213559"/>
                    <a:pt x="473612" y="210989"/>
                    <a:pt x="472970" y="216771"/>
                  </a:cubicBezTo>
                  <a:cubicBezTo>
                    <a:pt x="472328" y="222554"/>
                    <a:pt x="471685" y="223839"/>
                    <a:pt x="468473" y="227694"/>
                  </a:cubicBezTo>
                  <a:cubicBezTo>
                    <a:pt x="465260" y="231548"/>
                    <a:pt x="462048" y="235403"/>
                    <a:pt x="453695" y="241186"/>
                  </a:cubicBezTo>
                  <a:cubicBezTo>
                    <a:pt x="444701" y="246968"/>
                    <a:pt x="438276" y="248896"/>
                    <a:pt x="433778" y="250181"/>
                  </a:cubicBezTo>
                  <a:cubicBezTo>
                    <a:pt x="429281" y="251466"/>
                    <a:pt x="421571" y="255321"/>
                    <a:pt x="424141" y="258533"/>
                  </a:cubicBezTo>
                  <a:cubicBezTo>
                    <a:pt x="426711" y="261745"/>
                    <a:pt x="434421" y="264315"/>
                    <a:pt x="441488" y="261103"/>
                  </a:cubicBezTo>
                  <a:cubicBezTo>
                    <a:pt x="448556" y="257890"/>
                    <a:pt x="454338" y="253393"/>
                    <a:pt x="454338" y="253393"/>
                  </a:cubicBezTo>
                  <a:cubicBezTo>
                    <a:pt x="454338" y="253393"/>
                    <a:pt x="472970" y="251466"/>
                    <a:pt x="474255" y="251466"/>
                  </a:cubicBezTo>
                  <a:cubicBezTo>
                    <a:pt x="475540" y="251466"/>
                    <a:pt x="478110" y="248896"/>
                    <a:pt x="485177" y="246968"/>
                  </a:cubicBezTo>
                  <a:cubicBezTo>
                    <a:pt x="492245" y="245683"/>
                    <a:pt x="507022" y="246968"/>
                    <a:pt x="510877" y="248896"/>
                  </a:cubicBezTo>
                  <a:cubicBezTo>
                    <a:pt x="514732" y="250823"/>
                    <a:pt x="522442" y="255321"/>
                    <a:pt x="523084" y="255321"/>
                  </a:cubicBezTo>
                  <a:cubicBezTo>
                    <a:pt x="523727" y="255963"/>
                    <a:pt x="532721" y="257248"/>
                    <a:pt x="550068" y="261745"/>
                  </a:cubicBezTo>
                  <a:cubicBezTo>
                    <a:pt x="567416" y="266243"/>
                    <a:pt x="569343" y="265600"/>
                    <a:pt x="580265" y="272668"/>
                  </a:cubicBezTo>
                  <a:cubicBezTo>
                    <a:pt x="591188" y="279735"/>
                    <a:pt x="603395" y="286802"/>
                    <a:pt x="607250" y="288087"/>
                  </a:cubicBezTo>
                  <a:cubicBezTo>
                    <a:pt x="610462" y="289372"/>
                    <a:pt x="622027" y="291300"/>
                    <a:pt x="635519" y="301580"/>
                  </a:cubicBezTo>
                  <a:cubicBezTo>
                    <a:pt x="649012" y="311859"/>
                    <a:pt x="646442" y="318927"/>
                    <a:pt x="659291" y="318927"/>
                  </a:cubicBezTo>
                  <a:cubicBezTo>
                    <a:pt x="672141" y="318927"/>
                    <a:pt x="681778" y="322139"/>
                    <a:pt x="688203" y="315072"/>
                  </a:cubicBezTo>
                  <a:cubicBezTo>
                    <a:pt x="694628" y="308005"/>
                    <a:pt x="695913" y="300937"/>
                    <a:pt x="704908" y="295155"/>
                  </a:cubicBezTo>
                  <a:cubicBezTo>
                    <a:pt x="713260" y="289372"/>
                    <a:pt x="731250" y="283590"/>
                    <a:pt x="734462" y="283590"/>
                  </a:cubicBezTo>
                  <a:cubicBezTo>
                    <a:pt x="737032" y="283590"/>
                    <a:pt x="746670" y="289372"/>
                    <a:pt x="754380" y="290657"/>
                  </a:cubicBezTo>
                  <a:cubicBezTo>
                    <a:pt x="762089" y="291300"/>
                    <a:pt x="765944" y="290015"/>
                    <a:pt x="769157" y="289372"/>
                  </a:cubicBezTo>
                  <a:cubicBezTo>
                    <a:pt x="772369" y="289372"/>
                    <a:pt x="777509" y="291300"/>
                    <a:pt x="772369" y="296440"/>
                  </a:cubicBezTo>
                  <a:cubicBezTo>
                    <a:pt x="764017" y="301580"/>
                    <a:pt x="755022" y="302222"/>
                    <a:pt x="755664" y="306077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 55">
              <a:extLst>
                <a:ext uri="{FF2B5EF4-FFF2-40B4-BE49-F238E27FC236}">
                  <a16:creationId xmlns:a16="http://schemas.microsoft.com/office/drawing/2014/main" id="{D4208220-12B7-B011-D88A-1465B6FAF738}"/>
                </a:ext>
              </a:extLst>
            </p:cNvPr>
            <p:cNvSpPr/>
            <p:nvPr/>
          </p:nvSpPr>
          <p:spPr>
            <a:xfrm>
              <a:off x="2467791" y="2204823"/>
              <a:ext cx="774549" cy="729261"/>
            </a:xfrm>
            <a:custGeom>
              <a:avLst/>
              <a:gdLst>
                <a:gd name="connsiteX0" fmla="*/ 755664 w 774549"/>
                <a:gd name="connsiteY0" fmla="*/ 306077 h 729261"/>
                <a:gd name="connsiteX1" fmla="*/ 758877 w 774549"/>
                <a:gd name="connsiteY1" fmla="*/ 313787 h 729261"/>
                <a:gd name="connsiteX2" fmla="*/ 763374 w 774549"/>
                <a:gd name="connsiteY2" fmla="*/ 345911 h 729261"/>
                <a:gd name="connsiteX3" fmla="*/ 765944 w 774549"/>
                <a:gd name="connsiteY3" fmla="*/ 360046 h 729261"/>
                <a:gd name="connsiteX4" fmla="*/ 758877 w 774549"/>
                <a:gd name="connsiteY4" fmla="*/ 377393 h 729261"/>
                <a:gd name="connsiteX5" fmla="*/ 748597 w 774549"/>
                <a:gd name="connsiteY5" fmla="*/ 381891 h 729261"/>
                <a:gd name="connsiteX6" fmla="*/ 731892 w 774549"/>
                <a:gd name="connsiteY6" fmla="*/ 392813 h 729261"/>
                <a:gd name="connsiteX7" fmla="*/ 711975 w 774549"/>
                <a:gd name="connsiteY7" fmla="*/ 412087 h 729261"/>
                <a:gd name="connsiteX8" fmla="*/ 692701 w 774549"/>
                <a:gd name="connsiteY8" fmla="*/ 417870 h 729261"/>
                <a:gd name="connsiteX9" fmla="*/ 675996 w 774549"/>
                <a:gd name="connsiteY9" fmla="*/ 422367 h 729261"/>
                <a:gd name="connsiteX10" fmla="*/ 674069 w 774549"/>
                <a:gd name="connsiteY10" fmla="*/ 444854 h 729261"/>
                <a:gd name="connsiteX11" fmla="*/ 696556 w 774549"/>
                <a:gd name="connsiteY11" fmla="*/ 457704 h 729261"/>
                <a:gd name="connsiteX12" fmla="*/ 711333 w 774549"/>
                <a:gd name="connsiteY12" fmla="*/ 460916 h 729261"/>
                <a:gd name="connsiteX13" fmla="*/ 710048 w 774549"/>
                <a:gd name="connsiteY13" fmla="*/ 471196 h 729261"/>
                <a:gd name="connsiteX14" fmla="*/ 710048 w 774549"/>
                <a:gd name="connsiteY14" fmla="*/ 471196 h 729261"/>
                <a:gd name="connsiteX15" fmla="*/ 711975 w 774549"/>
                <a:gd name="connsiteY15" fmla="*/ 483404 h 729261"/>
                <a:gd name="connsiteX16" fmla="*/ 683063 w 774549"/>
                <a:gd name="connsiteY16" fmla="*/ 500108 h 729261"/>
                <a:gd name="connsiteX17" fmla="*/ 672141 w 774549"/>
                <a:gd name="connsiteY17" fmla="*/ 523880 h 729261"/>
                <a:gd name="connsiteX18" fmla="*/ 681136 w 774549"/>
                <a:gd name="connsiteY18" fmla="*/ 553435 h 729261"/>
                <a:gd name="connsiteX19" fmla="*/ 701053 w 774549"/>
                <a:gd name="connsiteY19" fmla="*/ 588129 h 729261"/>
                <a:gd name="connsiteX20" fmla="*/ 724183 w 774549"/>
                <a:gd name="connsiteY20" fmla="*/ 588129 h 729261"/>
                <a:gd name="connsiteX21" fmla="*/ 737032 w 774549"/>
                <a:gd name="connsiteY21" fmla="*/ 615113 h 729261"/>
                <a:gd name="connsiteX22" fmla="*/ 731892 w 774549"/>
                <a:gd name="connsiteY22" fmla="*/ 621538 h 729261"/>
                <a:gd name="connsiteX23" fmla="*/ 719043 w 774549"/>
                <a:gd name="connsiteY23" fmla="*/ 638885 h 729261"/>
                <a:gd name="connsiteX24" fmla="*/ 705550 w 774549"/>
                <a:gd name="connsiteY24" fmla="*/ 642740 h 729261"/>
                <a:gd name="connsiteX25" fmla="*/ 695271 w 774549"/>
                <a:gd name="connsiteY25" fmla="*/ 665870 h 729261"/>
                <a:gd name="connsiteX26" fmla="*/ 672141 w 774549"/>
                <a:gd name="connsiteY26" fmla="*/ 683217 h 729261"/>
                <a:gd name="connsiteX27" fmla="*/ 646442 w 774549"/>
                <a:gd name="connsiteY27" fmla="*/ 693497 h 729261"/>
                <a:gd name="connsiteX28" fmla="*/ 649654 w 774549"/>
                <a:gd name="connsiteY28" fmla="*/ 724979 h 729261"/>
                <a:gd name="connsiteX29" fmla="*/ 645157 w 774549"/>
                <a:gd name="connsiteY29" fmla="*/ 727549 h 729261"/>
                <a:gd name="connsiteX30" fmla="*/ 625240 w 774549"/>
                <a:gd name="connsiteY30" fmla="*/ 727549 h 729261"/>
                <a:gd name="connsiteX31" fmla="*/ 587333 w 774549"/>
                <a:gd name="connsiteY31" fmla="*/ 719196 h 729261"/>
                <a:gd name="connsiteX32" fmla="*/ 559063 w 774549"/>
                <a:gd name="connsiteY32" fmla="*/ 706989 h 729261"/>
                <a:gd name="connsiteX33" fmla="*/ 554566 w 774549"/>
                <a:gd name="connsiteY33" fmla="*/ 701849 h 729261"/>
                <a:gd name="connsiteX34" fmla="*/ 540431 w 774549"/>
                <a:gd name="connsiteY34" fmla="*/ 678077 h 729261"/>
                <a:gd name="connsiteX35" fmla="*/ 524369 w 774549"/>
                <a:gd name="connsiteY35" fmla="*/ 641455 h 729261"/>
                <a:gd name="connsiteX36" fmla="*/ 532079 w 774549"/>
                <a:gd name="connsiteY36" fmla="*/ 615113 h 729261"/>
                <a:gd name="connsiteX37" fmla="*/ 498027 w 774549"/>
                <a:gd name="connsiteY37" fmla="*/ 584917 h 729261"/>
                <a:gd name="connsiteX38" fmla="*/ 458835 w 774549"/>
                <a:gd name="connsiteY38" fmla="*/ 612544 h 729261"/>
                <a:gd name="connsiteX39" fmla="*/ 426068 w 774549"/>
                <a:gd name="connsiteY39" fmla="*/ 627321 h 729261"/>
                <a:gd name="connsiteX40" fmla="*/ 407436 w 774549"/>
                <a:gd name="connsiteY40" fmla="*/ 619611 h 729261"/>
                <a:gd name="connsiteX41" fmla="*/ 399084 w 774549"/>
                <a:gd name="connsiteY41" fmla="*/ 636316 h 729261"/>
                <a:gd name="connsiteX42" fmla="*/ 395872 w 774549"/>
                <a:gd name="connsiteY42" fmla="*/ 650450 h 729261"/>
                <a:gd name="connsiteX43" fmla="*/ 394587 w 774549"/>
                <a:gd name="connsiteY43" fmla="*/ 650450 h 729261"/>
                <a:gd name="connsiteX44" fmla="*/ 376597 w 774549"/>
                <a:gd name="connsiteY44" fmla="*/ 646595 h 729261"/>
                <a:gd name="connsiteX45" fmla="*/ 350897 w 774549"/>
                <a:gd name="connsiteY45" fmla="*/ 624108 h 729261"/>
                <a:gd name="connsiteX46" fmla="*/ 339975 w 774549"/>
                <a:gd name="connsiteY46" fmla="*/ 602906 h 729261"/>
                <a:gd name="connsiteX47" fmla="*/ 336120 w 774549"/>
                <a:gd name="connsiteY47" fmla="*/ 590056 h 729261"/>
                <a:gd name="connsiteX48" fmla="*/ 321986 w 774549"/>
                <a:gd name="connsiteY48" fmla="*/ 575922 h 729261"/>
                <a:gd name="connsiteX49" fmla="*/ 306566 w 774549"/>
                <a:gd name="connsiteY49" fmla="*/ 555362 h 729261"/>
                <a:gd name="connsiteX50" fmla="*/ 285364 w 774549"/>
                <a:gd name="connsiteY50" fmla="*/ 523238 h 729261"/>
                <a:gd name="connsiteX51" fmla="*/ 250027 w 774549"/>
                <a:gd name="connsiteY51" fmla="*/ 509103 h 729261"/>
                <a:gd name="connsiteX52" fmla="*/ 206980 w 774549"/>
                <a:gd name="connsiteY52" fmla="*/ 506533 h 729261"/>
                <a:gd name="connsiteX53" fmla="*/ 174213 w 774549"/>
                <a:gd name="connsiteY53" fmla="*/ 501393 h 729261"/>
                <a:gd name="connsiteX54" fmla="*/ 155581 w 774549"/>
                <a:gd name="connsiteY54" fmla="*/ 469911 h 729261"/>
                <a:gd name="connsiteX55" fmla="*/ 153011 w 774549"/>
                <a:gd name="connsiteY55" fmla="*/ 439714 h 729261"/>
                <a:gd name="connsiteX56" fmla="*/ 176141 w 774549"/>
                <a:gd name="connsiteY56" fmla="*/ 446782 h 729261"/>
                <a:gd name="connsiteX57" fmla="*/ 194773 w 774549"/>
                <a:gd name="connsiteY57" fmla="*/ 448067 h 729261"/>
                <a:gd name="connsiteX58" fmla="*/ 190918 w 774549"/>
                <a:gd name="connsiteY58" fmla="*/ 421725 h 729261"/>
                <a:gd name="connsiteX59" fmla="*/ 187706 w 774549"/>
                <a:gd name="connsiteY59" fmla="*/ 400523 h 729261"/>
                <a:gd name="connsiteX60" fmla="*/ 171001 w 774549"/>
                <a:gd name="connsiteY60" fmla="*/ 403735 h 729261"/>
                <a:gd name="connsiteX61" fmla="*/ 160079 w 774549"/>
                <a:gd name="connsiteY61" fmla="*/ 410160 h 729261"/>
                <a:gd name="connsiteX62" fmla="*/ 147229 w 774549"/>
                <a:gd name="connsiteY62" fmla="*/ 404378 h 729261"/>
                <a:gd name="connsiteX63" fmla="*/ 145944 w 774549"/>
                <a:gd name="connsiteY63" fmla="*/ 402450 h 729261"/>
                <a:gd name="connsiteX64" fmla="*/ 145302 w 774549"/>
                <a:gd name="connsiteY64" fmla="*/ 399880 h 729261"/>
                <a:gd name="connsiteX65" fmla="*/ 142732 w 774549"/>
                <a:gd name="connsiteY65" fmla="*/ 360046 h 729261"/>
                <a:gd name="connsiteX66" fmla="*/ 152369 w 774549"/>
                <a:gd name="connsiteY66" fmla="*/ 346554 h 729261"/>
                <a:gd name="connsiteX67" fmla="*/ 153654 w 774549"/>
                <a:gd name="connsiteY67" fmla="*/ 329207 h 729261"/>
                <a:gd name="connsiteX68" fmla="*/ 138234 w 774549"/>
                <a:gd name="connsiteY68" fmla="*/ 336916 h 729261"/>
                <a:gd name="connsiteX69" fmla="*/ 123457 w 774549"/>
                <a:gd name="connsiteY69" fmla="*/ 345269 h 729261"/>
                <a:gd name="connsiteX70" fmla="*/ 99042 w 774549"/>
                <a:gd name="connsiteY70" fmla="*/ 347196 h 729261"/>
                <a:gd name="connsiteX71" fmla="*/ 82338 w 774549"/>
                <a:gd name="connsiteY71" fmla="*/ 331777 h 729261"/>
                <a:gd name="connsiteX72" fmla="*/ 82338 w 774549"/>
                <a:gd name="connsiteY72" fmla="*/ 315072 h 729261"/>
                <a:gd name="connsiteX73" fmla="*/ 93903 w 774549"/>
                <a:gd name="connsiteY73" fmla="*/ 288087 h 729261"/>
                <a:gd name="connsiteX74" fmla="*/ 118960 w 774549"/>
                <a:gd name="connsiteY74" fmla="*/ 282305 h 729261"/>
                <a:gd name="connsiteX75" fmla="*/ 149156 w 774549"/>
                <a:gd name="connsiteY75" fmla="*/ 281020 h 729261"/>
                <a:gd name="connsiteX76" fmla="*/ 171643 w 774549"/>
                <a:gd name="connsiteY76" fmla="*/ 276523 h 729261"/>
                <a:gd name="connsiteX77" fmla="*/ 193488 w 774549"/>
                <a:gd name="connsiteY77" fmla="*/ 259175 h 729261"/>
                <a:gd name="connsiteX78" fmla="*/ 199270 w 774549"/>
                <a:gd name="connsiteY78" fmla="*/ 248896 h 729261"/>
                <a:gd name="connsiteX79" fmla="*/ 177426 w 774549"/>
                <a:gd name="connsiteY79" fmla="*/ 218056 h 729261"/>
                <a:gd name="connsiteX80" fmla="*/ 158151 w 774549"/>
                <a:gd name="connsiteY80" fmla="*/ 198139 h 729261"/>
                <a:gd name="connsiteX81" fmla="*/ 148514 w 774549"/>
                <a:gd name="connsiteY81" fmla="*/ 180792 h 729261"/>
                <a:gd name="connsiteX82" fmla="*/ 133737 w 774549"/>
                <a:gd name="connsiteY82" fmla="*/ 161517 h 729261"/>
                <a:gd name="connsiteX83" fmla="*/ 110607 w 774549"/>
                <a:gd name="connsiteY83" fmla="*/ 142885 h 729261"/>
                <a:gd name="connsiteX84" fmla="*/ 96472 w 774549"/>
                <a:gd name="connsiteY84" fmla="*/ 112688 h 729261"/>
                <a:gd name="connsiteX85" fmla="*/ 74628 w 774549"/>
                <a:gd name="connsiteY85" fmla="*/ 84419 h 729261"/>
                <a:gd name="connsiteX86" fmla="*/ 53426 w 774549"/>
                <a:gd name="connsiteY86" fmla="*/ 81206 h 729261"/>
                <a:gd name="connsiteX87" fmla="*/ 20017 w 774549"/>
                <a:gd name="connsiteY87" fmla="*/ 85061 h 729261"/>
                <a:gd name="connsiteX88" fmla="*/ 10379 w 774549"/>
                <a:gd name="connsiteY88" fmla="*/ 99196 h 729261"/>
                <a:gd name="connsiteX89" fmla="*/ 5882 w 774549"/>
                <a:gd name="connsiteY89" fmla="*/ 104978 h 729261"/>
                <a:gd name="connsiteX90" fmla="*/ 742 w 774549"/>
                <a:gd name="connsiteY90" fmla="*/ 96626 h 729261"/>
                <a:gd name="connsiteX91" fmla="*/ 742 w 774549"/>
                <a:gd name="connsiteY91" fmla="*/ 79922 h 729261"/>
                <a:gd name="connsiteX92" fmla="*/ 13592 w 774549"/>
                <a:gd name="connsiteY92" fmla="*/ 46512 h 729261"/>
                <a:gd name="connsiteX93" fmla="*/ 14877 w 774549"/>
                <a:gd name="connsiteY93" fmla="*/ 30450 h 729261"/>
                <a:gd name="connsiteX94" fmla="*/ 17446 w 774549"/>
                <a:gd name="connsiteY94" fmla="*/ 18243 h 729261"/>
                <a:gd name="connsiteX95" fmla="*/ 34151 w 774549"/>
                <a:gd name="connsiteY95" fmla="*/ 3465 h 729261"/>
                <a:gd name="connsiteX96" fmla="*/ 39291 w 774549"/>
                <a:gd name="connsiteY96" fmla="*/ 896 h 729261"/>
                <a:gd name="connsiteX97" fmla="*/ 51498 w 774549"/>
                <a:gd name="connsiteY97" fmla="*/ 1538 h 729261"/>
                <a:gd name="connsiteX98" fmla="*/ 51498 w 774549"/>
                <a:gd name="connsiteY98" fmla="*/ 11175 h 729261"/>
                <a:gd name="connsiteX99" fmla="*/ 37364 w 774549"/>
                <a:gd name="connsiteY99" fmla="*/ 24025 h 729261"/>
                <a:gd name="connsiteX100" fmla="*/ 26441 w 774549"/>
                <a:gd name="connsiteY100" fmla="*/ 27238 h 729261"/>
                <a:gd name="connsiteX101" fmla="*/ 24514 w 774549"/>
                <a:gd name="connsiteY101" fmla="*/ 37517 h 729261"/>
                <a:gd name="connsiteX102" fmla="*/ 32866 w 774549"/>
                <a:gd name="connsiteY102" fmla="*/ 52295 h 729261"/>
                <a:gd name="connsiteX103" fmla="*/ 47001 w 774549"/>
                <a:gd name="connsiteY103" fmla="*/ 63859 h 729261"/>
                <a:gd name="connsiteX104" fmla="*/ 71415 w 774549"/>
                <a:gd name="connsiteY104" fmla="*/ 67714 h 729261"/>
                <a:gd name="connsiteX105" fmla="*/ 91333 w 774549"/>
                <a:gd name="connsiteY105" fmla="*/ 59362 h 729261"/>
                <a:gd name="connsiteX106" fmla="*/ 105467 w 774549"/>
                <a:gd name="connsiteY106" fmla="*/ 56792 h 729261"/>
                <a:gd name="connsiteX107" fmla="*/ 113177 w 774549"/>
                <a:gd name="connsiteY107" fmla="*/ 70284 h 729261"/>
                <a:gd name="connsiteX108" fmla="*/ 126027 w 774549"/>
                <a:gd name="connsiteY108" fmla="*/ 70284 h 729261"/>
                <a:gd name="connsiteX109" fmla="*/ 132452 w 774549"/>
                <a:gd name="connsiteY109" fmla="*/ 65144 h 729261"/>
                <a:gd name="connsiteX110" fmla="*/ 147229 w 774549"/>
                <a:gd name="connsiteY110" fmla="*/ 61289 h 729261"/>
                <a:gd name="connsiteX111" fmla="*/ 162006 w 774549"/>
                <a:gd name="connsiteY111" fmla="*/ 65787 h 729261"/>
                <a:gd name="connsiteX112" fmla="*/ 183208 w 774549"/>
                <a:gd name="connsiteY112" fmla="*/ 67714 h 729261"/>
                <a:gd name="connsiteX113" fmla="*/ 206338 w 774549"/>
                <a:gd name="connsiteY113" fmla="*/ 70927 h 729261"/>
                <a:gd name="connsiteX114" fmla="*/ 222400 w 774549"/>
                <a:gd name="connsiteY114" fmla="*/ 82491 h 729261"/>
                <a:gd name="connsiteX115" fmla="*/ 248742 w 774549"/>
                <a:gd name="connsiteY115" fmla="*/ 86989 h 729261"/>
                <a:gd name="connsiteX116" fmla="*/ 264162 w 774549"/>
                <a:gd name="connsiteY116" fmla="*/ 104336 h 729261"/>
                <a:gd name="connsiteX117" fmla="*/ 291146 w 774549"/>
                <a:gd name="connsiteY117" fmla="*/ 108191 h 729261"/>
                <a:gd name="connsiteX118" fmla="*/ 300783 w 774549"/>
                <a:gd name="connsiteY118" fmla="*/ 98554 h 729261"/>
                <a:gd name="connsiteX119" fmla="*/ 327125 w 774549"/>
                <a:gd name="connsiteY119" fmla="*/ 91486 h 729261"/>
                <a:gd name="connsiteX120" fmla="*/ 312348 w 774549"/>
                <a:gd name="connsiteY120" fmla="*/ 104336 h 729261"/>
                <a:gd name="connsiteX121" fmla="*/ 318773 w 774549"/>
                <a:gd name="connsiteY121" fmla="*/ 109476 h 729261"/>
                <a:gd name="connsiteX122" fmla="*/ 329695 w 774549"/>
                <a:gd name="connsiteY122" fmla="*/ 103051 h 729261"/>
                <a:gd name="connsiteX123" fmla="*/ 348970 w 774549"/>
                <a:gd name="connsiteY123" fmla="*/ 102409 h 729261"/>
                <a:gd name="connsiteX124" fmla="*/ 368245 w 774549"/>
                <a:gd name="connsiteY124" fmla="*/ 104336 h 729261"/>
                <a:gd name="connsiteX125" fmla="*/ 378524 w 774549"/>
                <a:gd name="connsiteY125" fmla="*/ 101766 h 729261"/>
                <a:gd name="connsiteX126" fmla="*/ 399084 w 774549"/>
                <a:gd name="connsiteY126" fmla="*/ 110761 h 729261"/>
                <a:gd name="connsiteX127" fmla="*/ 415146 w 774549"/>
                <a:gd name="connsiteY127" fmla="*/ 115258 h 729261"/>
                <a:gd name="connsiteX128" fmla="*/ 433778 w 774549"/>
                <a:gd name="connsiteY128" fmla="*/ 115901 h 729261"/>
                <a:gd name="connsiteX129" fmla="*/ 444701 w 774549"/>
                <a:gd name="connsiteY129" fmla="*/ 111403 h 729261"/>
                <a:gd name="connsiteX130" fmla="*/ 447913 w 774549"/>
                <a:gd name="connsiteY130" fmla="*/ 121041 h 729261"/>
                <a:gd name="connsiteX131" fmla="*/ 463333 w 774549"/>
                <a:gd name="connsiteY131" fmla="*/ 134533 h 729261"/>
                <a:gd name="connsiteX132" fmla="*/ 467830 w 774549"/>
                <a:gd name="connsiteY132" fmla="*/ 149953 h 729261"/>
                <a:gd name="connsiteX133" fmla="*/ 471043 w 774549"/>
                <a:gd name="connsiteY133" fmla="*/ 159590 h 729261"/>
                <a:gd name="connsiteX134" fmla="*/ 477467 w 774549"/>
                <a:gd name="connsiteY134" fmla="*/ 174367 h 729261"/>
                <a:gd name="connsiteX135" fmla="*/ 478753 w 774549"/>
                <a:gd name="connsiteY135" fmla="*/ 201352 h 729261"/>
                <a:gd name="connsiteX136" fmla="*/ 472970 w 774549"/>
                <a:gd name="connsiteY136" fmla="*/ 216771 h 729261"/>
                <a:gd name="connsiteX137" fmla="*/ 468473 w 774549"/>
                <a:gd name="connsiteY137" fmla="*/ 227694 h 729261"/>
                <a:gd name="connsiteX138" fmla="*/ 453695 w 774549"/>
                <a:gd name="connsiteY138" fmla="*/ 241186 h 729261"/>
                <a:gd name="connsiteX139" fmla="*/ 433778 w 774549"/>
                <a:gd name="connsiteY139" fmla="*/ 250181 h 729261"/>
                <a:gd name="connsiteX140" fmla="*/ 424141 w 774549"/>
                <a:gd name="connsiteY140" fmla="*/ 258533 h 729261"/>
                <a:gd name="connsiteX141" fmla="*/ 441488 w 774549"/>
                <a:gd name="connsiteY141" fmla="*/ 261103 h 729261"/>
                <a:gd name="connsiteX142" fmla="*/ 454338 w 774549"/>
                <a:gd name="connsiteY142" fmla="*/ 253393 h 729261"/>
                <a:gd name="connsiteX143" fmla="*/ 474255 w 774549"/>
                <a:gd name="connsiteY143" fmla="*/ 251466 h 729261"/>
                <a:gd name="connsiteX144" fmla="*/ 485177 w 774549"/>
                <a:gd name="connsiteY144" fmla="*/ 246968 h 729261"/>
                <a:gd name="connsiteX145" fmla="*/ 510877 w 774549"/>
                <a:gd name="connsiteY145" fmla="*/ 248896 h 729261"/>
                <a:gd name="connsiteX146" fmla="*/ 523084 w 774549"/>
                <a:gd name="connsiteY146" fmla="*/ 255321 h 729261"/>
                <a:gd name="connsiteX147" fmla="*/ 550068 w 774549"/>
                <a:gd name="connsiteY147" fmla="*/ 261745 h 729261"/>
                <a:gd name="connsiteX148" fmla="*/ 580265 w 774549"/>
                <a:gd name="connsiteY148" fmla="*/ 272668 h 729261"/>
                <a:gd name="connsiteX149" fmla="*/ 607250 w 774549"/>
                <a:gd name="connsiteY149" fmla="*/ 288087 h 729261"/>
                <a:gd name="connsiteX150" fmla="*/ 635519 w 774549"/>
                <a:gd name="connsiteY150" fmla="*/ 301580 h 729261"/>
                <a:gd name="connsiteX151" fmla="*/ 659291 w 774549"/>
                <a:gd name="connsiteY151" fmla="*/ 318927 h 729261"/>
                <a:gd name="connsiteX152" fmla="*/ 688203 w 774549"/>
                <a:gd name="connsiteY152" fmla="*/ 315072 h 729261"/>
                <a:gd name="connsiteX153" fmla="*/ 704908 w 774549"/>
                <a:gd name="connsiteY153" fmla="*/ 295155 h 729261"/>
                <a:gd name="connsiteX154" fmla="*/ 734462 w 774549"/>
                <a:gd name="connsiteY154" fmla="*/ 283590 h 729261"/>
                <a:gd name="connsiteX155" fmla="*/ 754380 w 774549"/>
                <a:gd name="connsiteY155" fmla="*/ 290657 h 729261"/>
                <a:gd name="connsiteX156" fmla="*/ 769157 w 774549"/>
                <a:gd name="connsiteY156" fmla="*/ 289372 h 729261"/>
                <a:gd name="connsiteX157" fmla="*/ 772369 w 774549"/>
                <a:gd name="connsiteY157" fmla="*/ 296440 h 729261"/>
                <a:gd name="connsiteX158" fmla="*/ 755664 w 774549"/>
                <a:gd name="connsiteY158" fmla="*/ 306077 h 729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774549" h="729261">
                  <a:moveTo>
                    <a:pt x="755664" y="306077"/>
                  </a:moveTo>
                  <a:cubicBezTo>
                    <a:pt x="756307" y="309932"/>
                    <a:pt x="758235" y="311217"/>
                    <a:pt x="758877" y="313787"/>
                  </a:cubicBezTo>
                  <a:cubicBezTo>
                    <a:pt x="758877" y="316357"/>
                    <a:pt x="762732" y="339486"/>
                    <a:pt x="763374" y="345911"/>
                  </a:cubicBezTo>
                  <a:cubicBezTo>
                    <a:pt x="764017" y="352336"/>
                    <a:pt x="766587" y="353621"/>
                    <a:pt x="765944" y="360046"/>
                  </a:cubicBezTo>
                  <a:cubicBezTo>
                    <a:pt x="765302" y="366471"/>
                    <a:pt x="763374" y="374823"/>
                    <a:pt x="758877" y="377393"/>
                  </a:cubicBezTo>
                  <a:cubicBezTo>
                    <a:pt x="755022" y="379963"/>
                    <a:pt x="757592" y="375466"/>
                    <a:pt x="748597" y="381891"/>
                  </a:cubicBezTo>
                  <a:cubicBezTo>
                    <a:pt x="739602" y="387673"/>
                    <a:pt x="737675" y="386388"/>
                    <a:pt x="731892" y="392813"/>
                  </a:cubicBezTo>
                  <a:cubicBezTo>
                    <a:pt x="726752" y="399238"/>
                    <a:pt x="717758" y="406305"/>
                    <a:pt x="711975" y="412087"/>
                  </a:cubicBezTo>
                  <a:cubicBezTo>
                    <a:pt x="706836" y="417870"/>
                    <a:pt x="699126" y="417870"/>
                    <a:pt x="692701" y="417870"/>
                  </a:cubicBezTo>
                  <a:cubicBezTo>
                    <a:pt x="685633" y="417870"/>
                    <a:pt x="676639" y="419797"/>
                    <a:pt x="675996" y="422367"/>
                  </a:cubicBezTo>
                  <a:cubicBezTo>
                    <a:pt x="675996" y="424937"/>
                    <a:pt x="663789" y="435217"/>
                    <a:pt x="674069" y="444854"/>
                  </a:cubicBezTo>
                  <a:cubicBezTo>
                    <a:pt x="683706" y="454492"/>
                    <a:pt x="688203" y="457704"/>
                    <a:pt x="696556" y="457704"/>
                  </a:cubicBezTo>
                  <a:cubicBezTo>
                    <a:pt x="704908" y="457704"/>
                    <a:pt x="710690" y="456419"/>
                    <a:pt x="711333" y="460916"/>
                  </a:cubicBezTo>
                  <a:cubicBezTo>
                    <a:pt x="711975" y="464129"/>
                    <a:pt x="708763" y="469269"/>
                    <a:pt x="710048" y="471196"/>
                  </a:cubicBezTo>
                  <a:lnTo>
                    <a:pt x="710048" y="471196"/>
                  </a:lnTo>
                  <a:cubicBezTo>
                    <a:pt x="710690" y="471839"/>
                    <a:pt x="713903" y="480191"/>
                    <a:pt x="711975" y="483404"/>
                  </a:cubicBezTo>
                  <a:cubicBezTo>
                    <a:pt x="710048" y="486616"/>
                    <a:pt x="684991" y="498181"/>
                    <a:pt x="683063" y="500108"/>
                  </a:cubicBezTo>
                  <a:cubicBezTo>
                    <a:pt x="681778" y="501393"/>
                    <a:pt x="672141" y="516170"/>
                    <a:pt x="672141" y="523880"/>
                  </a:cubicBezTo>
                  <a:cubicBezTo>
                    <a:pt x="672141" y="531590"/>
                    <a:pt x="681136" y="553435"/>
                    <a:pt x="681136" y="553435"/>
                  </a:cubicBezTo>
                  <a:cubicBezTo>
                    <a:pt x="681136" y="553435"/>
                    <a:pt x="694628" y="588129"/>
                    <a:pt x="701053" y="588129"/>
                  </a:cubicBezTo>
                  <a:cubicBezTo>
                    <a:pt x="707478" y="588129"/>
                    <a:pt x="717115" y="582347"/>
                    <a:pt x="724183" y="588129"/>
                  </a:cubicBezTo>
                  <a:cubicBezTo>
                    <a:pt x="730607" y="593269"/>
                    <a:pt x="744742" y="606119"/>
                    <a:pt x="737032" y="615113"/>
                  </a:cubicBezTo>
                  <a:cubicBezTo>
                    <a:pt x="735747" y="617041"/>
                    <a:pt x="733820" y="618968"/>
                    <a:pt x="731892" y="621538"/>
                  </a:cubicBezTo>
                  <a:cubicBezTo>
                    <a:pt x="725468" y="629891"/>
                    <a:pt x="719043" y="638885"/>
                    <a:pt x="719043" y="638885"/>
                  </a:cubicBezTo>
                  <a:lnTo>
                    <a:pt x="705550" y="642740"/>
                  </a:lnTo>
                  <a:cubicBezTo>
                    <a:pt x="705550" y="642740"/>
                    <a:pt x="697841" y="658803"/>
                    <a:pt x="695271" y="665870"/>
                  </a:cubicBezTo>
                  <a:cubicBezTo>
                    <a:pt x="692058" y="672937"/>
                    <a:pt x="672784" y="682575"/>
                    <a:pt x="672141" y="683217"/>
                  </a:cubicBezTo>
                  <a:cubicBezTo>
                    <a:pt x="671499" y="684502"/>
                    <a:pt x="647727" y="683217"/>
                    <a:pt x="646442" y="693497"/>
                  </a:cubicBezTo>
                  <a:cubicBezTo>
                    <a:pt x="645157" y="701849"/>
                    <a:pt x="644514" y="718554"/>
                    <a:pt x="649654" y="724979"/>
                  </a:cubicBezTo>
                  <a:cubicBezTo>
                    <a:pt x="647727" y="726264"/>
                    <a:pt x="645799" y="726906"/>
                    <a:pt x="645157" y="727549"/>
                  </a:cubicBezTo>
                  <a:cubicBezTo>
                    <a:pt x="641944" y="731404"/>
                    <a:pt x="625240" y="727549"/>
                    <a:pt x="625240" y="727549"/>
                  </a:cubicBezTo>
                  <a:cubicBezTo>
                    <a:pt x="625240" y="727549"/>
                    <a:pt x="595043" y="721124"/>
                    <a:pt x="587333" y="719196"/>
                  </a:cubicBezTo>
                  <a:cubicBezTo>
                    <a:pt x="581550" y="717911"/>
                    <a:pt x="568058" y="714057"/>
                    <a:pt x="559063" y="706989"/>
                  </a:cubicBezTo>
                  <a:cubicBezTo>
                    <a:pt x="557136" y="705704"/>
                    <a:pt x="555851" y="703777"/>
                    <a:pt x="554566" y="701849"/>
                  </a:cubicBezTo>
                  <a:cubicBezTo>
                    <a:pt x="546856" y="691569"/>
                    <a:pt x="544929" y="684502"/>
                    <a:pt x="540431" y="678077"/>
                  </a:cubicBezTo>
                  <a:cubicBezTo>
                    <a:pt x="535934" y="671652"/>
                    <a:pt x="524369" y="648523"/>
                    <a:pt x="524369" y="641455"/>
                  </a:cubicBezTo>
                  <a:cubicBezTo>
                    <a:pt x="524369" y="634388"/>
                    <a:pt x="532721" y="627321"/>
                    <a:pt x="532079" y="615113"/>
                  </a:cubicBezTo>
                  <a:cubicBezTo>
                    <a:pt x="531436" y="602906"/>
                    <a:pt x="516659" y="583632"/>
                    <a:pt x="498027" y="584917"/>
                  </a:cubicBezTo>
                  <a:cubicBezTo>
                    <a:pt x="479395" y="585559"/>
                    <a:pt x="478110" y="597124"/>
                    <a:pt x="458835" y="612544"/>
                  </a:cubicBezTo>
                  <a:cubicBezTo>
                    <a:pt x="439561" y="627963"/>
                    <a:pt x="431851" y="626036"/>
                    <a:pt x="426068" y="627321"/>
                  </a:cubicBezTo>
                  <a:cubicBezTo>
                    <a:pt x="420286" y="627963"/>
                    <a:pt x="409364" y="620253"/>
                    <a:pt x="407436" y="619611"/>
                  </a:cubicBezTo>
                  <a:cubicBezTo>
                    <a:pt x="405509" y="618968"/>
                    <a:pt x="401654" y="632461"/>
                    <a:pt x="399084" y="636316"/>
                  </a:cubicBezTo>
                  <a:cubicBezTo>
                    <a:pt x="397157" y="638885"/>
                    <a:pt x="396514" y="645953"/>
                    <a:pt x="395872" y="650450"/>
                  </a:cubicBezTo>
                  <a:cubicBezTo>
                    <a:pt x="395229" y="650450"/>
                    <a:pt x="395229" y="650450"/>
                    <a:pt x="394587" y="650450"/>
                  </a:cubicBezTo>
                  <a:cubicBezTo>
                    <a:pt x="387519" y="649808"/>
                    <a:pt x="380452" y="649165"/>
                    <a:pt x="376597" y="646595"/>
                  </a:cubicBezTo>
                  <a:cubicBezTo>
                    <a:pt x="370172" y="642740"/>
                    <a:pt x="356680" y="631818"/>
                    <a:pt x="350897" y="624108"/>
                  </a:cubicBezTo>
                  <a:cubicBezTo>
                    <a:pt x="345115" y="616398"/>
                    <a:pt x="341903" y="610616"/>
                    <a:pt x="339975" y="602906"/>
                  </a:cubicBezTo>
                  <a:cubicBezTo>
                    <a:pt x="338048" y="595196"/>
                    <a:pt x="336763" y="591341"/>
                    <a:pt x="336120" y="590056"/>
                  </a:cubicBezTo>
                  <a:cubicBezTo>
                    <a:pt x="335478" y="588771"/>
                    <a:pt x="328410" y="581062"/>
                    <a:pt x="321986" y="575922"/>
                  </a:cubicBezTo>
                  <a:cubicBezTo>
                    <a:pt x="316203" y="570782"/>
                    <a:pt x="309778" y="565642"/>
                    <a:pt x="306566" y="555362"/>
                  </a:cubicBezTo>
                  <a:cubicBezTo>
                    <a:pt x="303353" y="545082"/>
                    <a:pt x="290504" y="527093"/>
                    <a:pt x="285364" y="523238"/>
                  </a:cubicBezTo>
                  <a:cubicBezTo>
                    <a:pt x="280224" y="519383"/>
                    <a:pt x="257094" y="511030"/>
                    <a:pt x="250027" y="509103"/>
                  </a:cubicBezTo>
                  <a:cubicBezTo>
                    <a:pt x="242960" y="507176"/>
                    <a:pt x="212120" y="506533"/>
                    <a:pt x="206980" y="506533"/>
                  </a:cubicBezTo>
                  <a:cubicBezTo>
                    <a:pt x="201840" y="506533"/>
                    <a:pt x="181281" y="510388"/>
                    <a:pt x="174213" y="501393"/>
                  </a:cubicBezTo>
                  <a:cubicBezTo>
                    <a:pt x="167146" y="492398"/>
                    <a:pt x="155581" y="470554"/>
                    <a:pt x="155581" y="469911"/>
                  </a:cubicBezTo>
                  <a:cubicBezTo>
                    <a:pt x="155581" y="468626"/>
                    <a:pt x="149799" y="440999"/>
                    <a:pt x="153011" y="439714"/>
                  </a:cubicBezTo>
                  <a:cubicBezTo>
                    <a:pt x="156866" y="438429"/>
                    <a:pt x="167789" y="442284"/>
                    <a:pt x="176141" y="446782"/>
                  </a:cubicBezTo>
                  <a:cubicBezTo>
                    <a:pt x="184493" y="451279"/>
                    <a:pt x="194773" y="457704"/>
                    <a:pt x="194773" y="448067"/>
                  </a:cubicBezTo>
                  <a:cubicBezTo>
                    <a:pt x="194773" y="438429"/>
                    <a:pt x="192846" y="432005"/>
                    <a:pt x="190918" y="421725"/>
                  </a:cubicBezTo>
                  <a:cubicBezTo>
                    <a:pt x="188991" y="411445"/>
                    <a:pt x="193488" y="401165"/>
                    <a:pt x="187706" y="400523"/>
                  </a:cubicBezTo>
                  <a:cubicBezTo>
                    <a:pt x="181923" y="399880"/>
                    <a:pt x="172286" y="401165"/>
                    <a:pt x="171001" y="403735"/>
                  </a:cubicBezTo>
                  <a:cubicBezTo>
                    <a:pt x="169716" y="406305"/>
                    <a:pt x="164576" y="410802"/>
                    <a:pt x="160079" y="410160"/>
                  </a:cubicBezTo>
                  <a:cubicBezTo>
                    <a:pt x="155581" y="409517"/>
                    <a:pt x="152369" y="412087"/>
                    <a:pt x="147229" y="404378"/>
                  </a:cubicBezTo>
                  <a:cubicBezTo>
                    <a:pt x="146586" y="403735"/>
                    <a:pt x="146586" y="403093"/>
                    <a:pt x="145944" y="402450"/>
                  </a:cubicBezTo>
                  <a:cubicBezTo>
                    <a:pt x="145302" y="401808"/>
                    <a:pt x="145302" y="401165"/>
                    <a:pt x="145302" y="399880"/>
                  </a:cubicBezTo>
                  <a:cubicBezTo>
                    <a:pt x="141447" y="388958"/>
                    <a:pt x="140162" y="365828"/>
                    <a:pt x="142732" y="360046"/>
                  </a:cubicBezTo>
                  <a:cubicBezTo>
                    <a:pt x="145944" y="353621"/>
                    <a:pt x="149799" y="352336"/>
                    <a:pt x="152369" y="346554"/>
                  </a:cubicBezTo>
                  <a:cubicBezTo>
                    <a:pt x="154939" y="340771"/>
                    <a:pt x="157509" y="329207"/>
                    <a:pt x="153654" y="329207"/>
                  </a:cubicBezTo>
                  <a:cubicBezTo>
                    <a:pt x="150441" y="329207"/>
                    <a:pt x="141447" y="333704"/>
                    <a:pt x="138234" y="336916"/>
                  </a:cubicBezTo>
                  <a:cubicBezTo>
                    <a:pt x="134379" y="340129"/>
                    <a:pt x="127954" y="342699"/>
                    <a:pt x="123457" y="345269"/>
                  </a:cubicBezTo>
                  <a:cubicBezTo>
                    <a:pt x="118960" y="347196"/>
                    <a:pt x="103540" y="349124"/>
                    <a:pt x="99042" y="347196"/>
                  </a:cubicBezTo>
                  <a:cubicBezTo>
                    <a:pt x="94545" y="345269"/>
                    <a:pt x="84908" y="340129"/>
                    <a:pt x="82338" y="331777"/>
                  </a:cubicBezTo>
                  <a:cubicBezTo>
                    <a:pt x="79768" y="323424"/>
                    <a:pt x="81053" y="319569"/>
                    <a:pt x="82338" y="315072"/>
                  </a:cubicBezTo>
                  <a:cubicBezTo>
                    <a:pt x="83623" y="310574"/>
                    <a:pt x="89405" y="290015"/>
                    <a:pt x="93903" y="288087"/>
                  </a:cubicBezTo>
                  <a:cubicBezTo>
                    <a:pt x="98400" y="286160"/>
                    <a:pt x="109965" y="283590"/>
                    <a:pt x="118960" y="282305"/>
                  </a:cubicBezTo>
                  <a:cubicBezTo>
                    <a:pt x="127954" y="281020"/>
                    <a:pt x="145302" y="281020"/>
                    <a:pt x="149156" y="281020"/>
                  </a:cubicBezTo>
                  <a:cubicBezTo>
                    <a:pt x="153011" y="281020"/>
                    <a:pt x="162006" y="284875"/>
                    <a:pt x="171643" y="276523"/>
                  </a:cubicBezTo>
                  <a:cubicBezTo>
                    <a:pt x="181281" y="268813"/>
                    <a:pt x="188991" y="263030"/>
                    <a:pt x="193488" y="259175"/>
                  </a:cubicBezTo>
                  <a:cubicBezTo>
                    <a:pt x="197985" y="255321"/>
                    <a:pt x="201840" y="255321"/>
                    <a:pt x="199270" y="248896"/>
                  </a:cubicBezTo>
                  <a:cubicBezTo>
                    <a:pt x="196701" y="242471"/>
                    <a:pt x="185778" y="225766"/>
                    <a:pt x="177426" y="218056"/>
                  </a:cubicBezTo>
                  <a:cubicBezTo>
                    <a:pt x="169074" y="210346"/>
                    <a:pt x="161364" y="205207"/>
                    <a:pt x="158151" y="198139"/>
                  </a:cubicBezTo>
                  <a:cubicBezTo>
                    <a:pt x="154939" y="191072"/>
                    <a:pt x="153654" y="187859"/>
                    <a:pt x="148514" y="180792"/>
                  </a:cubicBezTo>
                  <a:cubicBezTo>
                    <a:pt x="143374" y="173082"/>
                    <a:pt x="138234" y="167300"/>
                    <a:pt x="133737" y="161517"/>
                  </a:cubicBezTo>
                  <a:cubicBezTo>
                    <a:pt x="129239" y="156377"/>
                    <a:pt x="113177" y="146740"/>
                    <a:pt x="110607" y="142885"/>
                  </a:cubicBezTo>
                  <a:cubicBezTo>
                    <a:pt x="108037" y="138388"/>
                    <a:pt x="102897" y="124253"/>
                    <a:pt x="96472" y="112688"/>
                  </a:cubicBezTo>
                  <a:cubicBezTo>
                    <a:pt x="90048" y="101124"/>
                    <a:pt x="81053" y="86346"/>
                    <a:pt x="74628" y="84419"/>
                  </a:cubicBezTo>
                  <a:cubicBezTo>
                    <a:pt x="68845" y="82491"/>
                    <a:pt x="62421" y="80564"/>
                    <a:pt x="53426" y="81206"/>
                  </a:cubicBezTo>
                  <a:cubicBezTo>
                    <a:pt x="44431" y="81849"/>
                    <a:pt x="25156" y="81849"/>
                    <a:pt x="20017" y="85061"/>
                  </a:cubicBezTo>
                  <a:cubicBezTo>
                    <a:pt x="14877" y="88274"/>
                    <a:pt x="11022" y="95984"/>
                    <a:pt x="10379" y="99196"/>
                  </a:cubicBezTo>
                  <a:cubicBezTo>
                    <a:pt x="9737" y="101766"/>
                    <a:pt x="6524" y="104978"/>
                    <a:pt x="5882" y="104978"/>
                  </a:cubicBezTo>
                  <a:cubicBezTo>
                    <a:pt x="5239" y="104978"/>
                    <a:pt x="1384" y="104978"/>
                    <a:pt x="742" y="96626"/>
                  </a:cubicBezTo>
                  <a:cubicBezTo>
                    <a:pt x="99" y="88274"/>
                    <a:pt x="-543" y="84419"/>
                    <a:pt x="742" y="79922"/>
                  </a:cubicBezTo>
                  <a:cubicBezTo>
                    <a:pt x="1384" y="76067"/>
                    <a:pt x="12949" y="54222"/>
                    <a:pt x="13592" y="46512"/>
                  </a:cubicBezTo>
                  <a:cubicBezTo>
                    <a:pt x="14234" y="38160"/>
                    <a:pt x="14877" y="34947"/>
                    <a:pt x="14877" y="30450"/>
                  </a:cubicBezTo>
                  <a:cubicBezTo>
                    <a:pt x="14877" y="25953"/>
                    <a:pt x="11664" y="27238"/>
                    <a:pt x="17446" y="18243"/>
                  </a:cubicBezTo>
                  <a:cubicBezTo>
                    <a:pt x="21944" y="11818"/>
                    <a:pt x="29011" y="9248"/>
                    <a:pt x="34151" y="3465"/>
                  </a:cubicBezTo>
                  <a:cubicBezTo>
                    <a:pt x="35436" y="2181"/>
                    <a:pt x="37364" y="1538"/>
                    <a:pt x="39291" y="896"/>
                  </a:cubicBezTo>
                  <a:cubicBezTo>
                    <a:pt x="43146" y="-389"/>
                    <a:pt x="48928" y="-389"/>
                    <a:pt x="51498" y="1538"/>
                  </a:cubicBezTo>
                  <a:cubicBezTo>
                    <a:pt x="55353" y="3465"/>
                    <a:pt x="53426" y="9248"/>
                    <a:pt x="51498" y="11175"/>
                  </a:cubicBezTo>
                  <a:cubicBezTo>
                    <a:pt x="47643" y="16315"/>
                    <a:pt x="39291" y="23383"/>
                    <a:pt x="37364" y="24025"/>
                  </a:cubicBezTo>
                  <a:cubicBezTo>
                    <a:pt x="35436" y="24668"/>
                    <a:pt x="26441" y="27238"/>
                    <a:pt x="26441" y="27238"/>
                  </a:cubicBezTo>
                  <a:cubicBezTo>
                    <a:pt x="26441" y="27238"/>
                    <a:pt x="24514" y="33020"/>
                    <a:pt x="24514" y="37517"/>
                  </a:cubicBezTo>
                  <a:cubicBezTo>
                    <a:pt x="24514" y="42015"/>
                    <a:pt x="29011" y="49082"/>
                    <a:pt x="32866" y="52295"/>
                  </a:cubicBezTo>
                  <a:cubicBezTo>
                    <a:pt x="36721" y="55507"/>
                    <a:pt x="39291" y="61289"/>
                    <a:pt x="47001" y="63859"/>
                  </a:cubicBezTo>
                  <a:cubicBezTo>
                    <a:pt x="54711" y="66429"/>
                    <a:pt x="67561" y="68357"/>
                    <a:pt x="71415" y="67714"/>
                  </a:cubicBezTo>
                  <a:cubicBezTo>
                    <a:pt x="75913" y="67072"/>
                    <a:pt x="88120" y="60647"/>
                    <a:pt x="91333" y="59362"/>
                  </a:cubicBezTo>
                  <a:cubicBezTo>
                    <a:pt x="94545" y="58077"/>
                    <a:pt x="102897" y="53580"/>
                    <a:pt x="105467" y="56792"/>
                  </a:cubicBezTo>
                  <a:cubicBezTo>
                    <a:pt x="107395" y="60004"/>
                    <a:pt x="109322" y="68999"/>
                    <a:pt x="113177" y="70284"/>
                  </a:cubicBezTo>
                  <a:cubicBezTo>
                    <a:pt x="117032" y="70927"/>
                    <a:pt x="123457" y="68999"/>
                    <a:pt x="126027" y="70284"/>
                  </a:cubicBezTo>
                  <a:cubicBezTo>
                    <a:pt x="128597" y="71569"/>
                    <a:pt x="131809" y="67072"/>
                    <a:pt x="132452" y="65144"/>
                  </a:cubicBezTo>
                  <a:cubicBezTo>
                    <a:pt x="133737" y="63217"/>
                    <a:pt x="142089" y="60647"/>
                    <a:pt x="147229" y="61289"/>
                  </a:cubicBezTo>
                  <a:cubicBezTo>
                    <a:pt x="153011" y="61932"/>
                    <a:pt x="158151" y="65144"/>
                    <a:pt x="162006" y="65787"/>
                  </a:cubicBezTo>
                  <a:cubicBezTo>
                    <a:pt x="165861" y="67072"/>
                    <a:pt x="177426" y="67714"/>
                    <a:pt x="183208" y="67714"/>
                  </a:cubicBezTo>
                  <a:cubicBezTo>
                    <a:pt x="188348" y="67714"/>
                    <a:pt x="200555" y="65787"/>
                    <a:pt x="206338" y="70927"/>
                  </a:cubicBezTo>
                  <a:cubicBezTo>
                    <a:pt x="212120" y="76067"/>
                    <a:pt x="220473" y="81206"/>
                    <a:pt x="222400" y="82491"/>
                  </a:cubicBezTo>
                  <a:cubicBezTo>
                    <a:pt x="224327" y="83776"/>
                    <a:pt x="246172" y="85061"/>
                    <a:pt x="248742" y="86989"/>
                  </a:cubicBezTo>
                  <a:cubicBezTo>
                    <a:pt x="251312" y="88274"/>
                    <a:pt x="259664" y="98554"/>
                    <a:pt x="264162" y="104336"/>
                  </a:cubicBezTo>
                  <a:cubicBezTo>
                    <a:pt x="268659" y="110118"/>
                    <a:pt x="287291" y="111403"/>
                    <a:pt x="291146" y="108191"/>
                  </a:cubicBezTo>
                  <a:cubicBezTo>
                    <a:pt x="295001" y="104978"/>
                    <a:pt x="296286" y="101124"/>
                    <a:pt x="300783" y="98554"/>
                  </a:cubicBezTo>
                  <a:cubicBezTo>
                    <a:pt x="305281" y="95984"/>
                    <a:pt x="327768" y="88274"/>
                    <a:pt x="327125" y="91486"/>
                  </a:cubicBezTo>
                  <a:cubicBezTo>
                    <a:pt x="326483" y="94699"/>
                    <a:pt x="312348" y="101124"/>
                    <a:pt x="312348" y="104336"/>
                  </a:cubicBezTo>
                  <a:cubicBezTo>
                    <a:pt x="312348" y="107548"/>
                    <a:pt x="314918" y="112046"/>
                    <a:pt x="318773" y="109476"/>
                  </a:cubicBezTo>
                  <a:cubicBezTo>
                    <a:pt x="323271" y="106263"/>
                    <a:pt x="329695" y="103051"/>
                    <a:pt x="329695" y="103051"/>
                  </a:cubicBezTo>
                  <a:cubicBezTo>
                    <a:pt x="329695" y="103051"/>
                    <a:pt x="341260" y="101766"/>
                    <a:pt x="348970" y="102409"/>
                  </a:cubicBezTo>
                  <a:cubicBezTo>
                    <a:pt x="357322" y="103051"/>
                    <a:pt x="367602" y="104336"/>
                    <a:pt x="368245" y="104336"/>
                  </a:cubicBezTo>
                  <a:cubicBezTo>
                    <a:pt x="368887" y="104336"/>
                    <a:pt x="375954" y="101124"/>
                    <a:pt x="378524" y="101766"/>
                  </a:cubicBezTo>
                  <a:cubicBezTo>
                    <a:pt x="381737" y="102409"/>
                    <a:pt x="395872" y="108191"/>
                    <a:pt x="399084" y="110761"/>
                  </a:cubicBezTo>
                  <a:cubicBezTo>
                    <a:pt x="401654" y="113331"/>
                    <a:pt x="415146" y="115258"/>
                    <a:pt x="415146" y="115258"/>
                  </a:cubicBezTo>
                  <a:cubicBezTo>
                    <a:pt x="415146" y="115258"/>
                    <a:pt x="428638" y="117828"/>
                    <a:pt x="433778" y="115901"/>
                  </a:cubicBezTo>
                  <a:cubicBezTo>
                    <a:pt x="439561" y="113973"/>
                    <a:pt x="442131" y="107548"/>
                    <a:pt x="444701" y="111403"/>
                  </a:cubicBezTo>
                  <a:cubicBezTo>
                    <a:pt x="446628" y="115258"/>
                    <a:pt x="442773" y="117828"/>
                    <a:pt x="447913" y="121041"/>
                  </a:cubicBezTo>
                  <a:cubicBezTo>
                    <a:pt x="453053" y="124896"/>
                    <a:pt x="463333" y="134533"/>
                    <a:pt x="463333" y="134533"/>
                  </a:cubicBezTo>
                  <a:cubicBezTo>
                    <a:pt x="463333" y="134533"/>
                    <a:pt x="467830" y="144813"/>
                    <a:pt x="467830" y="149953"/>
                  </a:cubicBezTo>
                  <a:cubicBezTo>
                    <a:pt x="468473" y="155092"/>
                    <a:pt x="469115" y="157020"/>
                    <a:pt x="471043" y="159590"/>
                  </a:cubicBezTo>
                  <a:cubicBezTo>
                    <a:pt x="472970" y="162802"/>
                    <a:pt x="476825" y="172440"/>
                    <a:pt x="477467" y="174367"/>
                  </a:cubicBezTo>
                  <a:cubicBezTo>
                    <a:pt x="478110" y="176295"/>
                    <a:pt x="483250" y="188502"/>
                    <a:pt x="478753" y="201352"/>
                  </a:cubicBezTo>
                  <a:cubicBezTo>
                    <a:pt x="474255" y="213559"/>
                    <a:pt x="473612" y="210989"/>
                    <a:pt x="472970" y="216771"/>
                  </a:cubicBezTo>
                  <a:cubicBezTo>
                    <a:pt x="472328" y="222554"/>
                    <a:pt x="471685" y="223839"/>
                    <a:pt x="468473" y="227694"/>
                  </a:cubicBezTo>
                  <a:cubicBezTo>
                    <a:pt x="465260" y="231548"/>
                    <a:pt x="462048" y="235403"/>
                    <a:pt x="453695" y="241186"/>
                  </a:cubicBezTo>
                  <a:cubicBezTo>
                    <a:pt x="444701" y="246968"/>
                    <a:pt x="438276" y="248896"/>
                    <a:pt x="433778" y="250181"/>
                  </a:cubicBezTo>
                  <a:cubicBezTo>
                    <a:pt x="429281" y="251466"/>
                    <a:pt x="421571" y="255321"/>
                    <a:pt x="424141" y="258533"/>
                  </a:cubicBezTo>
                  <a:cubicBezTo>
                    <a:pt x="426711" y="261745"/>
                    <a:pt x="434421" y="264315"/>
                    <a:pt x="441488" y="261103"/>
                  </a:cubicBezTo>
                  <a:cubicBezTo>
                    <a:pt x="448556" y="257890"/>
                    <a:pt x="454338" y="253393"/>
                    <a:pt x="454338" y="253393"/>
                  </a:cubicBezTo>
                  <a:cubicBezTo>
                    <a:pt x="454338" y="253393"/>
                    <a:pt x="472970" y="251466"/>
                    <a:pt x="474255" y="251466"/>
                  </a:cubicBezTo>
                  <a:cubicBezTo>
                    <a:pt x="475540" y="251466"/>
                    <a:pt x="478110" y="248896"/>
                    <a:pt x="485177" y="246968"/>
                  </a:cubicBezTo>
                  <a:cubicBezTo>
                    <a:pt x="492245" y="245683"/>
                    <a:pt x="507022" y="246968"/>
                    <a:pt x="510877" y="248896"/>
                  </a:cubicBezTo>
                  <a:cubicBezTo>
                    <a:pt x="514732" y="250823"/>
                    <a:pt x="522442" y="255321"/>
                    <a:pt x="523084" y="255321"/>
                  </a:cubicBezTo>
                  <a:cubicBezTo>
                    <a:pt x="523727" y="255963"/>
                    <a:pt x="532721" y="257248"/>
                    <a:pt x="550068" y="261745"/>
                  </a:cubicBezTo>
                  <a:cubicBezTo>
                    <a:pt x="567416" y="266243"/>
                    <a:pt x="569343" y="265600"/>
                    <a:pt x="580265" y="272668"/>
                  </a:cubicBezTo>
                  <a:cubicBezTo>
                    <a:pt x="591188" y="279735"/>
                    <a:pt x="603395" y="286802"/>
                    <a:pt x="607250" y="288087"/>
                  </a:cubicBezTo>
                  <a:cubicBezTo>
                    <a:pt x="610462" y="289372"/>
                    <a:pt x="622027" y="291300"/>
                    <a:pt x="635519" y="301580"/>
                  </a:cubicBezTo>
                  <a:cubicBezTo>
                    <a:pt x="649012" y="311859"/>
                    <a:pt x="646442" y="318927"/>
                    <a:pt x="659291" y="318927"/>
                  </a:cubicBezTo>
                  <a:cubicBezTo>
                    <a:pt x="672141" y="318927"/>
                    <a:pt x="681778" y="322139"/>
                    <a:pt x="688203" y="315072"/>
                  </a:cubicBezTo>
                  <a:cubicBezTo>
                    <a:pt x="694628" y="308005"/>
                    <a:pt x="695913" y="300937"/>
                    <a:pt x="704908" y="295155"/>
                  </a:cubicBezTo>
                  <a:cubicBezTo>
                    <a:pt x="713260" y="289372"/>
                    <a:pt x="731250" y="283590"/>
                    <a:pt x="734462" y="283590"/>
                  </a:cubicBezTo>
                  <a:cubicBezTo>
                    <a:pt x="737032" y="283590"/>
                    <a:pt x="746670" y="289372"/>
                    <a:pt x="754380" y="290657"/>
                  </a:cubicBezTo>
                  <a:cubicBezTo>
                    <a:pt x="762089" y="291300"/>
                    <a:pt x="765944" y="290015"/>
                    <a:pt x="769157" y="289372"/>
                  </a:cubicBezTo>
                  <a:cubicBezTo>
                    <a:pt x="772369" y="289372"/>
                    <a:pt x="777509" y="291300"/>
                    <a:pt x="772369" y="296440"/>
                  </a:cubicBezTo>
                  <a:cubicBezTo>
                    <a:pt x="764017" y="301580"/>
                    <a:pt x="755022" y="302222"/>
                    <a:pt x="755664" y="306077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 56">
              <a:extLst>
                <a:ext uri="{FF2B5EF4-FFF2-40B4-BE49-F238E27FC236}">
                  <a16:creationId xmlns:a16="http://schemas.microsoft.com/office/drawing/2014/main" id="{345D22E3-FB6A-D469-62B3-A16D86DAF4BD}"/>
                </a:ext>
              </a:extLst>
            </p:cNvPr>
            <p:cNvSpPr/>
            <p:nvPr/>
          </p:nvSpPr>
          <p:spPr>
            <a:xfrm>
              <a:off x="2008512" y="2708821"/>
              <a:ext cx="1382632" cy="1137167"/>
            </a:xfrm>
            <a:custGeom>
              <a:avLst/>
              <a:gdLst>
                <a:gd name="connsiteX0" fmla="*/ 646342 w 1382632"/>
                <a:gd name="connsiteY0" fmla="*/ 362970 h 1137167"/>
                <a:gd name="connsiteX1" fmla="*/ 642487 w 1382632"/>
                <a:gd name="connsiteY1" fmla="*/ 371965 h 1137167"/>
                <a:gd name="connsiteX2" fmla="*/ 632850 w 1382632"/>
                <a:gd name="connsiteY2" fmla="*/ 378390 h 1137167"/>
                <a:gd name="connsiteX3" fmla="*/ 622570 w 1382632"/>
                <a:gd name="connsiteY3" fmla="*/ 380960 h 1137167"/>
                <a:gd name="connsiteX4" fmla="*/ 582736 w 1382632"/>
                <a:gd name="connsiteY4" fmla="*/ 370680 h 1137167"/>
                <a:gd name="connsiteX5" fmla="*/ 557679 w 1382632"/>
                <a:gd name="connsiteY5" fmla="*/ 339198 h 1137167"/>
                <a:gd name="connsiteX6" fmla="*/ 552539 w 1382632"/>
                <a:gd name="connsiteY6" fmla="*/ 329561 h 1137167"/>
                <a:gd name="connsiteX7" fmla="*/ 540332 w 1382632"/>
                <a:gd name="connsiteY7" fmla="*/ 319923 h 1137167"/>
                <a:gd name="connsiteX8" fmla="*/ 524912 w 1382632"/>
                <a:gd name="connsiteY8" fmla="*/ 312214 h 1137167"/>
                <a:gd name="connsiteX9" fmla="*/ 511420 w 1382632"/>
                <a:gd name="connsiteY9" fmla="*/ 304504 h 1137167"/>
                <a:gd name="connsiteX10" fmla="*/ 504353 w 1382632"/>
                <a:gd name="connsiteY10" fmla="*/ 291654 h 1137167"/>
                <a:gd name="connsiteX11" fmla="*/ 506923 w 1382632"/>
                <a:gd name="connsiteY11" fmla="*/ 285872 h 1137167"/>
                <a:gd name="connsiteX12" fmla="*/ 517845 w 1382632"/>
                <a:gd name="connsiteY12" fmla="*/ 288442 h 1137167"/>
                <a:gd name="connsiteX13" fmla="*/ 614860 w 1382632"/>
                <a:gd name="connsiteY13" fmla="*/ 316711 h 1137167"/>
                <a:gd name="connsiteX14" fmla="*/ 633493 w 1382632"/>
                <a:gd name="connsiteY14" fmla="*/ 318638 h 1137167"/>
                <a:gd name="connsiteX15" fmla="*/ 648912 w 1382632"/>
                <a:gd name="connsiteY15" fmla="*/ 338556 h 1137167"/>
                <a:gd name="connsiteX16" fmla="*/ 646342 w 1382632"/>
                <a:gd name="connsiteY16" fmla="*/ 362970 h 1137167"/>
                <a:gd name="connsiteX17" fmla="*/ 1369783 w 1382632"/>
                <a:gd name="connsiteY17" fmla="*/ 360400 h 1137167"/>
                <a:gd name="connsiteX18" fmla="*/ 1352436 w 1382632"/>
                <a:gd name="connsiteY18" fmla="*/ 353975 h 1137167"/>
                <a:gd name="connsiteX19" fmla="*/ 1336374 w 1382632"/>
                <a:gd name="connsiteY19" fmla="*/ 347550 h 1137167"/>
                <a:gd name="connsiteX20" fmla="*/ 1303607 w 1382632"/>
                <a:gd name="connsiteY20" fmla="*/ 356545 h 1137167"/>
                <a:gd name="connsiteX21" fmla="*/ 1289472 w 1382632"/>
                <a:gd name="connsiteY21" fmla="*/ 343053 h 1137167"/>
                <a:gd name="connsiteX22" fmla="*/ 1283690 w 1382632"/>
                <a:gd name="connsiteY22" fmla="*/ 325063 h 1137167"/>
                <a:gd name="connsiteX23" fmla="*/ 1277265 w 1382632"/>
                <a:gd name="connsiteY23" fmla="*/ 323778 h 1137167"/>
                <a:gd name="connsiteX24" fmla="*/ 1261203 w 1382632"/>
                <a:gd name="connsiteY24" fmla="*/ 313499 h 1137167"/>
                <a:gd name="connsiteX25" fmla="*/ 1248353 w 1382632"/>
                <a:gd name="connsiteY25" fmla="*/ 296151 h 1137167"/>
                <a:gd name="connsiteX26" fmla="*/ 1229078 w 1382632"/>
                <a:gd name="connsiteY26" fmla="*/ 280732 h 1137167"/>
                <a:gd name="connsiteX27" fmla="*/ 1214301 w 1382632"/>
                <a:gd name="connsiteY27" fmla="*/ 262100 h 1137167"/>
                <a:gd name="connsiteX28" fmla="*/ 1180249 w 1382632"/>
                <a:gd name="connsiteY28" fmla="*/ 232545 h 1137167"/>
                <a:gd name="connsiteX29" fmla="*/ 1157762 w 1382632"/>
                <a:gd name="connsiteY29" fmla="*/ 244110 h 1137167"/>
                <a:gd name="connsiteX30" fmla="*/ 1137203 w 1382632"/>
                <a:gd name="connsiteY30" fmla="*/ 233188 h 1137167"/>
                <a:gd name="connsiteX31" fmla="*/ 1111503 w 1382632"/>
                <a:gd name="connsiteY31" fmla="*/ 222908 h 1137167"/>
                <a:gd name="connsiteX32" fmla="*/ 1107006 w 1382632"/>
                <a:gd name="connsiteY32" fmla="*/ 220338 h 1137167"/>
                <a:gd name="connsiteX33" fmla="*/ 1102508 w 1382632"/>
                <a:gd name="connsiteY33" fmla="*/ 222908 h 1137167"/>
                <a:gd name="connsiteX34" fmla="*/ 1082591 w 1382632"/>
                <a:gd name="connsiteY34" fmla="*/ 222908 h 1137167"/>
                <a:gd name="connsiteX35" fmla="*/ 1044684 w 1382632"/>
                <a:gd name="connsiteY35" fmla="*/ 214556 h 1137167"/>
                <a:gd name="connsiteX36" fmla="*/ 1016415 w 1382632"/>
                <a:gd name="connsiteY36" fmla="*/ 202348 h 1137167"/>
                <a:gd name="connsiteX37" fmla="*/ 1001638 w 1382632"/>
                <a:gd name="connsiteY37" fmla="*/ 204276 h 1137167"/>
                <a:gd name="connsiteX38" fmla="*/ 974011 w 1382632"/>
                <a:gd name="connsiteY38" fmla="*/ 202348 h 1137167"/>
                <a:gd name="connsiteX39" fmla="*/ 952166 w 1382632"/>
                <a:gd name="connsiteY39" fmla="*/ 201706 h 1137167"/>
                <a:gd name="connsiteX40" fmla="*/ 929679 w 1382632"/>
                <a:gd name="connsiteY40" fmla="*/ 204276 h 1137167"/>
                <a:gd name="connsiteX41" fmla="*/ 921969 w 1382632"/>
                <a:gd name="connsiteY41" fmla="*/ 207488 h 1137167"/>
                <a:gd name="connsiteX42" fmla="*/ 891130 w 1382632"/>
                <a:gd name="connsiteY42" fmla="*/ 203633 h 1137167"/>
                <a:gd name="connsiteX43" fmla="*/ 869285 w 1382632"/>
                <a:gd name="connsiteY43" fmla="*/ 181789 h 1137167"/>
                <a:gd name="connsiteX44" fmla="*/ 857078 w 1382632"/>
                <a:gd name="connsiteY44" fmla="*/ 161229 h 1137167"/>
                <a:gd name="connsiteX45" fmla="*/ 853866 w 1382632"/>
                <a:gd name="connsiteY45" fmla="*/ 152234 h 1137167"/>
                <a:gd name="connsiteX46" fmla="*/ 851938 w 1382632"/>
                <a:gd name="connsiteY46" fmla="*/ 152234 h 1137167"/>
                <a:gd name="connsiteX47" fmla="*/ 830736 w 1382632"/>
                <a:gd name="connsiteY47" fmla="*/ 149022 h 1137167"/>
                <a:gd name="connsiteX48" fmla="*/ 806322 w 1382632"/>
                <a:gd name="connsiteY48" fmla="*/ 133602 h 1137167"/>
                <a:gd name="connsiteX49" fmla="*/ 788974 w 1382632"/>
                <a:gd name="connsiteY49" fmla="*/ 107260 h 1137167"/>
                <a:gd name="connsiteX50" fmla="*/ 775482 w 1382632"/>
                <a:gd name="connsiteY50" fmla="*/ 90555 h 1137167"/>
                <a:gd name="connsiteX51" fmla="*/ 767772 w 1382632"/>
                <a:gd name="connsiteY51" fmla="*/ 78991 h 1137167"/>
                <a:gd name="connsiteX52" fmla="*/ 751710 w 1382632"/>
                <a:gd name="connsiteY52" fmla="*/ 51364 h 1137167"/>
                <a:gd name="connsiteX53" fmla="*/ 729223 w 1382632"/>
                <a:gd name="connsiteY53" fmla="*/ 23094 h 1137167"/>
                <a:gd name="connsiteX54" fmla="*/ 715088 w 1382632"/>
                <a:gd name="connsiteY54" fmla="*/ 17312 h 1137167"/>
                <a:gd name="connsiteX55" fmla="*/ 679109 w 1382632"/>
                <a:gd name="connsiteY55" fmla="*/ 17954 h 1137167"/>
                <a:gd name="connsiteX56" fmla="*/ 655980 w 1382632"/>
                <a:gd name="connsiteY56" fmla="*/ 28234 h 1137167"/>
                <a:gd name="connsiteX57" fmla="*/ 628995 w 1382632"/>
                <a:gd name="connsiteY57" fmla="*/ 28234 h 1137167"/>
                <a:gd name="connsiteX58" fmla="*/ 594301 w 1382632"/>
                <a:gd name="connsiteY58" fmla="*/ 28877 h 1137167"/>
                <a:gd name="connsiteX59" fmla="*/ 578239 w 1382632"/>
                <a:gd name="connsiteY59" fmla="*/ 22452 h 1137167"/>
                <a:gd name="connsiteX60" fmla="*/ 567316 w 1382632"/>
                <a:gd name="connsiteY60" fmla="*/ 5747 h 1137167"/>
                <a:gd name="connsiteX61" fmla="*/ 558964 w 1382632"/>
                <a:gd name="connsiteY61" fmla="*/ 607 h 1137167"/>
                <a:gd name="connsiteX62" fmla="*/ 539047 w 1382632"/>
                <a:gd name="connsiteY62" fmla="*/ 12172 h 1137167"/>
                <a:gd name="connsiteX63" fmla="*/ 526840 w 1382632"/>
                <a:gd name="connsiteY63" fmla="*/ 39157 h 1137167"/>
                <a:gd name="connsiteX64" fmla="*/ 514632 w 1382632"/>
                <a:gd name="connsiteY64" fmla="*/ 71923 h 1137167"/>
                <a:gd name="connsiteX65" fmla="*/ 506280 w 1382632"/>
                <a:gd name="connsiteY65" fmla="*/ 91840 h 1137167"/>
                <a:gd name="connsiteX66" fmla="*/ 504353 w 1382632"/>
                <a:gd name="connsiteY66" fmla="*/ 106618 h 1137167"/>
                <a:gd name="connsiteX67" fmla="*/ 513990 w 1382632"/>
                <a:gd name="connsiteY67" fmla="*/ 121395 h 1137167"/>
                <a:gd name="connsiteX68" fmla="*/ 524270 w 1382632"/>
                <a:gd name="connsiteY68" fmla="*/ 134887 h 1137167"/>
                <a:gd name="connsiteX69" fmla="*/ 529410 w 1382632"/>
                <a:gd name="connsiteY69" fmla="*/ 153519 h 1137167"/>
                <a:gd name="connsiteX70" fmla="*/ 522342 w 1382632"/>
                <a:gd name="connsiteY70" fmla="*/ 161229 h 1137167"/>
                <a:gd name="connsiteX71" fmla="*/ 518487 w 1382632"/>
                <a:gd name="connsiteY71" fmla="*/ 150949 h 1137167"/>
                <a:gd name="connsiteX72" fmla="*/ 517202 w 1382632"/>
                <a:gd name="connsiteY72" fmla="*/ 149664 h 1137167"/>
                <a:gd name="connsiteX73" fmla="*/ 496643 w 1382632"/>
                <a:gd name="connsiteY73" fmla="*/ 136815 h 1137167"/>
                <a:gd name="connsiteX74" fmla="*/ 472228 w 1382632"/>
                <a:gd name="connsiteY74" fmla="*/ 120752 h 1137167"/>
                <a:gd name="connsiteX75" fmla="*/ 451669 w 1382632"/>
                <a:gd name="connsiteY75" fmla="*/ 123965 h 1137167"/>
                <a:gd name="connsiteX76" fmla="*/ 437534 w 1382632"/>
                <a:gd name="connsiteY76" fmla="*/ 134245 h 1137167"/>
                <a:gd name="connsiteX77" fmla="*/ 437534 w 1382632"/>
                <a:gd name="connsiteY77" fmla="*/ 153519 h 1137167"/>
                <a:gd name="connsiteX78" fmla="*/ 439461 w 1382632"/>
                <a:gd name="connsiteY78" fmla="*/ 168939 h 1137167"/>
                <a:gd name="connsiteX79" fmla="*/ 449741 w 1382632"/>
                <a:gd name="connsiteY79" fmla="*/ 170224 h 1137167"/>
                <a:gd name="connsiteX80" fmla="*/ 459378 w 1382632"/>
                <a:gd name="connsiteY80" fmla="*/ 163157 h 1137167"/>
                <a:gd name="connsiteX81" fmla="*/ 465161 w 1382632"/>
                <a:gd name="connsiteY81" fmla="*/ 181789 h 1137167"/>
                <a:gd name="connsiteX82" fmla="*/ 463233 w 1382632"/>
                <a:gd name="connsiteY82" fmla="*/ 195923 h 1137167"/>
                <a:gd name="connsiteX83" fmla="*/ 453596 w 1382632"/>
                <a:gd name="connsiteY83" fmla="*/ 206846 h 1137167"/>
                <a:gd name="connsiteX84" fmla="*/ 440746 w 1382632"/>
                <a:gd name="connsiteY84" fmla="*/ 215198 h 1137167"/>
                <a:gd name="connsiteX85" fmla="*/ 428539 w 1382632"/>
                <a:gd name="connsiteY85" fmla="*/ 215198 h 1137167"/>
                <a:gd name="connsiteX86" fmla="*/ 407337 w 1382632"/>
                <a:gd name="connsiteY86" fmla="*/ 202991 h 1137167"/>
                <a:gd name="connsiteX87" fmla="*/ 395130 w 1382632"/>
                <a:gd name="connsiteY87" fmla="*/ 182431 h 1137167"/>
                <a:gd name="connsiteX88" fmla="*/ 398342 w 1382632"/>
                <a:gd name="connsiteY88" fmla="*/ 171509 h 1137167"/>
                <a:gd name="connsiteX89" fmla="*/ 417617 w 1382632"/>
                <a:gd name="connsiteY89" fmla="*/ 165726 h 1137167"/>
                <a:gd name="connsiteX90" fmla="*/ 422114 w 1382632"/>
                <a:gd name="connsiteY90" fmla="*/ 145167 h 1137167"/>
                <a:gd name="connsiteX91" fmla="*/ 407979 w 1382632"/>
                <a:gd name="connsiteY91" fmla="*/ 132317 h 1137167"/>
                <a:gd name="connsiteX92" fmla="*/ 390632 w 1382632"/>
                <a:gd name="connsiteY92" fmla="*/ 109188 h 1137167"/>
                <a:gd name="connsiteX93" fmla="*/ 386135 w 1382632"/>
                <a:gd name="connsiteY93" fmla="*/ 86701 h 1137167"/>
                <a:gd name="connsiteX94" fmla="*/ 363648 w 1382632"/>
                <a:gd name="connsiteY94" fmla="*/ 78991 h 1137167"/>
                <a:gd name="connsiteX95" fmla="*/ 316746 w 1382632"/>
                <a:gd name="connsiteY95" fmla="*/ 78991 h 1137167"/>
                <a:gd name="connsiteX96" fmla="*/ 266632 w 1382632"/>
                <a:gd name="connsiteY96" fmla="*/ 89913 h 1137167"/>
                <a:gd name="connsiteX97" fmla="*/ 249285 w 1382632"/>
                <a:gd name="connsiteY97" fmla="*/ 96980 h 1137167"/>
                <a:gd name="connsiteX98" fmla="*/ 235793 w 1382632"/>
                <a:gd name="connsiteY98" fmla="*/ 87986 h 1137167"/>
                <a:gd name="connsiteX99" fmla="*/ 199814 w 1382632"/>
                <a:gd name="connsiteY99" fmla="*/ 86058 h 1137167"/>
                <a:gd name="connsiteX100" fmla="*/ 172829 w 1382632"/>
                <a:gd name="connsiteY100" fmla="*/ 91840 h 1137167"/>
                <a:gd name="connsiteX101" fmla="*/ 144560 w 1382632"/>
                <a:gd name="connsiteY101" fmla="*/ 114328 h 1137167"/>
                <a:gd name="connsiteX102" fmla="*/ 121430 w 1382632"/>
                <a:gd name="connsiteY102" fmla="*/ 140670 h 1137167"/>
                <a:gd name="connsiteX103" fmla="*/ 109865 w 1382632"/>
                <a:gd name="connsiteY103" fmla="*/ 157374 h 1137167"/>
                <a:gd name="connsiteX104" fmla="*/ 106653 w 1382632"/>
                <a:gd name="connsiteY104" fmla="*/ 184359 h 1137167"/>
                <a:gd name="connsiteX105" fmla="*/ 102156 w 1382632"/>
                <a:gd name="connsiteY105" fmla="*/ 204918 h 1137167"/>
                <a:gd name="connsiteX106" fmla="*/ 102798 w 1382632"/>
                <a:gd name="connsiteY106" fmla="*/ 221623 h 1137167"/>
                <a:gd name="connsiteX107" fmla="*/ 107938 w 1382632"/>
                <a:gd name="connsiteY107" fmla="*/ 228048 h 1137167"/>
                <a:gd name="connsiteX108" fmla="*/ 106653 w 1382632"/>
                <a:gd name="connsiteY108" fmla="*/ 240255 h 1137167"/>
                <a:gd name="connsiteX109" fmla="*/ 113720 w 1382632"/>
                <a:gd name="connsiteY109" fmla="*/ 242183 h 1137167"/>
                <a:gd name="connsiteX110" fmla="*/ 153555 w 1382632"/>
                <a:gd name="connsiteY110" fmla="*/ 241540 h 1137167"/>
                <a:gd name="connsiteX111" fmla="*/ 171544 w 1382632"/>
                <a:gd name="connsiteY111" fmla="*/ 242183 h 1137167"/>
                <a:gd name="connsiteX112" fmla="*/ 186321 w 1382632"/>
                <a:gd name="connsiteY112" fmla="*/ 251177 h 1137167"/>
                <a:gd name="connsiteX113" fmla="*/ 170902 w 1382632"/>
                <a:gd name="connsiteY113" fmla="*/ 250535 h 1137167"/>
                <a:gd name="connsiteX114" fmla="*/ 165119 w 1382632"/>
                <a:gd name="connsiteY114" fmla="*/ 255032 h 1137167"/>
                <a:gd name="connsiteX115" fmla="*/ 156767 w 1382632"/>
                <a:gd name="connsiteY115" fmla="*/ 265955 h 1137167"/>
                <a:gd name="connsiteX116" fmla="*/ 154197 w 1382632"/>
                <a:gd name="connsiteY116" fmla="*/ 296151 h 1137167"/>
                <a:gd name="connsiteX117" fmla="*/ 155482 w 1382632"/>
                <a:gd name="connsiteY117" fmla="*/ 369395 h 1137167"/>
                <a:gd name="connsiteX118" fmla="*/ 153555 w 1382632"/>
                <a:gd name="connsiteY118" fmla="*/ 393167 h 1137167"/>
                <a:gd name="connsiteX119" fmla="*/ 122715 w 1382632"/>
                <a:gd name="connsiteY119" fmla="*/ 441354 h 1137167"/>
                <a:gd name="connsiteX120" fmla="*/ 113720 w 1382632"/>
                <a:gd name="connsiteY120" fmla="*/ 459343 h 1137167"/>
                <a:gd name="connsiteX121" fmla="*/ 107938 w 1382632"/>
                <a:gd name="connsiteY121" fmla="*/ 494038 h 1137167"/>
                <a:gd name="connsiteX122" fmla="*/ 105368 w 1382632"/>
                <a:gd name="connsiteY122" fmla="*/ 532587 h 1137167"/>
                <a:gd name="connsiteX123" fmla="*/ 100228 w 1382632"/>
                <a:gd name="connsiteY123" fmla="*/ 542867 h 1137167"/>
                <a:gd name="connsiteX124" fmla="*/ 82881 w 1382632"/>
                <a:gd name="connsiteY124" fmla="*/ 540297 h 1137167"/>
                <a:gd name="connsiteX125" fmla="*/ 57181 w 1382632"/>
                <a:gd name="connsiteY125" fmla="*/ 537084 h 1137167"/>
                <a:gd name="connsiteX126" fmla="*/ 35979 w 1382632"/>
                <a:gd name="connsiteY126" fmla="*/ 529374 h 1137167"/>
                <a:gd name="connsiteX127" fmla="*/ 17347 w 1382632"/>
                <a:gd name="connsiteY127" fmla="*/ 532587 h 1137167"/>
                <a:gd name="connsiteX128" fmla="*/ 8995 w 1382632"/>
                <a:gd name="connsiteY128" fmla="*/ 544794 h 1137167"/>
                <a:gd name="connsiteX129" fmla="*/ 12850 w 1382632"/>
                <a:gd name="connsiteY129" fmla="*/ 558929 h 1137167"/>
                <a:gd name="connsiteX130" fmla="*/ 17990 w 1382632"/>
                <a:gd name="connsiteY130" fmla="*/ 573064 h 1137167"/>
                <a:gd name="connsiteX131" fmla="*/ 5140 w 1382632"/>
                <a:gd name="connsiteY131" fmla="*/ 571778 h 1137167"/>
                <a:gd name="connsiteX132" fmla="*/ 0 w 1382632"/>
                <a:gd name="connsiteY132" fmla="*/ 585271 h 1137167"/>
                <a:gd name="connsiteX133" fmla="*/ 1285 w 1382632"/>
                <a:gd name="connsiteY133" fmla="*/ 601975 h 1137167"/>
                <a:gd name="connsiteX134" fmla="*/ 13492 w 1382632"/>
                <a:gd name="connsiteY134" fmla="*/ 616753 h 1137167"/>
                <a:gd name="connsiteX135" fmla="*/ 37264 w 1382632"/>
                <a:gd name="connsiteY135" fmla="*/ 625747 h 1137167"/>
                <a:gd name="connsiteX136" fmla="*/ 57181 w 1382632"/>
                <a:gd name="connsiteY136" fmla="*/ 632815 h 1137167"/>
                <a:gd name="connsiteX137" fmla="*/ 71316 w 1382632"/>
                <a:gd name="connsiteY137" fmla="*/ 635385 h 1137167"/>
                <a:gd name="connsiteX138" fmla="*/ 80311 w 1382632"/>
                <a:gd name="connsiteY138" fmla="*/ 625747 h 1137167"/>
                <a:gd name="connsiteX139" fmla="*/ 87378 w 1382632"/>
                <a:gd name="connsiteY139" fmla="*/ 628317 h 1137167"/>
                <a:gd name="connsiteX140" fmla="*/ 97658 w 1382632"/>
                <a:gd name="connsiteY140" fmla="*/ 644380 h 1137167"/>
                <a:gd name="connsiteX141" fmla="*/ 107938 w 1382632"/>
                <a:gd name="connsiteY141" fmla="*/ 662369 h 1137167"/>
                <a:gd name="connsiteX142" fmla="*/ 96373 w 1382632"/>
                <a:gd name="connsiteY142" fmla="*/ 681644 h 1137167"/>
                <a:gd name="connsiteX143" fmla="*/ 95731 w 1382632"/>
                <a:gd name="connsiteY143" fmla="*/ 682286 h 1137167"/>
                <a:gd name="connsiteX144" fmla="*/ 95088 w 1382632"/>
                <a:gd name="connsiteY144" fmla="*/ 682929 h 1137167"/>
                <a:gd name="connsiteX145" fmla="*/ 94446 w 1382632"/>
                <a:gd name="connsiteY145" fmla="*/ 683571 h 1137167"/>
                <a:gd name="connsiteX146" fmla="*/ 85451 w 1382632"/>
                <a:gd name="connsiteY146" fmla="*/ 698991 h 1137167"/>
                <a:gd name="connsiteX147" fmla="*/ 95731 w 1382632"/>
                <a:gd name="connsiteY147" fmla="*/ 711198 h 1137167"/>
                <a:gd name="connsiteX148" fmla="*/ 98301 w 1382632"/>
                <a:gd name="connsiteY148" fmla="*/ 715053 h 1137167"/>
                <a:gd name="connsiteX149" fmla="*/ 100228 w 1382632"/>
                <a:gd name="connsiteY149" fmla="*/ 714411 h 1137167"/>
                <a:gd name="connsiteX150" fmla="*/ 115648 w 1382632"/>
                <a:gd name="connsiteY150" fmla="*/ 707343 h 1137167"/>
                <a:gd name="connsiteX151" fmla="*/ 130425 w 1382632"/>
                <a:gd name="connsiteY151" fmla="*/ 705416 h 1137167"/>
                <a:gd name="connsiteX152" fmla="*/ 172187 w 1382632"/>
                <a:gd name="connsiteY152" fmla="*/ 704773 h 1137167"/>
                <a:gd name="connsiteX153" fmla="*/ 207523 w 1382632"/>
                <a:gd name="connsiteY153" fmla="*/ 681644 h 1137167"/>
                <a:gd name="connsiteX154" fmla="*/ 260850 w 1382632"/>
                <a:gd name="connsiteY154" fmla="*/ 638597 h 1137167"/>
                <a:gd name="connsiteX155" fmla="*/ 278197 w 1382632"/>
                <a:gd name="connsiteY155" fmla="*/ 634100 h 1137167"/>
                <a:gd name="connsiteX156" fmla="*/ 303897 w 1382632"/>
                <a:gd name="connsiteY156" fmla="*/ 660442 h 1137167"/>
                <a:gd name="connsiteX157" fmla="*/ 353368 w 1382632"/>
                <a:gd name="connsiteY157" fmla="*/ 668794 h 1137167"/>
                <a:gd name="connsiteX158" fmla="*/ 358508 w 1382632"/>
                <a:gd name="connsiteY158" fmla="*/ 676504 h 1137167"/>
                <a:gd name="connsiteX159" fmla="*/ 359150 w 1382632"/>
                <a:gd name="connsiteY159" fmla="*/ 707343 h 1137167"/>
                <a:gd name="connsiteX160" fmla="*/ 344373 w 1382632"/>
                <a:gd name="connsiteY160" fmla="*/ 753602 h 1137167"/>
                <a:gd name="connsiteX161" fmla="*/ 336021 w 1382632"/>
                <a:gd name="connsiteY161" fmla="*/ 783799 h 1137167"/>
                <a:gd name="connsiteX162" fmla="*/ 379068 w 1382632"/>
                <a:gd name="connsiteY162" fmla="*/ 812069 h 1137167"/>
                <a:gd name="connsiteX163" fmla="*/ 429182 w 1382632"/>
                <a:gd name="connsiteY163" fmla="*/ 785084 h 1137167"/>
                <a:gd name="connsiteX164" fmla="*/ 444601 w 1382632"/>
                <a:gd name="connsiteY164" fmla="*/ 772877 h 1137167"/>
                <a:gd name="connsiteX165" fmla="*/ 465803 w 1382632"/>
                <a:gd name="connsiteY165" fmla="*/ 772235 h 1137167"/>
                <a:gd name="connsiteX166" fmla="*/ 491503 w 1382632"/>
                <a:gd name="connsiteY166" fmla="*/ 774162 h 1137167"/>
                <a:gd name="connsiteX167" fmla="*/ 501140 w 1382632"/>
                <a:gd name="connsiteY167" fmla="*/ 758742 h 1137167"/>
                <a:gd name="connsiteX168" fmla="*/ 510135 w 1382632"/>
                <a:gd name="connsiteY168" fmla="*/ 749748 h 1137167"/>
                <a:gd name="connsiteX169" fmla="*/ 508208 w 1382632"/>
                <a:gd name="connsiteY169" fmla="*/ 738825 h 1137167"/>
                <a:gd name="connsiteX170" fmla="*/ 500498 w 1382632"/>
                <a:gd name="connsiteY170" fmla="*/ 729188 h 1137167"/>
                <a:gd name="connsiteX171" fmla="*/ 493430 w 1382632"/>
                <a:gd name="connsiteY171" fmla="*/ 709271 h 1137167"/>
                <a:gd name="connsiteX172" fmla="*/ 490860 w 1382632"/>
                <a:gd name="connsiteY172" fmla="*/ 679716 h 1137167"/>
                <a:gd name="connsiteX173" fmla="*/ 487648 w 1382632"/>
                <a:gd name="connsiteY173" fmla="*/ 663012 h 1137167"/>
                <a:gd name="connsiteX174" fmla="*/ 479296 w 1382632"/>
                <a:gd name="connsiteY174" fmla="*/ 661084 h 1137167"/>
                <a:gd name="connsiteX175" fmla="*/ 472228 w 1382632"/>
                <a:gd name="connsiteY175" fmla="*/ 646950 h 1137167"/>
                <a:gd name="connsiteX176" fmla="*/ 481865 w 1382632"/>
                <a:gd name="connsiteY176" fmla="*/ 632815 h 1137167"/>
                <a:gd name="connsiteX177" fmla="*/ 545472 w 1382632"/>
                <a:gd name="connsiteY177" fmla="*/ 605830 h 1137167"/>
                <a:gd name="connsiteX178" fmla="*/ 566674 w 1382632"/>
                <a:gd name="connsiteY178" fmla="*/ 609043 h 1137167"/>
                <a:gd name="connsiteX179" fmla="*/ 568601 w 1382632"/>
                <a:gd name="connsiteY179" fmla="*/ 618680 h 1137167"/>
                <a:gd name="connsiteX180" fmla="*/ 567959 w 1382632"/>
                <a:gd name="connsiteY180" fmla="*/ 635385 h 1137167"/>
                <a:gd name="connsiteX181" fmla="*/ 569886 w 1382632"/>
                <a:gd name="connsiteY181" fmla="*/ 648235 h 1137167"/>
                <a:gd name="connsiteX182" fmla="*/ 594301 w 1382632"/>
                <a:gd name="connsiteY182" fmla="*/ 656587 h 1137167"/>
                <a:gd name="connsiteX183" fmla="*/ 623855 w 1382632"/>
                <a:gd name="connsiteY183" fmla="*/ 652732 h 1137167"/>
                <a:gd name="connsiteX184" fmla="*/ 646985 w 1382632"/>
                <a:gd name="connsiteY184" fmla="*/ 636027 h 1137167"/>
                <a:gd name="connsiteX185" fmla="*/ 663047 w 1382632"/>
                <a:gd name="connsiteY185" fmla="*/ 610328 h 1137167"/>
                <a:gd name="connsiteX186" fmla="*/ 674612 w 1382632"/>
                <a:gd name="connsiteY186" fmla="*/ 607758 h 1137167"/>
                <a:gd name="connsiteX187" fmla="*/ 689389 w 1382632"/>
                <a:gd name="connsiteY187" fmla="*/ 611613 h 1137167"/>
                <a:gd name="connsiteX188" fmla="*/ 690674 w 1382632"/>
                <a:gd name="connsiteY188" fmla="*/ 618038 h 1137167"/>
                <a:gd name="connsiteX189" fmla="*/ 683607 w 1382632"/>
                <a:gd name="connsiteY189" fmla="*/ 657872 h 1137167"/>
                <a:gd name="connsiteX190" fmla="*/ 672684 w 1382632"/>
                <a:gd name="connsiteY190" fmla="*/ 678431 h 1137167"/>
                <a:gd name="connsiteX191" fmla="*/ 658550 w 1382632"/>
                <a:gd name="connsiteY191" fmla="*/ 681644 h 1137167"/>
                <a:gd name="connsiteX192" fmla="*/ 652767 w 1382632"/>
                <a:gd name="connsiteY192" fmla="*/ 682929 h 1137167"/>
                <a:gd name="connsiteX193" fmla="*/ 649555 w 1382632"/>
                <a:gd name="connsiteY193" fmla="*/ 689996 h 1137167"/>
                <a:gd name="connsiteX194" fmla="*/ 647627 w 1382632"/>
                <a:gd name="connsiteY194" fmla="*/ 720193 h 1137167"/>
                <a:gd name="connsiteX195" fmla="*/ 670757 w 1382632"/>
                <a:gd name="connsiteY195" fmla="*/ 760670 h 1137167"/>
                <a:gd name="connsiteX196" fmla="*/ 676539 w 1382632"/>
                <a:gd name="connsiteY196" fmla="*/ 765167 h 1137167"/>
                <a:gd name="connsiteX197" fmla="*/ 684249 w 1382632"/>
                <a:gd name="connsiteY197" fmla="*/ 765810 h 1137167"/>
                <a:gd name="connsiteX198" fmla="*/ 696456 w 1382632"/>
                <a:gd name="connsiteY198" fmla="*/ 775447 h 1137167"/>
                <a:gd name="connsiteX199" fmla="*/ 702881 w 1382632"/>
                <a:gd name="connsiteY199" fmla="*/ 789582 h 1137167"/>
                <a:gd name="connsiteX200" fmla="*/ 729866 w 1382632"/>
                <a:gd name="connsiteY200" fmla="*/ 828131 h 1137167"/>
                <a:gd name="connsiteX201" fmla="*/ 745928 w 1382632"/>
                <a:gd name="connsiteY201" fmla="*/ 872463 h 1137167"/>
                <a:gd name="connsiteX202" fmla="*/ 748498 w 1382632"/>
                <a:gd name="connsiteY202" fmla="*/ 885312 h 1137167"/>
                <a:gd name="connsiteX203" fmla="*/ 758778 w 1382632"/>
                <a:gd name="connsiteY203" fmla="*/ 892380 h 1137167"/>
                <a:gd name="connsiteX204" fmla="*/ 772912 w 1382632"/>
                <a:gd name="connsiteY204" fmla="*/ 884027 h 1137167"/>
                <a:gd name="connsiteX205" fmla="*/ 778052 w 1382632"/>
                <a:gd name="connsiteY205" fmla="*/ 882100 h 1137167"/>
                <a:gd name="connsiteX206" fmla="*/ 785119 w 1382632"/>
                <a:gd name="connsiteY206" fmla="*/ 888525 h 1137167"/>
                <a:gd name="connsiteX207" fmla="*/ 783835 w 1382632"/>
                <a:gd name="connsiteY207" fmla="*/ 928359 h 1137167"/>
                <a:gd name="connsiteX208" fmla="*/ 774197 w 1382632"/>
                <a:gd name="connsiteY208" fmla="*/ 936711 h 1137167"/>
                <a:gd name="connsiteX209" fmla="*/ 760063 w 1382632"/>
                <a:gd name="connsiteY209" fmla="*/ 968836 h 1137167"/>
                <a:gd name="connsiteX210" fmla="*/ 763917 w 1382632"/>
                <a:gd name="connsiteY210" fmla="*/ 985540 h 1137167"/>
                <a:gd name="connsiteX211" fmla="*/ 779337 w 1382632"/>
                <a:gd name="connsiteY211" fmla="*/ 982970 h 1137167"/>
                <a:gd name="connsiteX212" fmla="*/ 782550 w 1382632"/>
                <a:gd name="connsiteY212" fmla="*/ 980400 h 1137167"/>
                <a:gd name="connsiteX213" fmla="*/ 787047 w 1382632"/>
                <a:gd name="connsiteY213" fmla="*/ 981685 h 1137167"/>
                <a:gd name="connsiteX214" fmla="*/ 789617 w 1382632"/>
                <a:gd name="connsiteY214" fmla="*/ 983613 h 1137167"/>
                <a:gd name="connsiteX215" fmla="*/ 823026 w 1382632"/>
                <a:gd name="connsiteY215" fmla="*/ 989395 h 1137167"/>
                <a:gd name="connsiteX216" fmla="*/ 843586 w 1382632"/>
                <a:gd name="connsiteY216" fmla="*/ 995820 h 1137167"/>
                <a:gd name="connsiteX217" fmla="*/ 855151 w 1382632"/>
                <a:gd name="connsiteY217" fmla="*/ 1008027 h 1137167"/>
                <a:gd name="connsiteX218" fmla="*/ 848083 w 1382632"/>
                <a:gd name="connsiteY218" fmla="*/ 1021520 h 1137167"/>
                <a:gd name="connsiteX219" fmla="*/ 833306 w 1382632"/>
                <a:gd name="connsiteY219" fmla="*/ 1022805 h 1137167"/>
                <a:gd name="connsiteX220" fmla="*/ 830736 w 1382632"/>
                <a:gd name="connsiteY220" fmla="*/ 1027302 h 1137167"/>
                <a:gd name="connsiteX221" fmla="*/ 841658 w 1382632"/>
                <a:gd name="connsiteY221" fmla="*/ 1063924 h 1137167"/>
                <a:gd name="connsiteX222" fmla="*/ 848083 w 1382632"/>
                <a:gd name="connsiteY222" fmla="*/ 1079986 h 1137167"/>
                <a:gd name="connsiteX223" fmla="*/ 832021 w 1382632"/>
                <a:gd name="connsiteY223" fmla="*/ 1090908 h 1137167"/>
                <a:gd name="connsiteX224" fmla="*/ 811462 w 1382632"/>
                <a:gd name="connsiteY224" fmla="*/ 1094121 h 1137167"/>
                <a:gd name="connsiteX225" fmla="*/ 826881 w 1382632"/>
                <a:gd name="connsiteY225" fmla="*/ 1119820 h 1137167"/>
                <a:gd name="connsiteX226" fmla="*/ 851296 w 1382632"/>
                <a:gd name="connsiteY226" fmla="*/ 1133312 h 1137167"/>
                <a:gd name="connsiteX227" fmla="*/ 864145 w 1382632"/>
                <a:gd name="connsiteY227" fmla="*/ 1137167 h 1137167"/>
                <a:gd name="connsiteX228" fmla="*/ 885348 w 1382632"/>
                <a:gd name="connsiteY228" fmla="*/ 1126887 h 1137167"/>
                <a:gd name="connsiteX229" fmla="*/ 889203 w 1382632"/>
                <a:gd name="connsiteY229" fmla="*/ 1122390 h 1137167"/>
                <a:gd name="connsiteX230" fmla="*/ 879565 w 1382632"/>
                <a:gd name="connsiteY230" fmla="*/ 1114680 h 1137167"/>
                <a:gd name="connsiteX231" fmla="*/ 866715 w 1382632"/>
                <a:gd name="connsiteY231" fmla="*/ 1109540 h 1137167"/>
                <a:gd name="connsiteX232" fmla="*/ 873140 w 1382632"/>
                <a:gd name="connsiteY232" fmla="*/ 1097333 h 1137167"/>
                <a:gd name="connsiteX233" fmla="*/ 921327 w 1382632"/>
                <a:gd name="connsiteY233" fmla="*/ 1094763 h 1137167"/>
                <a:gd name="connsiteX234" fmla="*/ 925824 w 1382632"/>
                <a:gd name="connsiteY234" fmla="*/ 1097333 h 1137167"/>
                <a:gd name="connsiteX235" fmla="*/ 956664 w 1382632"/>
                <a:gd name="connsiteY235" fmla="*/ 1082556 h 1137167"/>
                <a:gd name="connsiteX236" fmla="*/ 980436 w 1382632"/>
                <a:gd name="connsiteY236" fmla="*/ 1076774 h 1137167"/>
                <a:gd name="connsiteX237" fmla="*/ 985576 w 1382632"/>
                <a:gd name="connsiteY237" fmla="*/ 1068421 h 1137167"/>
                <a:gd name="connsiteX238" fmla="*/ 1005493 w 1382632"/>
                <a:gd name="connsiteY238" fmla="*/ 1060711 h 1137167"/>
                <a:gd name="connsiteX239" fmla="*/ 1033120 w 1382632"/>
                <a:gd name="connsiteY239" fmla="*/ 1040794 h 1137167"/>
                <a:gd name="connsiteX240" fmla="*/ 1090944 w 1382632"/>
                <a:gd name="connsiteY240" fmla="*/ 1015095 h 1137167"/>
                <a:gd name="connsiteX241" fmla="*/ 1119213 w 1382632"/>
                <a:gd name="connsiteY241" fmla="*/ 1000318 h 1137167"/>
                <a:gd name="connsiteX242" fmla="*/ 1139773 w 1382632"/>
                <a:gd name="connsiteY242" fmla="*/ 981043 h 1137167"/>
                <a:gd name="connsiteX243" fmla="*/ 1139773 w 1382632"/>
                <a:gd name="connsiteY243" fmla="*/ 973333 h 1137167"/>
                <a:gd name="connsiteX244" fmla="*/ 1123710 w 1382632"/>
                <a:gd name="connsiteY244" fmla="*/ 939281 h 1137167"/>
                <a:gd name="connsiteX245" fmla="*/ 1117928 w 1382632"/>
                <a:gd name="connsiteY245" fmla="*/ 911012 h 1137167"/>
                <a:gd name="connsiteX246" fmla="*/ 1116643 w 1382632"/>
                <a:gd name="connsiteY246" fmla="*/ 908442 h 1137167"/>
                <a:gd name="connsiteX247" fmla="*/ 1112146 w 1382632"/>
                <a:gd name="connsiteY247" fmla="*/ 896877 h 1137167"/>
                <a:gd name="connsiteX248" fmla="*/ 1125638 w 1382632"/>
                <a:gd name="connsiteY248" fmla="*/ 882100 h 1137167"/>
                <a:gd name="connsiteX249" fmla="*/ 1129493 w 1382632"/>
                <a:gd name="connsiteY249" fmla="*/ 878887 h 1137167"/>
                <a:gd name="connsiteX250" fmla="*/ 1130135 w 1382632"/>
                <a:gd name="connsiteY250" fmla="*/ 875033 h 1137167"/>
                <a:gd name="connsiteX251" fmla="*/ 1122425 w 1382632"/>
                <a:gd name="connsiteY251" fmla="*/ 851903 h 1137167"/>
                <a:gd name="connsiteX252" fmla="*/ 1107006 w 1382632"/>
                <a:gd name="connsiteY252" fmla="*/ 831986 h 1137167"/>
                <a:gd name="connsiteX253" fmla="*/ 1102508 w 1382632"/>
                <a:gd name="connsiteY253" fmla="*/ 822349 h 1137167"/>
                <a:gd name="connsiteX254" fmla="*/ 1115358 w 1382632"/>
                <a:gd name="connsiteY254" fmla="*/ 810141 h 1137167"/>
                <a:gd name="connsiteX255" fmla="*/ 1149410 w 1382632"/>
                <a:gd name="connsiteY255" fmla="*/ 798577 h 1137167"/>
                <a:gd name="connsiteX256" fmla="*/ 1171254 w 1382632"/>
                <a:gd name="connsiteY256" fmla="*/ 799861 h 1137167"/>
                <a:gd name="connsiteX257" fmla="*/ 1204664 w 1382632"/>
                <a:gd name="connsiteY257" fmla="*/ 803716 h 1137167"/>
                <a:gd name="connsiteX258" fmla="*/ 1212374 w 1382632"/>
                <a:gd name="connsiteY258" fmla="*/ 803074 h 1137167"/>
                <a:gd name="connsiteX259" fmla="*/ 1216229 w 1382632"/>
                <a:gd name="connsiteY259" fmla="*/ 798577 h 1137167"/>
                <a:gd name="connsiteX260" fmla="*/ 1238716 w 1382632"/>
                <a:gd name="connsiteY260" fmla="*/ 755530 h 1137167"/>
                <a:gd name="connsiteX261" fmla="*/ 1240001 w 1382632"/>
                <a:gd name="connsiteY261" fmla="*/ 751675 h 1137167"/>
                <a:gd name="connsiteX262" fmla="*/ 1231006 w 1382632"/>
                <a:gd name="connsiteY262" fmla="*/ 743323 h 1137167"/>
                <a:gd name="connsiteX263" fmla="*/ 1233576 w 1382632"/>
                <a:gd name="connsiteY263" fmla="*/ 696421 h 1137167"/>
                <a:gd name="connsiteX264" fmla="*/ 1228436 w 1382632"/>
                <a:gd name="connsiteY264" fmla="*/ 673291 h 1137167"/>
                <a:gd name="connsiteX265" fmla="*/ 1207876 w 1382632"/>
                <a:gd name="connsiteY265" fmla="*/ 595551 h 1137167"/>
                <a:gd name="connsiteX266" fmla="*/ 1180892 w 1382632"/>
                <a:gd name="connsiteY266" fmla="*/ 529374 h 1137167"/>
                <a:gd name="connsiteX267" fmla="*/ 1159047 w 1382632"/>
                <a:gd name="connsiteY267" fmla="*/ 509457 h 1137167"/>
                <a:gd name="connsiteX268" fmla="*/ 1151980 w 1382632"/>
                <a:gd name="connsiteY268" fmla="*/ 472193 h 1137167"/>
                <a:gd name="connsiteX269" fmla="*/ 1160332 w 1382632"/>
                <a:gd name="connsiteY269" fmla="*/ 454203 h 1137167"/>
                <a:gd name="connsiteX270" fmla="*/ 1181534 w 1382632"/>
                <a:gd name="connsiteY270" fmla="*/ 452276 h 1137167"/>
                <a:gd name="connsiteX271" fmla="*/ 1202736 w 1382632"/>
                <a:gd name="connsiteY271" fmla="*/ 449706 h 1137167"/>
                <a:gd name="connsiteX272" fmla="*/ 1209161 w 1382632"/>
                <a:gd name="connsiteY272" fmla="*/ 434929 h 1137167"/>
                <a:gd name="connsiteX273" fmla="*/ 1210446 w 1382632"/>
                <a:gd name="connsiteY273" fmla="*/ 426576 h 1137167"/>
                <a:gd name="connsiteX274" fmla="*/ 1211731 w 1382632"/>
                <a:gd name="connsiteY274" fmla="*/ 423364 h 1137167"/>
                <a:gd name="connsiteX275" fmla="*/ 1214943 w 1382632"/>
                <a:gd name="connsiteY275" fmla="*/ 422079 h 1137167"/>
                <a:gd name="connsiteX276" fmla="*/ 1250280 w 1382632"/>
                <a:gd name="connsiteY276" fmla="*/ 427219 h 1137167"/>
                <a:gd name="connsiteX277" fmla="*/ 1257348 w 1382632"/>
                <a:gd name="connsiteY277" fmla="*/ 431716 h 1137167"/>
                <a:gd name="connsiteX278" fmla="*/ 1263773 w 1382632"/>
                <a:gd name="connsiteY278" fmla="*/ 433644 h 1137167"/>
                <a:gd name="connsiteX279" fmla="*/ 1290757 w 1382632"/>
                <a:gd name="connsiteY279" fmla="*/ 436214 h 1137167"/>
                <a:gd name="connsiteX280" fmla="*/ 1315172 w 1382632"/>
                <a:gd name="connsiteY280" fmla="*/ 431074 h 1137167"/>
                <a:gd name="connsiteX281" fmla="*/ 1368498 w 1382632"/>
                <a:gd name="connsiteY281" fmla="*/ 380960 h 1137167"/>
                <a:gd name="connsiteX282" fmla="*/ 1382633 w 1382632"/>
                <a:gd name="connsiteY282" fmla="*/ 359758 h 1137167"/>
                <a:gd name="connsiteX283" fmla="*/ 1369783 w 1382632"/>
                <a:gd name="connsiteY283" fmla="*/ 360400 h 113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</a:cxnLst>
              <a:rect l="l" t="t" r="r" b="b"/>
              <a:pathLst>
                <a:path w="1382632" h="1137167">
                  <a:moveTo>
                    <a:pt x="646342" y="362970"/>
                  </a:moveTo>
                  <a:cubicBezTo>
                    <a:pt x="645700" y="366183"/>
                    <a:pt x="644415" y="369395"/>
                    <a:pt x="642487" y="371965"/>
                  </a:cubicBezTo>
                  <a:cubicBezTo>
                    <a:pt x="639917" y="375177"/>
                    <a:pt x="636062" y="377105"/>
                    <a:pt x="632850" y="378390"/>
                  </a:cubicBezTo>
                  <a:cubicBezTo>
                    <a:pt x="629638" y="379675"/>
                    <a:pt x="625783" y="380960"/>
                    <a:pt x="622570" y="380960"/>
                  </a:cubicBezTo>
                  <a:cubicBezTo>
                    <a:pt x="608435" y="382887"/>
                    <a:pt x="594301" y="379032"/>
                    <a:pt x="582736" y="370680"/>
                  </a:cubicBezTo>
                  <a:cubicBezTo>
                    <a:pt x="571171" y="362970"/>
                    <a:pt x="563461" y="351405"/>
                    <a:pt x="557679" y="339198"/>
                  </a:cubicBezTo>
                  <a:cubicBezTo>
                    <a:pt x="556394" y="335986"/>
                    <a:pt x="555109" y="332131"/>
                    <a:pt x="552539" y="329561"/>
                  </a:cubicBezTo>
                  <a:cubicBezTo>
                    <a:pt x="549327" y="325706"/>
                    <a:pt x="544829" y="322493"/>
                    <a:pt x="540332" y="319923"/>
                  </a:cubicBezTo>
                  <a:cubicBezTo>
                    <a:pt x="535192" y="317354"/>
                    <a:pt x="530052" y="314784"/>
                    <a:pt x="524912" y="312214"/>
                  </a:cubicBezTo>
                  <a:cubicBezTo>
                    <a:pt x="520415" y="309644"/>
                    <a:pt x="515275" y="307716"/>
                    <a:pt x="511420" y="304504"/>
                  </a:cubicBezTo>
                  <a:cubicBezTo>
                    <a:pt x="507565" y="301291"/>
                    <a:pt x="504353" y="296794"/>
                    <a:pt x="504353" y="291654"/>
                  </a:cubicBezTo>
                  <a:cubicBezTo>
                    <a:pt x="504353" y="289727"/>
                    <a:pt x="504995" y="287157"/>
                    <a:pt x="506923" y="285872"/>
                  </a:cubicBezTo>
                  <a:cubicBezTo>
                    <a:pt x="510135" y="283944"/>
                    <a:pt x="514632" y="285872"/>
                    <a:pt x="517845" y="288442"/>
                  </a:cubicBezTo>
                  <a:cubicBezTo>
                    <a:pt x="546114" y="307074"/>
                    <a:pt x="580809" y="316711"/>
                    <a:pt x="614860" y="316711"/>
                  </a:cubicBezTo>
                  <a:cubicBezTo>
                    <a:pt x="621285" y="316711"/>
                    <a:pt x="627710" y="316069"/>
                    <a:pt x="633493" y="318638"/>
                  </a:cubicBezTo>
                  <a:cubicBezTo>
                    <a:pt x="641845" y="321851"/>
                    <a:pt x="646985" y="330203"/>
                    <a:pt x="648912" y="338556"/>
                  </a:cubicBezTo>
                  <a:cubicBezTo>
                    <a:pt x="650840" y="346265"/>
                    <a:pt x="648912" y="354618"/>
                    <a:pt x="646342" y="362970"/>
                  </a:cubicBezTo>
                  <a:moveTo>
                    <a:pt x="1369783" y="360400"/>
                  </a:moveTo>
                  <a:cubicBezTo>
                    <a:pt x="1363358" y="360400"/>
                    <a:pt x="1358218" y="357188"/>
                    <a:pt x="1352436" y="353975"/>
                  </a:cubicBezTo>
                  <a:cubicBezTo>
                    <a:pt x="1347296" y="350763"/>
                    <a:pt x="1342156" y="347550"/>
                    <a:pt x="1336374" y="347550"/>
                  </a:cubicBezTo>
                  <a:cubicBezTo>
                    <a:pt x="1324809" y="347550"/>
                    <a:pt x="1315172" y="359115"/>
                    <a:pt x="1303607" y="356545"/>
                  </a:cubicBezTo>
                  <a:cubicBezTo>
                    <a:pt x="1297182" y="355260"/>
                    <a:pt x="1292684" y="348835"/>
                    <a:pt x="1289472" y="343053"/>
                  </a:cubicBezTo>
                  <a:cubicBezTo>
                    <a:pt x="1286902" y="337271"/>
                    <a:pt x="1284975" y="331488"/>
                    <a:pt x="1283690" y="325063"/>
                  </a:cubicBezTo>
                  <a:cubicBezTo>
                    <a:pt x="1281762" y="324421"/>
                    <a:pt x="1279192" y="324421"/>
                    <a:pt x="1277265" y="323778"/>
                  </a:cubicBezTo>
                  <a:cubicBezTo>
                    <a:pt x="1264415" y="322493"/>
                    <a:pt x="1262488" y="316069"/>
                    <a:pt x="1261203" y="313499"/>
                  </a:cubicBezTo>
                  <a:cubicBezTo>
                    <a:pt x="1259918" y="310929"/>
                    <a:pt x="1256063" y="301934"/>
                    <a:pt x="1248353" y="296151"/>
                  </a:cubicBezTo>
                  <a:cubicBezTo>
                    <a:pt x="1240643" y="291012"/>
                    <a:pt x="1237431" y="291654"/>
                    <a:pt x="1229078" y="280732"/>
                  </a:cubicBezTo>
                  <a:cubicBezTo>
                    <a:pt x="1221368" y="270452"/>
                    <a:pt x="1221368" y="271094"/>
                    <a:pt x="1214301" y="262100"/>
                  </a:cubicBezTo>
                  <a:cubicBezTo>
                    <a:pt x="1207876" y="253747"/>
                    <a:pt x="1202094" y="241540"/>
                    <a:pt x="1180249" y="232545"/>
                  </a:cubicBezTo>
                  <a:cubicBezTo>
                    <a:pt x="1158405" y="222908"/>
                    <a:pt x="1164187" y="240897"/>
                    <a:pt x="1157762" y="244110"/>
                  </a:cubicBezTo>
                  <a:cubicBezTo>
                    <a:pt x="1151337" y="247322"/>
                    <a:pt x="1141700" y="238970"/>
                    <a:pt x="1137203" y="233188"/>
                  </a:cubicBezTo>
                  <a:cubicBezTo>
                    <a:pt x="1133348" y="227405"/>
                    <a:pt x="1121141" y="225478"/>
                    <a:pt x="1111503" y="222908"/>
                  </a:cubicBezTo>
                  <a:cubicBezTo>
                    <a:pt x="1109576" y="222265"/>
                    <a:pt x="1108291" y="221623"/>
                    <a:pt x="1107006" y="220338"/>
                  </a:cubicBezTo>
                  <a:cubicBezTo>
                    <a:pt x="1105078" y="221623"/>
                    <a:pt x="1103151" y="222265"/>
                    <a:pt x="1102508" y="222908"/>
                  </a:cubicBezTo>
                  <a:cubicBezTo>
                    <a:pt x="1099296" y="226763"/>
                    <a:pt x="1082591" y="222908"/>
                    <a:pt x="1082591" y="222908"/>
                  </a:cubicBezTo>
                  <a:cubicBezTo>
                    <a:pt x="1082591" y="222908"/>
                    <a:pt x="1052394" y="216483"/>
                    <a:pt x="1044684" y="214556"/>
                  </a:cubicBezTo>
                  <a:cubicBezTo>
                    <a:pt x="1038902" y="213271"/>
                    <a:pt x="1025410" y="209416"/>
                    <a:pt x="1016415" y="202348"/>
                  </a:cubicBezTo>
                  <a:cubicBezTo>
                    <a:pt x="1011918" y="203633"/>
                    <a:pt x="1006778" y="204276"/>
                    <a:pt x="1001638" y="204276"/>
                  </a:cubicBezTo>
                  <a:cubicBezTo>
                    <a:pt x="992643" y="204276"/>
                    <a:pt x="983006" y="202991"/>
                    <a:pt x="974011" y="202348"/>
                  </a:cubicBezTo>
                  <a:cubicBezTo>
                    <a:pt x="966944" y="201706"/>
                    <a:pt x="959234" y="201706"/>
                    <a:pt x="952166" y="201706"/>
                  </a:cubicBezTo>
                  <a:cubicBezTo>
                    <a:pt x="944456" y="201706"/>
                    <a:pt x="936747" y="201706"/>
                    <a:pt x="929679" y="204276"/>
                  </a:cubicBezTo>
                  <a:cubicBezTo>
                    <a:pt x="927109" y="205561"/>
                    <a:pt x="924539" y="206846"/>
                    <a:pt x="921969" y="207488"/>
                  </a:cubicBezTo>
                  <a:cubicBezTo>
                    <a:pt x="912332" y="211343"/>
                    <a:pt x="900125" y="208773"/>
                    <a:pt x="891130" y="203633"/>
                  </a:cubicBezTo>
                  <a:cubicBezTo>
                    <a:pt x="882135" y="198493"/>
                    <a:pt x="875068" y="190141"/>
                    <a:pt x="869285" y="181789"/>
                  </a:cubicBezTo>
                  <a:cubicBezTo>
                    <a:pt x="864788" y="175364"/>
                    <a:pt x="859648" y="168939"/>
                    <a:pt x="857078" y="161229"/>
                  </a:cubicBezTo>
                  <a:cubicBezTo>
                    <a:pt x="855793" y="158659"/>
                    <a:pt x="855151" y="155447"/>
                    <a:pt x="853866" y="152234"/>
                  </a:cubicBezTo>
                  <a:cubicBezTo>
                    <a:pt x="853223" y="152234"/>
                    <a:pt x="852581" y="152234"/>
                    <a:pt x="851938" y="152234"/>
                  </a:cubicBezTo>
                  <a:cubicBezTo>
                    <a:pt x="841658" y="150949"/>
                    <a:pt x="838446" y="150307"/>
                    <a:pt x="830736" y="149022"/>
                  </a:cubicBezTo>
                  <a:cubicBezTo>
                    <a:pt x="823026" y="147737"/>
                    <a:pt x="811462" y="139385"/>
                    <a:pt x="806322" y="133602"/>
                  </a:cubicBezTo>
                  <a:cubicBezTo>
                    <a:pt x="801182" y="127820"/>
                    <a:pt x="790902" y="111758"/>
                    <a:pt x="788974" y="107260"/>
                  </a:cubicBezTo>
                  <a:cubicBezTo>
                    <a:pt x="786405" y="102120"/>
                    <a:pt x="775482" y="90555"/>
                    <a:pt x="775482" y="90555"/>
                  </a:cubicBezTo>
                  <a:cubicBezTo>
                    <a:pt x="774840" y="89271"/>
                    <a:pt x="769057" y="80918"/>
                    <a:pt x="767772" y="78991"/>
                  </a:cubicBezTo>
                  <a:cubicBezTo>
                    <a:pt x="767130" y="76421"/>
                    <a:pt x="757493" y="62929"/>
                    <a:pt x="751710" y="51364"/>
                  </a:cubicBezTo>
                  <a:cubicBezTo>
                    <a:pt x="745285" y="39799"/>
                    <a:pt x="729223" y="23094"/>
                    <a:pt x="729223" y="23094"/>
                  </a:cubicBezTo>
                  <a:cubicBezTo>
                    <a:pt x="729223" y="23094"/>
                    <a:pt x="720228" y="18597"/>
                    <a:pt x="715088" y="17312"/>
                  </a:cubicBezTo>
                  <a:cubicBezTo>
                    <a:pt x="709948" y="16027"/>
                    <a:pt x="690674" y="15384"/>
                    <a:pt x="679109" y="17954"/>
                  </a:cubicBezTo>
                  <a:cubicBezTo>
                    <a:pt x="667544" y="20524"/>
                    <a:pt x="663047" y="25022"/>
                    <a:pt x="655980" y="28234"/>
                  </a:cubicBezTo>
                  <a:cubicBezTo>
                    <a:pt x="648912" y="31447"/>
                    <a:pt x="632208" y="28234"/>
                    <a:pt x="628995" y="28234"/>
                  </a:cubicBezTo>
                  <a:cubicBezTo>
                    <a:pt x="625783" y="28234"/>
                    <a:pt x="608435" y="30162"/>
                    <a:pt x="594301" y="28877"/>
                  </a:cubicBezTo>
                  <a:cubicBezTo>
                    <a:pt x="580166" y="28234"/>
                    <a:pt x="578239" y="22452"/>
                    <a:pt x="578239" y="22452"/>
                  </a:cubicBezTo>
                  <a:cubicBezTo>
                    <a:pt x="578239" y="22452"/>
                    <a:pt x="571814" y="14099"/>
                    <a:pt x="567316" y="5747"/>
                  </a:cubicBezTo>
                  <a:cubicBezTo>
                    <a:pt x="562819" y="-2605"/>
                    <a:pt x="560891" y="607"/>
                    <a:pt x="558964" y="607"/>
                  </a:cubicBezTo>
                  <a:cubicBezTo>
                    <a:pt x="557037" y="607"/>
                    <a:pt x="545472" y="5105"/>
                    <a:pt x="539047" y="12172"/>
                  </a:cubicBezTo>
                  <a:cubicBezTo>
                    <a:pt x="532622" y="19239"/>
                    <a:pt x="526840" y="34017"/>
                    <a:pt x="526840" y="39157"/>
                  </a:cubicBezTo>
                  <a:cubicBezTo>
                    <a:pt x="526840" y="44296"/>
                    <a:pt x="524912" y="51364"/>
                    <a:pt x="514632" y="71923"/>
                  </a:cubicBezTo>
                  <a:cubicBezTo>
                    <a:pt x="510135" y="80918"/>
                    <a:pt x="507565" y="87343"/>
                    <a:pt x="506280" y="91840"/>
                  </a:cubicBezTo>
                  <a:cubicBezTo>
                    <a:pt x="504353" y="98265"/>
                    <a:pt x="503710" y="102120"/>
                    <a:pt x="504353" y="106618"/>
                  </a:cubicBezTo>
                  <a:cubicBezTo>
                    <a:pt x="505638" y="114328"/>
                    <a:pt x="510135" y="116255"/>
                    <a:pt x="513990" y="121395"/>
                  </a:cubicBezTo>
                  <a:cubicBezTo>
                    <a:pt x="517202" y="126535"/>
                    <a:pt x="519772" y="130390"/>
                    <a:pt x="524270" y="134887"/>
                  </a:cubicBezTo>
                  <a:cubicBezTo>
                    <a:pt x="528125" y="139385"/>
                    <a:pt x="528767" y="148379"/>
                    <a:pt x="529410" y="153519"/>
                  </a:cubicBezTo>
                  <a:cubicBezTo>
                    <a:pt x="530052" y="158659"/>
                    <a:pt x="524270" y="161872"/>
                    <a:pt x="522342" y="161229"/>
                  </a:cubicBezTo>
                  <a:cubicBezTo>
                    <a:pt x="520415" y="159944"/>
                    <a:pt x="519130" y="152877"/>
                    <a:pt x="518487" y="150949"/>
                  </a:cubicBezTo>
                  <a:cubicBezTo>
                    <a:pt x="518487" y="150949"/>
                    <a:pt x="517845" y="150307"/>
                    <a:pt x="517202" y="149664"/>
                  </a:cubicBezTo>
                  <a:cubicBezTo>
                    <a:pt x="513990" y="147094"/>
                    <a:pt x="503710" y="142597"/>
                    <a:pt x="496643" y="136815"/>
                  </a:cubicBezTo>
                  <a:cubicBezTo>
                    <a:pt x="487648" y="130390"/>
                    <a:pt x="484435" y="127177"/>
                    <a:pt x="472228" y="120752"/>
                  </a:cubicBezTo>
                  <a:cubicBezTo>
                    <a:pt x="460021" y="114328"/>
                    <a:pt x="456809" y="122037"/>
                    <a:pt x="451669" y="123965"/>
                  </a:cubicBezTo>
                  <a:cubicBezTo>
                    <a:pt x="446529" y="125892"/>
                    <a:pt x="437534" y="131675"/>
                    <a:pt x="437534" y="134245"/>
                  </a:cubicBezTo>
                  <a:lnTo>
                    <a:pt x="437534" y="153519"/>
                  </a:lnTo>
                  <a:cubicBezTo>
                    <a:pt x="437534" y="159302"/>
                    <a:pt x="438176" y="163157"/>
                    <a:pt x="439461" y="168939"/>
                  </a:cubicBezTo>
                  <a:cubicBezTo>
                    <a:pt x="440746" y="174721"/>
                    <a:pt x="445886" y="172794"/>
                    <a:pt x="449741" y="170224"/>
                  </a:cubicBezTo>
                  <a:cubicBezTo>
                    <a:pt x="453596" y="167654"/>
                    <a:pt x="456809" y="163157"/>
                    <a:pt x="459378" y="163157"/>
                  </a:cubicBezTo>
                  <a:cubicBezTo>
                    <a:pt x="462591" y="163157"/>
                    <a:pt x="464518" y="175364"/>
                    <a:pt x="465161" y="181789"/>
                  </a:cubicBezTo>
                  <a:cubicBezTo>
                    <a:pt x="465803" y="188214"/>
                    <a:pt x="464518" y="190141"/>
                    <a:pt x="463233" y="195923"/>
                  </a:cubicBezTo>
                  <a:cubicBezTo>
                    <a:pt x="461948" y="201706"/>
                    <a:pt x="458736" y="204276"/>
                    <a:pt x="453596" y="206846"/>
                  </a:cubicBezTo>
                  <a:cubicBezTo>
                    <a:pt x="447814" y="209416"/>
                    <a:pt x="443316" y="213913"/>
                    <a:pt x="440746" y="215198"/>
                  </a:cubicBezTo>
                  <a:cubicBezTo>
                    <a:pt x="438176" y="216483"/>
                    <a:pt x="431751" y="215841"/>
                    <a:pt x="428539" y="215198"/>
                  </a:cubicBezTo>
                  <a:cubicBezTo>
                    <a:pt x="425327" y="214556"/>
                    <a:pt x="413762" y="208131"/>
                    <a:pt x="407337" y="202991"/>
                  </a:cubicBezTo>
                  <a:cubicBezTo>
                    <a:pt x="400912" y="197851"/>
                    <a:pt x="399627" y="193353"/>
                    <a:pt x="395130" y="182431"/>
                  </a:cubicBezTo>
                  <a:cubicBezTo>
                    <a:pt x="389990" y="172151"/>
                    <a:pt x="396415" y="173436"/>
                    <a:pt x="398342" y="171509"/>
                  </a:cubicBezTo>
                  <a:cubicBezTo>
                    <a:pt x="400270" y="169581"/>
                    <a:pt x="411192" y="168939"/>
                    <a:pt x="417617" y="165726"/>
                  </a:cubicBezTo>
                  <a:cubicBezTo>
                    <a:pt x="424042" y="163157"/>
                    <a:pt x="422757" y="152877"/>
                    <a:pt x="422114" y="145167"/>
                  </a:cubicBezTo>
                  <a:cubicBezTo>
                    <a:pt x="420829" y="137457"/>
                    <a:pt x="407979" y="132317"/>
                    <a:pt x="407979" y="132317"/>
                  </a:cubicBezTo>
                  <a:cubicBezTo>
                    <a:pt x="407979" y="132317"/>
                    <a:pt x="394487" y="116897"/>
                    <a:pt x="390632" y="109188"/>
                  </a:cubicBezTo>
                  <a:cubicBezTo>
                    <a:pt x="386777" y="101478"/>
                    <a:pt x="388062" y="91840"/>
                    <a:pt x="386135" y="86701"/>
                  </a:cubicBezTo>
                  <a:cubicBezTo>
                    <a:pt x="384850" y="81561"/>
                    <a:pt x="372000" y="79633"/>
                    <a:pt x="363648" y="78991"/>
                  </a:cubicBezTo>
                  <a:cubicBezTo>
                    <a:pt x="355938" y="78348"/>
                    <a:pt x="335378" y="77063"/>
                    <a:pt x="316746" y="78991"/>
                  </a:cubicBezTo>
                  <a:cubicBezTo>
                    <a:pt x="298114" y="80918"/>
                    <a:pt x="278197" y="84131"/>
                    <a:pt x="266632" y="89913"/>
                  </a:cubicBezTo>
                  <a:cubicBezTo>
                    <a:pt x="254425" y="95695"/>
                    <a:pt x="255710" y="93125"/>
                    <a:pt x="249285" y="96980"/>
                  </a:cubicBezTo>
                  <a:cubicBezTo>
                    <a:pt x="243503" y="100835"/>
                    <a:pt x="239005" y="93768"/>
                    <a:pt x="235793" y="87986"/>
                  </a:cubicBezTo>
                  <a:cubicBezTo>
                    <a:pt x="231938" y="82203"/>
                    <a:pt x="208808" y="86058"/>
                    <a:pt x="199814" y="86058"/>
                  </a:cubicBezTo>
                  <a:cubicBezTo>
                    <a:pt x="190819" y="86058"/>
                    <a:pt x="178611" y="87986"/>
                    <a:pt x="172829" y="91840"/>
                  </a:cubicBezTo>
                  <a:cubicBezTo>
                    <a:pt x="167047" y="95053"/>
                    <a:pt x="154839" y="103405"/>
                    <a:pt x="144560" y="114328"/>
                  </a:cubicBezTo>
                  <a:cubicBezTo>
                    <a:pt x="134280" y="124607"/>
                    <a:pt x="127213" y="132960"/>
                    <a:pt x="121430" y="140670"/>
                  </a:cubicBezTo>
                  <a:cubicBezTo>
                    <a:pt x="116290" y="148379"/>
                    <a:pt x="111793" y="150949"/>
                    <a:pt x="109865" y="157374"/>
                  </a:cubicBezTo>
                  <a:cubicBezTo>
                    <a:pt x="107295" y="163799"/>
                    <a:pt x="109223" y="172151"/>
                    <a:pt x="106653" y="184359"/>
                  </a:cubicBezTo>
                  <a:cubicBezTo>
                    <a:pt x="104725" y="196566"/>
                    <a:pt x="102798" y="202348"/>
                    <a:pt x="102156" y="204918"/>
                  </a:cubicBezTo>
                  <a:cubicBezTo>
                    <a:pt x="101513" y="207488"/>
                    <a:pt x="100870" y="217125"/>
                    <a:pt x="102798" y="221623"/>
                  </a:cubicBezTo>
                  <a:cubicBezTo>
                    <a:pt x="104725" y="226120"/>
                    <a:pt x="106653" y="225478"/>
                    <a:pt x="107938" y="228048"/>
                  </a:cubicBezTo>
                  <a:cubicBezTo>
                    <a:pt x="109223" y="230618"/>
                    <a:pt x="107295" y="233830"/>
                    <a:pt x="106653" y="240255"/>
                  </a:cubicBezTo>
                  <a:cubicBezTo>
                    <a:pt x="106010" y="246680"/>
                    <a:pt x="109865" y="242183"/>
                    <a:pt x="113720" y="242183"/>
                  </a:cubicBezTo>
                  <a:cubicBezTo>
                    <a:pt x="117575" y="242183"/>
                    <a:pt x="139420" y="242183"/>
                    <a:pt x="153555" y="241540"/>
                  </a:cubicBezTo>
                  <a:cubicBezTo>
                    <a:pt x="168332" y="240897"/>
                    <a:pt x="169617" y="242183"/>
                    <a:pt x="171544" y="242183"/>
                  </a:cubicBezTo>
                  <a:cubicBezTo>
                    <a:pt x="173472" y="242825"/>
                    <a:pt x="186321" y="248607"/>
                    <a:pt x="186321" y="251177"/>
                  </a:cubicBezTo>
                  <a:cubicBezTo>
                    <a:pt x="186321" y="253747"/>
                    <a:pt x="170902" y="250535"/>
                    <a:pt x="170902" y="250535"/>
                  </a:cubicBezTo>
                  <a:cubicBezTo>
                    <a:pt x="170902" y="250535"/>
                    <a:pt x="165119" y="253747"/>
                    <a:pt x="165119" y="255032"/>
                  </a:cubicBezTo>
                  <a:cubicBezTo>
                    <a:pt x="164477" y="256317"/>
                    <a:pt x="158052" y="262742"/>
                    <a:pt x="156767" y="265955"/>
                  </a:cubicBezTo>
                  <a:cubicBezTo>
                    <a:pt x="155482" y="269809"/>
                    <a:pt x="154197" y="280732"/>
                    <a:pt x="154197" y="296151"/>
                  </a:cubicBezTo>
                  <a:cubicBezTo>
                    <a:pt x="154197" y="310929"/>
                    <a:pt x="155482" y="355260"/>
                    <a:pt x="155482" y="369395"/>
                  </a:cubicBezTo>
                  <a:cubicBezTo>
                    <a:pt x="155482" y="383530"/>
                    <a:pt x="154839" y="383530"/>
                    <a:pt x="153555" y="393167"/>
                  </a:cubicBezTo>
                  <a:cubicBezTo>
                    <a:pt x="152269" y="402804"/>
                    <a:pt x="122715" y="441354"/>
                    <a:pt x="122715" y="441354"/>
                  </a:cubicBezTo>
                  <a:cubicBezTo>
                    <a:pt x="122715" y="441354"/>
                    <a:pt x="116290" y="454203"/>
                    <a:pt x="113720" y="459343"/>
                  </a:cubicBezTo>
                  <a:cubicBezTo>
                    <a:pt x="111150" y="464483"/>
                    <a:pt x="107938" y="482473"/>
                    <a:pt x="107938" y="494038"/>
                  </a:cubicBezTo>
                  <a:cubicBezTo>
                    <a:pt x="107938" y="505602"/>
                    <a:pt x="106653" y="525519"/>
                    <a:pt x="105368" y="532587"/>
                  </a:cubicBezTo>
                  <a:cubicBezTo>
                    <a:pt x="104725" y="539654"/>
                    <a:pt x="102798" y="539654"/>
                    <a:pt x="100228" y="542867"/>
                  </a:cubicBezTo>
                  <a:cubicBezTo>
                    <a:pt x="97658" y="546722"/>
                    <a:pt x="88663" y="542867"/>
                    <a:pt x="82881" y="540297"/>
                  </a:cubicBezTo>
                  <a:cubicBezTo>
                    <a:pt x="77098" y="537727"/>
                    <a:pt x="60394" y="538369"/>
                    <a:pt x="57181" y="537084"/>
                  </a:cubicBezTo>
                  <a:cubicBezTo>
                    <a:pt x="53326" y="535799"/>
                    <a:pt x="46902" y="532587"/>
                    <a:pt x="35979" y="529374"/>
                  </a:cubicBezTo>
                  <a:cubicBezTo>
                    <a:pt x="25057" y="526162"/>
                    <a:pt x="21845" y="531302"/>
                    <a:pt x="17347" y="532587"/>
                  </a:cubicBezTo>
                  <a:cubicBezTo>
                    <a:pt x="12850" y="533872"/>
                    <a:pt x="10280" y="540939"/>
                    <a:pt x="8995" y="544794"/>
                  </a:cubicBezTo>
                  <a:cubicBezTo>
                    <a:pt x="7710" y="548649"/>
                    <a:pt x="10280" y="556359"/>
                    <a:pt x="12850" y="558929"/>
                  </a:cubicBezTo>
                  <a:cubicBezTo>
                    <a:pt x="15420" y="561499"/>
                    <a:pt x="18632" y="565354"/>
                    <a:pt x="17990" y="573064"/>
                  </a:cubicBezTo>
                  <a:cubicBezTo>
                    <a:pt x="17347" y="580773"/>
                    <a:pt x="7067" y="570494"/>
                    <a:pt x="5140" y="571778"/>
                  </a:cubicBezTo>
                  <a:cubicBezTo>
                    <a:pt x="3212" y="573064"/>
                    <a:pt x="0" y="581416"/>
                    <a:pt x="0" y="585271"/>
                  </a:cubicBezTo>
                  <a:cubicBezTo>
                    <a:pt x="0" y="588483"/>
                    <a:pt x="643" y="593623"/>
                    <a:pt x="1285" y="601975"/>
                  </a:cubicBezTo>
                  <a:cubicBezTo>
                    <a:pt x="1927" y="610328"/>
                    <a:pt x="8995" y="614825"/>
                    <a:pt x="13492" y="616753"/>
                  </a:cubicBezTo>
                  <a:cubicBezTo>
                    <a:pt x="17990" y="618680"/>
                    <a:pt x="32124" y="623177"/>
                    <a:pt x="37264" y="625747"/>
                  </a:cubicBezTo>
                  <a:cubicBezTo>
                    <a:pt x="43047" y="628317"/>
                    <a:pt x="54611" y="631530"/>
                    <a:pt x="57181" y="632815"/>
                  </a:cubicBezTo>
                  <a:cubicBezTo>
                    <a:pt x="59751" y="634100"/>
                    <a:pt x="69389" y="635385"/>
                    <a:pt x="71316" y="635385"/>
                  </a:cubicBezTo>
                  <a:cubicBezTo>
                    <a:pt x="72601" y="635385"/>
                    <a:pt x="76456" y="627675"/>
                    <a:pt x="80311" y="625747"/>
                  </a:cubicBezTo>
                  <a:cubicBezTo>
                    <a:pt x="84166" y="623820"/>
                    <a:pt x="85451" y="627032"/>
                    <a:pt x="87378" y="628317"/>
                  </a:cubicBezTo>
                  <a:cubicBezTo>
                    <a:pt x="89306" y="629602"/>
                    <a:pt x="94446" y="640525"/>
                    <a:pt x="97658" y="644380"/>
                  </a:cubicBezTo>
                  <a:cubicBezTo>
                    <a:pt x="100870" y="648235"/>
                    <a:pt x="105368" y="655302"/>
                    <a:pt x="107938" y="662369"/>
                  </a:cubicBezTo>
                  <a:cubicBezTo>
                    <a:pt x="109865" y="667509"/>
                    <a:pt x="100228" y="677146"/>
                    <a:pt x="96373" y="681644"/>
                  </a:cubicBezTo>
                  <a:cubicBezTo>
                    <a:pt x="95731" y="681644"/>
                    <a:pt x="95731" y="682286"/>
                    <a:pt x="95731" y="682286"/>
                  </a:cubicBezTo>
                  <a:lnTo>
                    <a:pt x="95088" y="682929"/>
                  </a:lnTo>
                  <a:cubicBezTo>
                    <a:pt x="94446" y="683571"/>
                    <a:pt x="94446" y="683571"/>
                    <a:pt x="94446" y="683571"/>
                  </a:cubicBezTo>
                  <a:cubicBezTo>
                    <a:pt x="94446" y="683571"/>
                    <a:pt x="86093" y="695136"/>
                    <a:pt x="85451" y="698991"/>
                  </a:cubicBezTo>
                  <a:cubicBezTo>
                    <a:pt x="84808" y="702203"/>
                    <a:pt x="88663" y="706058"/>
                    <a:pt x="95731" y="711198"/>
                  </a:cubicBezTo>
                  <a:cubicBezTo>
                    <a:pt x="97658" y="712483"/>
                    <a:pt x="98943" y="713768"/>
                    <a:pt x="98301" y="715053"/>
                  </a:cubicBezTo>
                  <a:cubicBezTo>
                    <a:pt x="98943" y="715053"/>
                    <a:pt x="99586" y="714411"/>
                    <a:pt x="100228" y="714411"/>
                  </a:cubicBezTo>
                  <a:cubicBezTo>
                    <a:pt x="106010" y="712483"/>
                    <a:pt x="110508" y="709913"/>
                    <a:pt x="115648" y="707343"/>
                  </a:cubicBezTo>
                  <a:cubicBezTo>
                    <a:pt x="120145" y="704773"/>
                    <a:pt x="124643" y="704773"/>
                    <a:pt x="130425" y="705416"/>
                  </a:cubicBezTo>
                  <a:cubicBezTo>
                    <a:pt x="145202" y="706701"/>
                    <a:pt x="158052" y="710556"/>
                    <a:pt x="172187" y="704773"/>
                  </a:cubicBezTo>
                  <a:cubicBezTo>
                    <a:pt x="185036" y="698991"/>
                    <a:pt x="197244" y="690639"/>
                    <a:pt x="207523" y="681644"/>
                  </a:cubicBezTo>
                  <a:cubicBezTo>
                    <a:pt x="224871" y="666867"/>
                    <a:pt x="240933" y="650804"/>
                    <a:pt x="260850" y="638597"/>
                  </a:cubicBezTo>
                  <a:cubicBezTo>
                    <a:pt x="265990" y="635385"/>
                    <a:pt x="271772" y="632815"/>
                    <a:pt x="278197" y="634100"/>
                  </a:cubicBezTo>
                  <a:cubicBezTo>
                    <a:pt x="291047" y="636670"/>
                    <a:pt x="292974" y="654017"/>
                    <a:pt x="303897" y="660442"/>
                  </a:cubicBezTo>
                  <a:cubicBezTo>
                    <a:pt x="318031" y="669437"/>
                    <a:pt x="341161" y="657229"/>
                    <a:pt x="353368" y="668794"/>
                  </a:cubicBezTo>
                  <a:cubicBezTo>
                    <a:pt x="355938" y="670722"/>
                    <a:pt x="357223" y="673934"/>
                    <a:pt x="358508" y="676504"/>
                  </a:cubicBezTo>
                  <a:cubicBezTo>
                    <a:pt x="362363" y="686141"/>
                    <a:pt x="361078" y="697063"/>
                    <a:pt x="359150" y="707343"/>
                  </a:cubicBezTo>
                  <a:cubicBezTo>
                    <a:pt x="355938" y="723406"/>
                    <a:pt x="351441" y="738825"/>
                    <a:pt x="344373" y="753602"/>
                  </a:cubicBezTo>
                  <a:cubicBezTo>
                    <a:pt x="339876" y="763240"/>
                    <a:pt x="334736" y="772877"/>
                    <a:pt x="336021" y="783799"/>
                  </a:cubicBezTo>
                  <a:cubicBezTo>
                    <a:pt x="337948" y="801789"/>
                    <a:pt x="359793" y="813996"/>
                    <a:pt x="379068" y="812069"/>
                  </a:cubicBezTo>
                  <a:cubicBezTo>
                    <a:pt x="398342" y="810141"/>
                    <a:pt x="415047" y="798577"/>
                    <a:pt x="429182" y="785084"/>
                  </a:cubicBezTo>
                  <a:cubicBezTo>
                    <a:pt x="433679" y="780587"/>
                    <a:pt x="438176" y="776089"/>
                    <a:pt x="444601" y="772877"/>
                  </a:cubicBezTo>
                  <a:cubicBezTo>
                    <a:pt x="451669" y="769665"/>
                    <a:pt x="458736" y="770950"/>
                    <a:pt x="465803" y="772235"/>
                  </a:cubicBezTo>
                  <a:cubicBezTo>
                    <a:pt x="468373" y="772877"/>
                    <a:pt x="490218" y="778017"/>
                    <a:pt x="491503" y="774162"/>
                  </a:cubicBezTo>
                  <a:cubicBezTo>
                    <a:pt x="492788" y="768380"/>
                    <a:pt x="496643" y="762597"/>
                    <a:pt x="501140" y="758742"/>
                  </a:cubicBezTo>
                  <a:cubicBezTo>
                    <a:pt x="504353" y="756172"/>
                    <a:pt x="508850" y="753602"/>
                    <a:pt x="510135" y="749748"/>
                  </a:cubicBezTo>
                  <a:cubicBezTo>
                    <a:pt x="511420" y="745893"/>
                    <a:pt x="510135" y="742038"/>
                    <a:pt x="508208" y="738825"/>
                  </a:cubicBezTo>
                  <a:cubicBezTo>
                    <a:pt x="506280" y="735613"/>
                    <a:pt x="503068" y="732400"/>
                    <a:pt x="500498" y="729188"/>
                  </a:cubicBezTo>
                  <a:cubicBezTo>
                    <a:pt x="496643" y="723406"/>
                    <a:pt x="494715" y="716338"/>
                    <a:pt x="493430" y="709271"/>
                  </a:cubicBezTo>
                  <a:cubicBezTo>
                    <a:pt x="491503" y="699633"/>
                    <a:pt x="489575" y="689354"/>
                    <a:pt x="490860" y="679716"/>
                  </a:cubicBezTo>
                  <a:cubicBezTo>
                    <a:pt x="492145" y="673934"/>
                    <a:pt x="493430" y="666224"/>
                    <a:pt x="487648" y="663012"/>
                  </a:cubicBezTo>
                  <a:cubicBezTo>
                    <a:pt x="485078" y="661727"/>
                    <a:pt x="481865" y="661727"/>
                    <a:pt x="479296" y="661084"/>
                  </a:cubicBezTo>
                  <a:cubicBezTo>
                    <a:pt x="473513" y="659157"/>
                    <a:pt x="470943" y="652732"/>
                    <a:pt x="472228" y="646950"/>
                  </a:cubicBezTo>
                  <a:cubicBezTo>
                    <a:pt x="473513" y="641167"/>
                    <a:pt x="477368" y="636670"/>
                    <a:pt x="481865" y="632815"/>
                  </a:cubicBezTo>
                  <a:cubicBezTo>
                    <a:pt x="499213" y="618038"/>
                    <a:pt x="522985" y="611613"/>
                    <a:pt x="545472" y="605830"/>
                  </a:cubicBezTo>
                  <a:cubicBezTo>
                    <a:pt x="552539" y="603903"/>
                    <a:pt x="562819" y="602618"/>
                    <a:pt x="566674" y="609043"/>
                  </a:cubicBezTo>
                  <a:cubicBezTo>
                    <a:pt x="568601" y="611613"/>
                    <a:pt x="568601" y="615468"/>
                    <a:pt x="568601" y="618680"/>
                  </a:cubicBezTo>
                  <a:cubicBezTo>
                    <a:pt x="568601" y="623820"/>
                    <a:pt x="567959" y="629602"/>
                    <a:pt x="567959" y="635385"/>
                  </a:cubicBezTo>
                  <a:cubicBezTo>
                    <a:pt x="567959" y="639882"/>
                    <a:pt x="567316" y="644380"/>
                    <a:pt x="569886" y="648235"/>
                  </a:cubicBezTo>
                  <a:cubicBezTo>
                    <a:pt x="574384" y="655944"/>
                    <a:pt x="585306" y="657229"/>
                    <a:pt x="594301" y="656587"/>
                  </a:cubicBezTo>
                  <a:cubicBezTo>
                    <a:pt x="603938" y="656587"/>
                    <a:pt x="614218" y="655944"/>
                    <a:pt x="623855" y="652732"/>
                  </a:cubicBezTo>
                  <a:cubicBezTo>
                    <a:pt x="633493" y="649519"/>
                    <a:pt x="641845" y="643737"/>
                    <a:pt x="646985" y="636027"/>
                  </a:cubicBezTo>
                  <a:cubicBezTo>
                    <a:pt x="652125" y="627032"/>
                    <a:pt x="654052" y="615468"/>
                    <a:pt x="663047" y="610328"/>
                  </a:cubicBezTo>
                  <a:cubicBezTo>
                    <a:pt x="666902" y="608400"/>
                    <a:pt x="670757" y="607758"/>
                    <a:pt x="674612" y="607758"/>
                  </a:cubicBezTo>
                  <a:cubicBezTo>
                    <a:pt x="679752" y="607115"/>
                    <a:pt x="686176" y="607115"/>
                    <a:pt x="689389" y="611613"/>
                  </a:cubicBezTo>
                  <a:cubicBezTo>
                    <a:pt x="690674" y="613540"/>
                    <a:pt x="690674" y="616110"/>
                    <a:pt x="690674" y="618038"/>
                  </a:cubicBezTo>
                  <a:cubicBezTo>
                    <a:pt x="690674" y="631530"/>
                    <a:pt x="687461" y="645022"/>
                    <a:pt x="683607" y="657872"/>
                  </a:cubicBezTo>
                  <a:cubicBezTo>
                    <a:pt x="681679" y="665582"/>
                    <a:pt x="679109" y="673291"/>
                    <a:pt x="672684" y="678431"/>
                  </a:cubicBezTo>
                  <a:cubicBezTo>
                    <a:pt x="668829" y="681644"/>
                    <a:pt x="663689" y="682286"/>
                    <a:pt x="658550" y="681644"/>
                  </a:cubicBezTo>
                  <a:cubicBezTo>
                    <a:pt x="654695" y="681001"/>
                    <a:pt x="654695" y="680359"/>
                    <a:pt x="652767" y="682929"/>
                  </a:cubicBezTo>
                  <a:cubicBezTo>
                    <a:pt x="651482" y="684856"/>
                    <a:pt x="650197" y="687426"/>
                    <a:pt x="649555" y="689996"/>
                  </a:cubicBezTo>
                  <a:cubicBezTo>
                    <a:pt x="646342" y="699633"/>
                    <a:pt x="645700" y="709913"/>
                    <a:pt x="647627" y="720193"/>
                  </a:cubicBezTo>
                  <a:cubicBezTo>
                    <a:pt x="650840" y="735613"/>
                    <a:pt x="659834" y="749105"/>
                    <a:pt x="670757" y="760670"/>
                  </a:cubicBezTo>
                  <a:cubicBezTo>
                    <a:pt x="672684" y="762597"/>
                    <a:pt x="674612" y="764525"/>
                    <a:pt x="676539" y="765167"/>
                  </a:cubicBezTo>
                  <a:cubicBezTo>
                    <a:pt x="679109" y="765810"/>
                    <a:pt x="681679" y="765810"/>
                    <a:pt x="684249" y="765810"/>
                  </a:cubicBezTo>
                  <a:cubicBezTo>
                    <a:pt x="689389" y="766452"/>
                    <a:pt x="693886" y="770950"/>
                    <a:pt x="696456" y="775447"/>
                  </a:cubicBezTo>
                  <a:cubicBezTo>
                    <a:pt x="699026" y="779944"/>
                    <a:pt x="700311" y="785084"/>
                    <a:pt x="702881" y="789582"/>
                  </a:cubicBezTo>
                  <a:cubicBezTo>
                    <a:pt x="709306" y="803716"/>
                    <a:pt x="720871" y="815281"/>
                    <a:pt x="729866" y="828131"/>
                  </a:cubicBezTo>
                  <a:cubicBezTo>
                    <a:pt x="738860" y="841623"/>
                    <a:pt x="744643" y="857043"/>
                    <a:pt x="745928" y="872463"/>
                  </a:cubicBezTo>
                  <a:cubicBezTo>
                    <a:pt x="746570" y="876960"/>
                    <a:pt x="746570" y="880815"/>
                    <a:pt x="748498" y="885312"/>
                  </a:cubicBezTo>
                  <a:cubicBezTo>
                    <a:pt x="750425" y="889167"/>
                    <a:pt x="754280" y="892380"/>
                    <a:pt x="758778" y="892380"/>
                  </a:cubicBezTo>
                  <a:cubicBezTo>
                    <a:pt x="764560" y="892380"/>
                    <a:pt x="768415" y="887240"/>
                    <a:pt x="772912" y="884027"/>
                  </a:cubicBezTo>
                  <a:cubicBezTo>
                    <a:pt x="774197" y="883385"/>
                    <a:pt x="776125" y="882100"/>
                    <a:pt x="778052" y="882100"/>
                  </a:cubicBezTo>
                  <a:cubicBezTo>
                    <a:pt x="781265" y="882100"/>
                    <a:pt x="783835" y="885312"/>
                    <a:pt x="785119" y="888525"/>
                  </a:cubicBezTo>
                  <a:cubicBezTo>
                    <a:pt x="790902" y="901374"/>
                    <a:pt x="793472" y="917437"/>
                    <a:pt x="783835" y="928359"/>
                  </a:cubicBezTo>
                  <a:cubicBezTo>
                    <a:pt x="781265" y="931571"/>
                    <a:pt x="777410" y="934141"/>
                    <a:pt x="774197" y="936711"/>
                  </a:cubicBezTo>
                  <a:cubicBezTo>
                    <a:pt x="764560" y="945064"/>
                    <a:pt x="760063" y="957271"/>
                    <a:pt x="760063" y="968836"/>
                  </a:cubicBezTo>
                  <a:cubicBezTo>
                    <a:pt x="760063" y="973333"/>
                    <a:pt x="760063" y="982328"/>
                    <a:pt x="763917" y="985540"/>
                  </a:cubicBezTo>
                  <a:cubicBezTo>
                    <a:pt x="768415" y="989395"/>
                    <a:pt x="776125" y="986183"/>
                    <a:pt x="779337" y="982970"/>
                  </a:cubicBezTo>
                  <a:cubicBezTo>
                    <a:pt x="780622" y="982328"/>
                    <a:pt x="781265" y="981043"/>
                    <a:pt x="782550" y="980400"/>
                  </a:cubicBezTo>
                  <a:cubicBezTo>
                    <a:pt x="784477" y="979758"/>
                    <a:pt x="785762" y="980400"/>
                    <a:pt x="787047" y="981685"/>
                  </a:cubicBezTo>
                  <a:cubicBezTo>
                    <a:pt x="787690" y="982328"/>
                    <a:pt x="788974" y="982970"/>
                    <a:pt x="789617" y="983613"/>
                  </a:cubicBezTo>
                  <a:cubicBezTo>
                    <a:pt x="798612" y="990680"/>
                    <a:pt x="811462" y="988753"/>
                    <a:pt x="823026" y="989395"/>
                  </a:cubicBezTo>
                  <a:cubicBezTo>
                    <a:pt x="830094" y="990038"/>
                    <a:pt x="837161" y="991965"/>
                    <a:pt x="843586" y="995820"/>
                  </a:cubicBezTo>
                  <a:cubicBezTo>
                    <a:pt x="848726" y="998390"/>
                    <a:pt x="853866" y="1002245"/>
                    <a:pt x="855151" y="1008027"/>
                  </a:cubicBezTo>
                  <a:cubicBezTo>
                    <a:pt x="857078" y="1013167"/>
                    <a:pt x="853866" y="1020235"/>
                    <a:pt x="848083" y="1021520"/>
                  </a:cubicBezTo>
                  <a:cubicBezTo>
                    <a:pt x="842943" y="1022805"/>
                    <a:pt x="837161" y="1019592"/>
                    <a:pt x="833306" y="1022805"/>
                  </a:cubicBezTo>
                  <a:cubicBezTo>
                    <a:pt x="832021" y="1024089"/>
                    <a:pt x="830736" y="1025375"/>
                    <a:pt x="830736" y="1027302"/>
                  </a:cubicBezTo>
                  <a:cubicBezTo>
                    <a:pt x="826239" y="1040152"/>
                    <a:pt x="833306" y="1053001"/>
                    <a:pt x="841658" y="1063924"/>
                  </a:cubicBezTo>
                  <a:cubicBezTo>
                    <a:pt x="845513" y="1069064"/>
                    <a:pt x="849368" y="1074204"/>
                    <a:pt x="848083" y="1079986"/>
                  </a:cubicBezTo>
                  <a:cubicBezTo>
                    <a:pt x="846798" y="1086411"/>
                    <a:pt x="839088" y="1089623"/>
                    <a:pt x="832021" y="1090908"/>
                  </a:cubicBezTo>
                  <a:cubicBezTo>
                    <a:pt x="824954" y="1092193"/>
                    <a:pt x="817886" y="1091551"/>
                    <a:pt x="811462" y="1094121"/>
                  </a:cubicBezTo>
                  <a:cubicBezTo>
                    <a:pt x="807607" y="1104400"/>
                    <a:pt x="817244" y="1114038"/>
                    <a:pt x="826881" y="1119820"/>
                  </a:cubicBezTo>
                  <a:cubicBezTo>
                    <a:pt x="834591" y="1124960"/>
                    <a:pt x="842943" y="1129458"/>
                    <a:pt x="851296" y="1133312"/>
                  </a:cubicBezTo>
                  <a:cubicBezTo>
                    <a:pt x="855151" y="1135240"/>
                    <a:pt x="859648" y="1137167"/>
                    <a:pt x="864145" y="1137167"/>
                  </a:cubicBezTo>
                  <a:cubicBezTo>
                    <a:pt x="872498" y="1137167"/>
                    <a:pt x="878923" y="1132028"/>
                    <a:pt x="885348" y="1126887"/>
                  </a:cubicBezTo>
                  <a:cubicBezTo>
                    <a:pt x="886633" y="1125603"/>
                    <a:pt x="888560" y="1124318"/>
                    <a:pt x="889203" y="1122390"/>
                  </a:cubicBezTo>
                  <a:cubicBezTo>
                    <a:pt x="890487" y="1117893"/>
                    <a:pt x="884705" y="1115323"/>
                    <a:pt x="879565" y="1114680"/>
                  </a:cubicBezTo>
                  <a:cubicBezTo>
                    <a:pt x="875068" y="1114038"/>
                    <a:pt x="869285" y="1113395"/>
                    <a:pt x="866715" y="1109540"/>
                  </a:cubicBezTo>
                  <a:cubicBezTo>
                    <a:pt x="864145" y="1105043"/>
                    <a:pt x="868643" y="1099903"/>
                    <a:pt x="873140" y="1097333"/>
                  </a:cubicBezTo>
                  <a:cubicBezTo>
                    <a:pt x="887275" y="1088981"/>
                    <a:pt x="905907" y="1088338"/>
                    <a:pt x="921327" y="1094763"/>
                  </a:cubicBezTo>
                  <a:cubicBezTo>
                    <a:pt x="922612" y="1095406"/>
                    <a:pt x="924539" y="1096048"/>
                    <a:pt x="925824" y="1097333"/>
                  </a:cubicBezTo>
                  <a:cubicBezTo>
                    <a:pt x="933534" y="1088981"/>
                    <a:pt x="945099" y="1083841"/>
                    <a:pt x="956664" y="1082556"/>
                  </a:cubicBezTo>
                  <a:cubicBezTo>
                    <a:pt x="965016" y="1081913"/>
                    <a:pt x="975296" y="1082556"/>
                    <a:pt x="980436" y="1076774"/>
                  </a:cubicBezTo>
                  <a:cubicBezTo>
                    <a:pt x="982363" y="1074204"/>
                    <a:pt x="983648" y="1070991"/>
                    <a:pt x="985576" y="1068421"/>
                  </a:cubicBezTo>
                  <a:cubicBezTo>
                    <a:pt x="990073" y="1063281"/>
                    <a:pt x="998425" y="1062639"/>
                    <a:pt x="1005493" y="1060711"/>
                  </a:cubicBezTo>
                  <a:cubicBezTo>
                    <a:pt x="1016415" y="1056856"/>
                    <a:pt x="1024125" y="1047862"/>
                    <a:pt x="1033120" y="1040794"/>
                  </a:cubicBezTo>
                  <a:cubicBezTo>
                    <a:pt x="1049824" y="1027944"/>
                    <a:pt x="1071669" y="1023447"/>
                    <a:pt x="1090944" y="1015095"/>
                  </a:cubicBezTo>
                  <a:cubicBezTo>
                    <a:pt x="1100581" y="1010597"/>
                    <a:pt x="1110218" y="1005457"/>
                    <a:pt x="1119213" y="1000318"/>
                  </a:cubicBezTo>
                  <a:cubicBezTo>
                    <a:pt x="1126923" y="995820"/>
                    <a:pt x="1137203" y="989395"/>
                    <a:pt x="1139773" y="981043"/>
                  </a:cubicBezTo>
                  <a:cubicBezTo>
                    <a:pt x="1140415" y="978473"/>
                    <a:pt x="1140415" y="975903"/>
                    <a:pt x="1139773" y="973333"/>
                  </a:cubicBezTo>
                  <a:cubicBezTo>
                    <a:pt x="1137203" y="960483"/>
                    <a:pt x="1127565" y="950846"/>
                    <a:pt x="1123710" y="939281"/>
                  </a:cubicBezTo>
                  <a:cubicBezTo>
                    <a:pt x="1120498" y="930286"/>
                    <a:pt x="1121783" y="920007"/>
                    <a:pt x="1117928" y="911012"/>
                  </a:cubicBezTo>
                  <a:cubicBezTo>
                    <a:pt x="1117286" y="910369"/>
                    <a:pt x="1117286" y="909084"/>
                    <a:pt x="1116643" y="908442"/>
                  </a:cubicBezTo>
                  <a:cubicBezTo>
                    <a:pt x="1114716" y="904587"/>
                    <a:pt x="1112146" y="900732"/>
                    <a:pt x="1112146" y="896877"/>
                  </a:cubicBezTo>
                  <a:cubicBezTo>
                    <a:pt x="1112788" y="889810"/>
                    <a:pt x="1119855" y="885312"/>
                    <a:pt x="1125638" y="882100"/>
                  </a:cubicBezTo>
                  <a:cubicBezTo>
                    <a:pt x="1126923" y="881457"/>
                    <a:pt x="1128850" y="880172"/>
                    <a:pt x="1129493" y="878887"/>
                  </a:cubicBezTo>
                  <a:cubicBezTo>
                    <a:pt x="1130135" y="877602"/>
                    <a:pt x="1130135" y="876318"/>
                    <a:pt x="1130135" y="875033"/>
                  </a:cubicBezTo>
                  <a:cubicBezTo>
                    <a:pt x="1130778" y="866680"/>
                    <a:pt x="1126923" y="858970"/>
                    <a:pt x="1122425" y="851903"/>
                  </a:cubicBezTo>
                  <a:cubicBezTo>
                    <a:pt x="1117928" y="844836"/>
                    <a:pt x="1112146" y="838411"/>
                    <a:pt x="1107006" y="831986"/>
                  </a:cubicBezTo>
                  <a:cubicBezTo>
                    <a:pt x="1105078" y="829416"/>
                    <a:pt x="1102508" y="825561"/>
                    <a:pt x="1102508" y="822349"/>
                  </a:cubicBezTo>
                  <a:cubicBezTo>
                    <a:pt x="1103151" y="816566"/>
                    <a:pt x="1109576" y="812711"/>
                    <a:pt x="1115358" y="810141"/>
                  </a:cubicBezTo>
                  <a:cubicBezTo>
                    <a:pt x="1126280" y="805001"/>
                    <a:pt x="1137203" y="799861"/>
                    <a:pt x="1149410" y="798577"/>
                  </a:cubicBezTo>
                  <a:cubicBezTo>
                    <a:pt x="1156477" y="797934"/>
                    <a:pt x="1164187" y="798577"/>
                    <a:pt x="1171254" y="799861"/>
                  </a:cubicBezTo>
                  <a:cubicBezTo>
                    <a:pt x="1182177" y="801147"/>
                    <a:pt x="1193741" y="802431"/>
                    <a:pt x="1204664" y="803716"/>
                  </a:cubicBezTo>
                  <a:cubicBezTo>
                    <a:pt x="1207234" y="803716"/>
                    <a:pt x="1209804" y="804359"/>
                    <a:pt x="1212374" y="803074"/>
                  </a:cubicBezTo>
                  <a:cubicBezTo>
                    <a:pt x="1214301" y="801789"/>
                    <a:pt x="1214943" y="800504"/>
                    <a:pt x="1216229" y="798577"/>
                  </a:cubicBezTo>
                  <a:cubicBezTo>
                    <a:pt x="1223938" y="783799"/>
                    <a:pt x="1231648" y="769665"/>
                    <a:pt x="1238716" y="755530"/>
                  </a:cubicBezTo>
                  <a:cubicBezTo>
                    <a:pt x="1239358" y="754245"/>
                    <a:pt x="1240001" y="752960"/>
                    <a:pt x="1240001" y="751675"/>
                  </a:cubicBezTo>
                  <a:cubicBezTo>
                    <a:pt x="1240643" y="747178"/>
                    <a:pt x="1235503" y="744608"/>
                    <a:pt x="1231006" y="743323"/>
                  </a:cubicBezTo>
                  <a:cubicBezTo>
                    <a:pt x="1234861" y="727903"/>
                    <a:pt x="1236146" y="711841"/>
                    <a:pt x="1233576" y="696421"/>
                  </a:cubicBezTo>
                  <a:cubicBezTo>
                    <a:pt x="1232291" y="688711"/>
                    <a:pt x="1230363" y="681001"/>
                    <a:pt x="1228436" y="673291"/>
                  </a:cubicBezTo>
                  <a:cubicBezTo>
                    <a:pt x="1221368" y="647592"/>
                    <a:pt x="1214943" y="621250"/>
                    <a:pt x="1207876" y="595551"/>
                  </a:cubicBezTo>
                  <a:cubicBezTo>
                    <a:pt x="1201451" y="572421"/>
                    <a:pt x="1199524" y="547364"/>
                    <a:pt x="1180892" y="529374"/>
                  </a:cubicBezTo>
                  <a:cubicBezTo>
                    <a:pt x="1173824" y="522307"/>
                    <a:pt x="1164830" y="517167"/>
                    <a:pt x="1159047" y="509457"/>
                  </a:cubicBezTo>
                  <a:cubicBezTo>
                    <a:pt x="1151337" y="499177"/>
                    <a:pt x="1150695" y="485043"/>
                    <a:pt x="1151980" y="472193"/>
                  </a:cubicBezTo>
                  <a:cubicBezTo>
                    <a:pt x="1152622" y="465768"/>
                    <a:pt x="1154550" y="458058"/>
                    <a:pt x="1160332" y="454203"/>
                  </a:cubicBezTo>
                  <a:cubicBezTo>
                    <a:pt x="1166115" y="450348"/>
                    <a:pt x="1174467" y="451633"/>
                    <a:pt x="1181534" y="452276"/>
                  </a:cubicBezTo>
                  <a:cubicBezTo>
                    <a:pt x="1188602" y="453561"/>
                    <a:pt x="1196954" y="454203"/>
                    <a:pt x="1202736" y="449706"/>
                  </a:cubicBezTo>
                  <a:cubicBezTo>
                    <a:pt x="1207234" y="445851"/>
                    <a:pt x="1207876" y="440711"/>
                    <a:pt x="1209161" y="434929"/>
                  </a:cubicBezTo>
                  <a:cubicBezTo>
                    <a:pt x="1209804" y="432359"/>
                    <a:pt x="1209804" y="429789"/>
                    <a:pt x="1210446" y="426576"/>
                  </a:cubicBezTo>
                  <a:cubicBezTo>
                    <a:pt x="1210446" y="425291"/>
                    <a:pt x="1211089" y="424006"/>
                    <a:pt x="1211731" y="423364"/>
                  </a:cubicBezTo>
                  <a:cubicBezTo>
                    <a:pt x="1212374" y="422721"/>
                    <a:pt x="1213659" y="422079"/>
                    <a:pt x="1214943" y="422079"/>
                  </a:cubicBezTo>
                  <a:cubicBezTo>
                    <a:pt x="1226508" y="418867"/>
                    <a:pt x="1240001" y="420794"/>
                    <a:pt x="1250280" y="427219"/>
                  </a:cubicBezTo>
                  <a:cubicBezTo>
                    <a:pt x="1252850" y="428504"/>
                    <a:pt x="1254778" y="430431"/>
                    <a:pt x="1257348" y="431716"/>
                  </a:cubicBezTo>
                  <a:cubicBezTo>
                    <a:pt x="1259275" y="432359"/>
                    <a:pt x="1261845" y="433001"/>
                    <a:pt x="1263773" y="433644"/>
                  </a:cubicBezTo>
                  <a:cubicBezTo>
                    <a:pt x="1272125" y="434929"/>
                    <a:pt x="1281762" y="436856"/>
                    <a:pt x="1290757" y="436214"/>
                  </a:cubicBezTo>
                  <a:cubicBezTo>
                    <a:pt x="1299109" y="435571"/>
                    <a:pt x="1307462" y="433001"/>
                    <a:pt x="1315172" y="431074"/>
                  </a:cubicBezTo>
                  <a:cubicBezTo>
                    <a:pt x="1322881" y="429789"/>
                    <a:pt x="1353721" y="403447"/>
                    <a:pt x="1368498" y="380960"/>
                  </a:cubicBezTo>
                  <a:cubicBezTo>
                    <a:pt x="1372353" y="374535"/>
                    <a:pt x="1377493" y="366825"/>
                    <a:pt x="1382633" y="359758"/>
                  </a:cubicBezTo>
                  <a:cubicBezTo>
                    <a:pt x="1378135" y="358473"/>
                    <a:pt x="1373638" y="360400"/>
                    <a:pt x="1369783" y="360400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 57">
              <a:extLst>
                <a:ext uri="{FF2B5EF4-FFF2-40B4-BE49-F238E27FC236}">
                  <a16:creationId xmlns:a16="http://schemas.microsoft.com/office/drawing/2014/main" id="{D0647195-0BFC-5D10-DE2C-FF441ACE386D}"/>
                </a:ext>
              </a:extLst>
            </p:cNvPr>
            <p:cNvSpPr/>
            <p:nvPr/>
          </p:nvSpPr>
          <p:spPr>
            <a:xfrm>
              <a:off x="2008512" y="2708821"/>
              <a:ext cx="1382632" cy="1137167"/>
            </a:xfrm>
            <a:custGeom>
              <a:avLst/>
              <a:gdLst>
                <a:gd name="connsiteX0" fmla="*/ 646342 w 1382632"/>
                <a:gd name="connsiteY0" fmla="*/ 362970 h 1137167"/>
                <a:gd name="connsiteX1" fmla="*/ 642487 w 1382632"/>
                <a:gd name="connsiteY1" fmla="*/ 371965 h 1137167"/>
                <a:gd name="connsiteX2" fmla="*/ 632850 w 1382632"/>
                <a:gd name="connsiteY2" fmla="*/ 378390 h 1137167"/>
                <a:gd name="connsiteX3" fmla="*/ 622570 w 1382632"/>
                <a:gd name="connsiteY3" fmla="*/ 380960 h 1137167"/>
                <a:gd name="connsiteX4" fmla="*/ 582736 w 1382632"/>
                <a:gd name="connsiteY4" fmla="*/ 370680 h 1137167"/>
                <a:gd name="connsiteX5" fmla="*/ 557679 w 1382632"/>
                <a:gd name="connsiteY5" fmla="*/ 339198 h 1137167"/>
                <a:gd name="connsiteX6" fmla="*/ 552539 w 1382632"/>
                <a:gd name="connsiteY6" fmla="*/ 329561 h 1137167"/>
                <a:gd name="connsiteX7" fmla="*/ 540332 w 1382632"/>
                <a:gd name="connsiteY7" fmla="*/ 319923 h 1137167"/>
                <a:gd name="connsiteX8" fmla="*/ 524912 w 1382632"/>
                <a:gd name="connsiteY8" fmla="*/ 312214 h 1137167"/>
                <a:gd name="connsiteX9" fmla="*/ 511420 w 1382632"/>
                <a:gd name="connsiteY9" fmla="*/ 304504 h 1137167"/>
                <a:gd name="connsiteX10" fmla="*/ 504353 w 1382632"/>
                <a:gd name="connsiteY10" fmla="*/ 291654 h 1137167"/>
                <a:gd name="connsiteX11" fmla="*/ 506923 w 1382632"/>
                <a:gd name="connsiteY11" fmla="*/ 285872 h 1137167"/>
                <a:gd name="connsiteX12" fmla="*/ 517845 w 1382632"/>
                <a:gd name="connsiteY12" fmla="*/ 288442 h 1137167"/>
                <a:gd name="connsiteX13" fmla="*/ 614860 w 1382632"/>
                <a:gd name="connsiteY13" fmla="*/ 316711 h 1137167"/>
                <a:gd name="connsiteX14" fmla="*/ 633493 w 1382632"/>
                <a:gd name="connsiteY14" fmla="*/ 318638 h 1137167"/>
                <a:gd name="connsiteX15" fmla="*/ 648912 w 1382632"/>
                <a:gd name="connsiteY15" fmla="*/ 338556 h 1137167"/>
                <a:gd name="connsiteX16" fmla="*/ 646342 w 1382632"/>
                <a:gd name="connsiteY16" fmla="*/ 362970 h 1137167"/>
                <a:gd name="connsiteX17" fmla="*/ 1369783 w 1382632"/>
                <a:gd name="connsiteY17" fmla="*/ 360400 h 1137167"/>
                <a:gd name="connsiteX18" fmla="*/ 1352436 w 1382632"/>
                <a:gd name="connsiteY18" fmla="*/ 353975 h 1137167"/>
                <a:gd name="connsiteX19" fmla="*/ 1336374 w 1382632"/>
                <a:gd name="connsiteY19" fmla="*/ 347550 h 1137167"/>
                <a:gd name="connsiteX20" fmla="*/ 1303607 w 1382632"/>
                <a:gd name="connsiteY20" fmla="*/ 356545 h 1137167"/>
                <a:gd name="connsiteX21" fmla="*/ 1289472 w 1382632"/>
                <a:gd name="connsiteY21" fmla="*/ 343053 h 1137167"/>
                <a:gd name="connsiteX22" fmla="*/ 1283690 w 1382632"/>
                <a:gd name="connsiteY22" fmla="*/ 325063 h 1137167"/>
                <a:gd name="connsiteX23" fmla="*/ 1277265 w 1382632"/>
                <a:gd name="connsiteY23" fmla="*/ 323778 h 1137167"/>
                <a:gd name="connsiteX24" fmla="*/ 1261203 w 1382632"/>
                <a:gd name="connsiteY24" fmla="*/ 313499 h 1137167"/>
                <a:gd name="connsiteX25" fmla="*/ 1248353 w 1382632"/>
                <a:gd name="connsiteY25" fmla="*/ 296151 h 1137167"/>
                <a:gd name="connsiteX26" fmla="*/ 1229078 w 1382632"/>
                <a:gd name="connsiteY26" fmla="*/ 280732 h 1137167"/>
                <a:gd name="connsiteX27" fmla="*/ 1214301 w 1382632"/>
                <a:gd name="connsiteY27" fmla="*/ 262100 h 1137167"/>
                <a:gd name="connsiteX28" fmla="*/ 1180249 w 1382632"/>
                <a:gd name="connsiteY28" fmla="*/ 232545 h 1137167"/>
                <a:gd name="connsiteX29" fmla="*/ 1157762 w 1382632"/>
                <a:gd name="connsiteY29" fmla="*/ 244110 h 1137167"/>
                <a:gd name="connsiteX30" fmla="*/ 1137203 w 1382632"/>
                <a:gd name="connsiteY30" fmla="*/ 233188 h 1137167"/>
                <a:gd name="connsiteX31" fmla="*/ 1111503 w 1382632"/>
                <a:gd name="connsiteY31" fmla="*/ 222908 h 1137167"/>
                <a:gd name="connsiteX32" fmla="*/ 1107006 w 1382632"/>
                <a:gd name="connsiteY32" fmla="*/ 220338 h 1137167"/>
                <a:gd name="connsiteX33" fmla="*/ 1102508 w 1382632"/>
                <a:gd name="connsiteY33" fmla="*/ 222908 h 1137167"/>
                <a:gd name="connsiteX34" fmla="*/ 1082591 w 1382632"/>
                <a:gd name="connsiteY34" fmla="*/ 222908 h 1137167"/>
                <a:gd name="connsiteX35" fmla="*/ 1044684 w 1382632"/>
                <a:gd name="connsiteY35" fmla="*/ 214556 h 1137167"/>
                <a:gd name="connsiteX36" fmla="*/ 1016415 w 1382632"/>
                <a:gd name="connsiteY36" fmla="*/ 202348 h 1137167"/>
                <a:gd name="connsiteX37" fmla="*/ 1001638 w 1382632"/>
                <a:gd name="connsiteY37" fmla="*/ 204276 h 1137167"/>
                <a:gd name="connsiteX38" fmla="*/ 974011 w 1382632"/>
                <a:gd name="connsiteY38" fmla="*/ 202348 h 1137167"/>
                <a:gd name="connsiteX39" fmla="*/ 952166 w 1382632"/>
                <a:gd name="connsiteY39" fmla="*/ 201706 h 1137167"/>
                <a:gd name="connsiteX40" fmla="*/ 929679 w 1382632"/>
                <a:gd name="connsiteY40" fmla="*/ 204276 h 1137167"/>
                <a:gd name="connsiteX41" fmla="*/ 921969 w 1382632"/>
                <a:gd name="connsiteY41" fmla="*/ 207488 h 1137167"/>
                <a:gd name="connsiteX42" fmla="*/ 891130 w 1382632"/>
                <a:gd name="connsiteY42" fmla="*/ 203633 h 1137167"/>
                <a:gd name="connsiteX43" fmla="*/ 869285 w 1382632"/>
                <a:gd name="connsiteY43" fmla="*/ 181789 h 1137167"/>
                <a:gd name="connsiteX44" fmla="*/ 857078 w 1382632"/>
                <a:gd name="connsiteY44" fmla="*/ 161229 h 1137167"/>
                <a:gd name="connsiteX45" fmla="*/ 853866 w 1382632"/>
                <a:gd name="connsiteY45" fmla="*/ 152234 h 1137167"/>
                <a:gd name="connsiteX46" fmla="*/ 851938 w 1382632"/>
                <a:gd name="connsiteY46" fmla="*/ 152234 h 1137167"/>
                <a:gd name="connsiteX47" fmla="*/ 830736 w 1382632"/>
                <a:gd name="connsiteY47" fmla="*/ 149022 h 1137167"/>
                <a:gd name="connsiteX48" fmla="*/ 806322 w 1382632"/>
                <a:gd name="connsiteY48" fmla="*/ 133602 h 1137167"/>
                <a:gd name="connsiteX49" fmla="*/ 788974 w 1382632"/>
                <a:gd name="connsiteY49" fmla="*/ 107260 h 1137167"/>
                <a:gd name="connsiteX50" fmla="*/ 775482 w 1382632"/>
                <a:gd name="connsiteY50" fmla="*/ 90555 h 1137167"/>
                <a:gd name="connsiteX51" fmla="*/ 767772 w 1382632"/>
                <a:gd name="connsiteY51" fmla="*/ 78991 h 1137167"/>
                <a:gd name="connsiteX52" fmla="*/ 751710 w 1382632"/>
                <a:gd name="connsiteY52" fmla="*/ 51364 h 1137167"/>
                <a:gd name="connsiteX53" fmla="*/ 729223 w 1382632"/>
                <a:gd name="connsiteY53" fmla="*/ 23094 h 1137167"/>
                <a:gd name="connsiteX54" fmla="*/ 715088 w 1382632"/>
                <a:gd name="connsiteY54" fmla="*/ 17312 h 1137167"/>
                <a:gd name="connsiteX55" fmla="*/ 679109 w 1382632"/>
                <a:gd name="connsiteY55" fmla="*/ 17954 h 1137167"/>
                <a:gd name="connsiteX56" fmla="*/ 655980 w 1382632"/>
                <a:gd name="connsiteY56" fmla="*/ 28234 h 1137167"/>
                <a:gd name="connsiteX57" fmla="*/ 628995 w 1382632"/>
                <a:gd name="connsiteY57" fmla="*/ 28234 h 1137167"/>
                <a:gd name="connsiteX58" fmla="*/ 594301 w 1382632"/>
                <a:gd name="connsiteY58" fmla="*/ 28877 h 1137167"/>
                <a:gd name="connsiteX59" fmla="*/ 578239 w 1382632"/>
                <a:gd name="connsiteY59" fmla="*/ 22452 h 1137167"/>
                <a:gd name="connsiteX60" fmla="*/ 567316 w 1382632"/>
                <a:gd name="connsiteY60" fmla="*/ 5747 h 1137167"/>
                <a:gd name="connsiteX61" fmla="*/ 558964 w 1382632"/>
                <a:gd name="connsiteY61" fmla="*/ 607 h 1137167"/>
                <a:gd name="connsiteX62" fmla="*/ 539047 w 1382632"/>
                <a:gd name="connsiteY62" fmla="*/ 12172 h 1137167"/>
                <a:gd name="connsiteX63" fmla="*/ 526840 w 1382632"/>
                <a:gd name="connsiteY63" fmla="*/ 39157 h 1137167"/>
                <a:gd name="connsiteX64" fmla="*/ 514632 w 1382632"/>
                <a:gd name="connsiteY64" fmla="*/ 71923 h 1137167"/>
                <a:gd name="connsiteX65" fmla="*/ 506280 w 1382632"/>
                <a:gd name="connsiteY65" fmla="*/ 91840 h 1137167"/>
                <a:gd name="connsiteX66" fmla="*/ 504353 w 1382632"/>
                <a:gd name="connsiteY66" fmla="*/ 106618 h 1137167"/>
                <a:gd name="connsiteX67" fmla="*/ 513990 w 1382632"/>
                <a:gd name="connsiteY67" fmla="*/ 121395 h 1137167"/>
                <a:gd name="connsiteX68" fmla="*/ 524270 w 1382632"/>
                <a:gd name="connsiteY68" fmla="*/ 134887 h 1137167"/>
                <a:gd name="connsiteX69" fmla="*/ 529410 w 1382632"/>
                <a:gd name="connsiteY69" fmla="*/ 153519 h 1137167"/>
                <a:gd name="connsiteX70" fmla="*/ 522342 w 1382632"/>
                <a:gd name="connsiteY70" fmla="*/ 161229 h 1137167"/>
                <a:gd name="connsiteX71" fmla="*/ 518487 w 1382632"/>
                <a:gd name="connsiteY71" fmla="*/ 150949 h 1137167"/>
                <a:gd name="connsiteX72" fmla="*/ 517202 w 1382632"/>
                <a:gd name="connsiteY72" fmla="*/ 149664 h 1137167"/>
                <a:gd name="connsiteX73" fmla="*/ 496643 w 1382632"/>
                <a:gd name="connsiteY73" fmla="*/ 136815 h 1137167"/>
                <a:gd name="connsiteX74" fmla="*/ 472228 w 1382632"/>
                <a:gd name="connsiteY74" fmla="*/ 120752 h 1137167"/>
                <a:gd name="connsiteX75" fmla="*/ 451669 w 1382632"/>
                <a:gd name="connsiteY75" fmla="*/ 123965 h 1137167"/>
                <a:gd name="connsiteX76" fmla="*/ 437534 w 1382632"/>
                <a:gd name="connsiteY76" fmla="*/ 134245 h 1137167"/>
                <a:gd name="connsiteX77" fmla="*/ 437534 w 1382632"/>
                <a:gd name="connsiteY77" fmla="*/ 153519 h 1137167"/>
                <a:gd name="connsiteX78" fmla="*/ 439461 w 1382632"/>
                <a:gd name="connsiteY78" fmla="*/ 168939 h 1137167"/>
                <a:gd name="connsiteX79" fmla="*/ 449741 w 1382632"/>
                <a:gd name="connsiteY79" fmla="*/ 170224 h 1137167"/>
                <a:gd name="connsiteX80" fmla="*/ 459378 w 1382632"/>
                <a:gd name="connsiteY80" fmla="*/ 163157 h 1137167"/>
                <a:gd name="connsiteX81" fmla="*/ 465161 w 1382632"/>
                <a:gd name="connsiteY81" fmla="*/ 181789 h 1137167"/>
                <a:gd name="connsiteX82" fmla="*/ 463233 w 1382632"/>
                <a:gd name="connsiteY82" fmla="*/ 195923 h 1137167"/>
                <a:gd name="connsiteX83" fmla="*/ 453596 w 1382632"/>
                <a:gd name="connsiteY83" fmla="*/ 206846 h 1137167"/>
                <a:gd name="connsiteX84" fmla="*/ 440746 w 1382632"/>
                <a:gd name="connsiteY84" fmla="*/ 215198 h 1137167"/>
                <a:gd name="connsiteX85" fmla="*/ 428539 w 1382632"/>
                <a:gd name="connsiteY85" fmla="*/ 215198 h 1137167"/>
                <a:gd name="connsiteX86" fmla="*/ 407337 w 1382632"/>
                <a:gd name="connsiteY86" fmla="*/ 202991 h 1137167"/>
                <a:gd name="connsiteX87" fmla="*/ 395130 w 1382632"/>
                <a:gd name="connsiteY87" fmla="*/ 182431 h 1137167"/>
                <a:gd name="connsiteX88" fmla="*/ 398342 w 1382632"/>
                <a:gd name="connsiteY88" fmla="*/ 171509 h 1137167"/>
                <a:gd name="connsiteX89" fmla="*/ 417617 w 1382632"/>
                <a:gd name="connsiteY89" fmla="*/ 165726 h 1137167"/>
                <a:gd name="connsiteX90" fmla="*/ 422114 w 1382632"/>
                <a:gd name="connsiteY90" fmla="*/ 145167 h 1137167"/>
                <a:gd name="connsiteX91" fmla="*/ 407979 w 1382632"/>
                <a:gd name="connsiteY91" fmla="*/ 132317 h 1137167"/>
                <a:gd name="connsiteX92" fmla="*/ 390632 w 1382632"/>
                <a:gd name="connsiteY92" fmla="*/ 109188 h 1137167"/>
                <a:gd name="connsiteX93" fmla="*/ 386135 w 1382632"/>
                <a:gd name="connsiteY93" fmla="*/ 86701 h 1137167"/>
                <a:gd name="connsiteX94" fmla="*/ 363648 w 1382632"/>
                <a:gd name="connsiteY94" fmla="*/ 78991 h 1137167"/>
                <a:gd name="connsiteX95" fmla="*/ 316746 w 1382632"/>
                <a:gd name="connsiteY95" fmla="*/ 78991 h 1137167"/>
                <a:gd name="connsiteX96" fmla="*/ 266632 w 1382632"/>
                <a:gd name="connsiteY96" fmla="*/ 89913 h 1137167"/>
                <a:gd name="connsiteX97" fmla="*/ 249285 w 1382632"/>
                <a:gd name="connsiteY97" fmla="*/ 96980 h 1137167"/>
                <a:gd name="connsiteX98" fmla="*/ 235793 w 1382632"/>
                <a:gd name="connsiteY98" fmla="*/ 87986 h 1137167"/>
                <a:gd name="connsiteX99" fmla="*/ 199814 w 1382632"/>
                <a:gd name="connsiteY99" fmla="*/ 86058 h 1137167"/>
                <a:gd name="connsiteX100" fmla="*/ 172829 w 1382632"/>
                <a:gd name="connsiteY100" fmla="*/ 91840 h 1137167"/>
                <a:gd name="connsiteX101" fmla="*/ 144560 w 1382632"/>
                <a:gd name="connsiteY101" fmla="*/ 114328 h 1137167"/>
                <a:gd name="connsiteX102" fmla="*/ 121430 w 1382632"/>
                <a:gd name="connsiteY102" fmla="*/ 140670 h 1137167"/>
                <a:gd name="connsiteX103" fmla="*/ 109865 w 1382632"/>
                <a:gd name="connsiteY103" fmla="*/ 157374 h 1137167"/>
                <a:gd name="connsiteX104" fmla="*/ 106653 w 1382632"/>
                <a:gd name="connsiteY104" fmla="*/ 184359 h 1137167"/>
                <a:gd name="connsiteX105" fmla="*/ 102156 w 1382632"/>
                <a:gd name="connsiteY105" fmla="*/ 204918 h 1137167"/>
                <a:gd name="connsiteX106" fmla="*/ 102798 w 1382632"/>
                <a:gd name="connsiteY106" fmla="*/ 221623 h 1137167"/>
                <a:gd name="connsiteX107" fmla="*/ 107938 w 1382632"/>
                <a:gd name="connsiteY107" fmla="*/ 228048 h 1137167"/>
                <a:gd name="connsiteX108" fmla="*/ 106653 w 1382632"/>
                <a:gd name="connsiteY108" fmla="*/ 240255 h 1137167"/>
                <a:gd name="connsiteX109" fmla="*/ 113720 w 1382632"/>
                <a:gd name="connsiteY109" fmla="*/ 242183 h 1137167"/>
                <a:gd name="connsiteX110" fmla="*/ 153555 w 1382632"/>
                <a:gd name="connsiteY110" fmla="*/ 241540 h 1137167"/>
                <a:gd name="connsiteX111" fmla="*/ 171544 w 1382632"/>
                <a:gd name="connsiteY111" fmla="*/ 242183 h 1137167"/>
                <a:gd name="connsiteX112" fmla="*/ 186321 w 1382632"/>
                <a:gd name="connsiteY112" fmla="*/ 251177 h 1137167"/>
                <a:gd name="connsiteX113" fmla="*/ 170902 w 1382632"/>
                <a:gd name="connsiteY113" fmla="*/ 250535 h 1137167"/>
                <a:gd name="connsiteX114" fmla="*/ 165119 w 1382632"/>
                <a:gd name="connsiteY114" fmla="*/ 255032 h 1137167"/>
                <a:gd name="connsiteX115" fmla="*/ 156767 w 1382632"/>
                <a:gd name="connsiteY115" fmla="*/ 265955 h 1137167"/>
                <a:gd name="connsiteX116" fmla="*/ 154197 w 1382632"/>
                <a:gd name="connsiteY116" fmla="*/ 296151 h 1137167"/>
                <a:gd name="connsiteX117" fmla="*/ 155482 w 1382632"/>
                <a:gd name="connsiteY117" fmla="*/ 369395 h 1137167"/>
                <a:gd name="connsiteX118" fmla="*/ 153555 w 1382632"/>
                <a:gd name="connsiteY118" fmla="*/ 393167 h 1137167"/>
                <a:gd name="connsiteX119" fmla="*/ 122715 w 1382632"/>
                <a:gd name="connsiteY119" fmla="*/ 441354 h 1137167"/>
                <a:gd name="connsiteX120" fmla="*/ 113720 w 1382632"/>
                <a:gd name="connsiteY120" fmla="*/ 459343 h 1137167"/>
                <a:gd name="connsiteX121" fmla="*/ 107938 w 1382632"/>
                <a:gd name="connsiteY121" fmla="*/ 494038 h 1137167"/>
                <a:gd name="connsiteX122" fmla="*/ 105368 w 1382632"/>
                <a:gd name="connsiteY122" fmla="*/ 532587 h 1137167"/>
                <a:gd name="connsiteX123" fmla="*/ 100228 w 1382632"/>
                <a:gd name="connsiteY123" fmla="*/ 542867 h 1137167"/>
                <a:gd name="connsiteX124" fmla="*/ 82881 w 1382632"/>
                <a:gd name="connsiteY124" fmla="*/ 540297 h 1137167"/>
                <a:gd name="connsiteX125" fmla="*/ 57181 w 1382632"/>
                <a:gd name="connsiteY125" fmla="*/ 537084 h 1137167"/>
                <a:gd name="connsiteX126" fmla="*/ 35979 w 1382632"/>
                <a:gd name="connsiteY126" fmla="*/ 529374 h 1137167"/>
                <a:gd name="connsiteX127" fmla="*/ 17347 w 1382632"/>
                <a:gd name="connsiteY127" fmla="*/ 532587 h 1137167"/>
                <a:gd name="connsiteX128" fmla="*/ 8995 w 1382632"/>
                <a:gd name="connsiteY128" fmla="*/ 544794 h 1137167"/>
                <a:gd name="connsiteX129" fmla="*/ 12850 w 1382632"/>
                <a:gd name="connsiteY129" fmla="*/ 558929 h 1137167"/>
                <a:gd name="connsiteX130" fmla="*/ 17990 w 1382632"/>
                <a:gd name="connsiteY130" fmla="*/ 573064 h 1137167"/>
                <a:gd name="connsiteX131" fmla="*/ 5140 w 1382632"/>
                <a:gd name="connsiteY131" fmla="*/ 571778 h 1137167"/>
                <a:gd name="connsiteX132" fmla="*/ 0 w 1382632"/>
                <a:gd name="connsiteY132" fmla="*/ 585271 h 1137167"/>
                <a:gd name="connsiteX133" fmla="*/ 1285 w 1382632"/>
                <a:gd name="connsiteY133" fmla="*/ 601975 h 1137167"/>
                <a:gd name="connsiteX134" fmla="*/ 13492 w 1382632"/>
                <a:gd name="connsiteY134" fmla="*/ 616753 h 1137167"/>
                <a:gd name="connsiteX135" fmla="*/ 37264 w 1382632"/>
                <a:gd name="connsiteY135" fmla="*/ 625747 h 1137167"/>
                <a:gd name="connsiteX136" fmla="*/ 57181 w 1382632"/>
                <a:gd name="connsiteY136" fmla="*/ 632815 h 1137167"/>
                <a:gd name="connsiteX137" fmla="*/ 71316 w 1382632"/>
                <a:gd name="connsiteY137" fmla="*/ 635385 h 1137167"/>
                <a:gd name="connsiteX138" fmla="*/ 80311 w 1382632"/>
                <a:gd name="connsiteY138" fmla="*/ 625747 h 1137167"/>
                <a:gd name="connsiteX139" fmla="*/ 87378 w 1382632"/>
                <a:gd name="connsiteY139" fmla="*/ 628317 h 1137167"/>
                <a:gd name="connsiteX140" fmla="*/ 97658 w 1382632"/>
                <a:gd name="connsiteY140" fmla="*/ 644380 h 1137167"/>
                <a:gd name="connsiteX141" fmla="*/ 107938 w 1382632"/>
                <a:gd name="connsiteY141" fmla="*/ 662369 h 1137167"/>
                <a:gd name="connsiteX142" fmla="*/ 96373 w 1382632"/>
                <a:gd name="connsiteY142" fmla="*/ 681644 h 1137167"/>
                <a:gd name="connsiteX143" fmla="*/ 95731 w 1382632"/>
                <a:gd name="connsiteY143" fmla="*/ 682286 h 1137167"/>
                <a:gd name="connsiteX144" fmla="*/ 95088 w 1382632"/>
                <a:gd name="connsiteY144" fmla="*/ 682929 h 1137167"/>
                <a:gd name="connsiteX145" fmla="*/ 94446 w 1382632"/>
                <a:gd name="connsiteY145" fmla="*/ 683571 h 1137167"/>
                <a:gd name="connsiteX146" fmla="*/ 85451 w 1382632"/>
                <a:gd name="connsiteY146" fmla="*/ 698991 h 1137167"/>
                <a:gd name="connsiteX147" fmla="*/ 95731 w 1382632"/>
                <a:gd name="connsiteY147" fmla="*/ 711198 h 1137167"/>
                <a:gd name="connsiteX148" fmla="*/ 98301 w 1382632"/>
                <a:gd name="connsiteY148" fmla="*/ 715053 h 1137167"/>
                <a:gd name="connsiteX149" fmla="*/ 100228 w 1382632"/>
                <a:gd name="connsiteY149" fmla="*/ 714411 h 1137167"/>
                <a:gd name="connsiteX150" fmla="*/ 115648 w 1382632"/>
                <a:gd name="connsiteY150" fmla="*/ 707343 h 1137167"/>
                <a:gd name="connsiteX151" fmla="*/ 130425 w 1382632"/>
                <a:gd name="connsiteY151" fmla="*/ 705416 h 1137167"/>
                <a:gd name="connsiteX152" fmla="*/ 172187 w 1382632"/>
                <a:gd name="connsiteY152" fmla="*/ 704773 h 1137167"/>
                <a:gd name="connsiteX153" fmla="*/ 207523 w 1382632"/>
                <a:gd name="connsiteY153" fmla="*/ 681644 h 1137167"/>
                <a:gd name="connsiteX154" fmla="*/ 260850 w 1382632"/>
                <a:gd name="connsiteY154" fmla="*/ 638597 h 1137167"/>
                <a:gd name="connsiteX155" fmla="*/ 278197 w 1382632"/>
                <a:gd name="connsiteY155" fmla="*/ 634100 h 1137167"/>
                <a:gd name="connsiteX156" fmla="*/ 303897 w 1382632"/>
                <a:gd name="connsiteY156" fmla="*/ 660442 h 1137167"/>
                <a:gd name="connsiteX157" fmla="*/ 353368 w 1382632"/>
                <a:gd name="connsiteY157" fmla="*/ 668794 h 1137167"/>
                <a:gd name="connsiteX158" fmla="*/ 358508 w 1382632"/>
                <a:gd name="connsiteY158" fmla="*/ 676504 h 1137167"/>
                <a:gd name="connsiteX159" fmla="*/ 359150 w 1382632"/>
                <a:gd name="connsiteY159" fmla="*/ 707343 h 1137167"/>
                <a:gd name="connsiteX160" fmla="*/ 344373 w 1382632"/>
                <a:gd name="connsiteY160" fmla="*/ 753602 h 1137167"/>
                <a:gd name="connsiteX161" fmla="*/ 336021 w 1382632"/>
                <a:gd name="connsiteY161" fmla="*/ 783799 h 1137167"/>
                <a:gd name="connsiteX162" fmla="*/ 379068 w 1382632"/>
                <a:gd name="connsiteY162" fmla="*/ 812069 h 1137167"/>
                <a:gd name="connsiteX163" fmla="*/ 429182 w 1382632"/>
                <a:gd name="connsiteY163" fmla="*/ 785084 h 1137167"/>
                <a:gd name="connsiteX164" fmla="*/ 444601 w 1382632"/>
                <a:gd name="connsiteY164" fmla="*/ 772877 h 1137167"/>
                <a:gd name="connsiteX165" fmla="*/ 465803 w 1382632"/>
                <a:gd name="connsiteY165" fmla="*/ 772235 h 1137167"/>
                <a:gd name="connsiteX166" fmla="*/ 491503 w 1382632"/>
                <a:gd name="connsiteY166" fmla="*/ 774162 h 1137167"/>
                <a:gd name="connsiteX167" fmla="*/ 501140 w 1382632"/>
                <a:gd name="connsiteY167" fmla="*/ 758742 h 1137167"/>
                <a:gd name="connsiteX168" fmla="*/ 510135 w 1382632"/>
                <a:gd name="connsiteY168" fmla="*/ 749748 h 1137167"/>
                <a:gd name="connsiteX169" fmla="*/ 508208 w 1382632"/>
                <a:gd name="connsiteY169" fmla="*/ 738825 h 1137167"/>
                <a:gd name="connsiteX170" fmla="*/ 500498 w 1382632"/>
                <a:gd name="connsiteY170" fmla="*/ 729188 h 1137167"/>
                <a:gd name="connsiteX171" fmla="*/ 493430 w 1382632"/>
                <a:gd name="connsiteY171" fmla="*/ 709271 h 1137167"/>
                <a:gd name="connsiteX172" fmla="*/ 490860 w 1382632"/>
                <a:gd name="connsiteY172" fmla="*/ 679716 h 1137167"/>
                <a:gd name="connsiteX173" fmla="*/ 487648 w 1382632"/>
                <a:gd name="connsiteY173" fmla="*/ 663012 h 1137167"/>
                <a:gd name="connsiteX174" fmla="*/ 479296 w 1382632"/>
                <a:gd name="connsiteY174" fmla="*/ 661084 h 1137167"/>
                <a:gd name="connsiteX175" fmla="*/ 472228 w 1382632"/>
                <a:gd name="connsiteY175" fmla="*/ 646950 h 1137167"/>
                <a:gd name="connsiteX176" fmla="*/ 481865 w 1382632"/>
                <a:gd name="connsiteY176" fmla="*/ 632815 h 1137167"/>
                <a:gd name="connsiteX177" fmla="*/ 545472 w 1382632"/>
                <a:gd name="connsiteY177" fmla="*/ 605830 h 1137167"/>
                <a:gd name="connsiteX178" fmla="*/ 566674 w 1382632"/>
                <a:gd name="connsiteY178" fmla="*/ 609043 h 1137167"/>
                <a:gd name="connsiteX179" fmla="*/ 568601 w 1382632"/>
                <a:gd name="connsiteY179" fmla="*/ 618680 h 1137167"/>
                <a:gd name="connsiteX180" fmla="*/ 567959 w 1382632"/>
                <a:gd name="connsiteY180" fmla="*/ 635385 h 1137167"/>
                <a:gd name="connsiteX181" fmla="*/ 569886 w 1382632"/>
                <a:gd name="connsiteY181" fmla="*/ 648235 h 1137167"/>
                <a:gd name="connsiteX182" fmla="*/ 594301 w 1382632"/>
                <a:gd name="connsiteY182" fmla="*/ 656587 h 1137167"/>
                <a:gd name="connsiteX183" fmla="*/ 623855 w 1382632"/>
                <a:gd name="connsiteY183" fmla="*/ 652732 h 1137167"/>
                <a:gd name="connsiteX184" fmla="*/ 646985 w 1382632"/>
                <a:gd name="connsiteY184" fmla="*/ 636027 h 1137167"/>
                <a:gd name="connsiteX185" fmla="*/ 663047 w 1382632"/>
                <a:gd name="connsiteY185" fmla="*/ 610328 h 1137167"/>
                <a:gd name="connsiteX186" fmla="*/ 674612 w 1382632"/>
                <a:gd name="connsiteY186" fmla="*/ 607758 h 1137167"/>
                <a:gd name="connsiteX187" fmla="*/ 689389 w 1382632"/>
                <a:gd name="connsiteY187" fmla="*/ 611613 h 1137167"/>
                <a:gd name="connsiteX188" fmla="*/ 690674 w 1382632"/>
                <a:gd name="connsiteY188" fmla="*/ 618038 h 1137167"/>
                <a:gd name="connsiteX189" fmla="*/ 683607 w 1382632"/>
                <a:gd name="connsiteY189" fmla="*/ 657872 h 1137167"/>
                <a:gd name="connsiteX190" fmla="*/ 672684 w 1382632"/>
                <a:gd name="connsiteY190" fmla="*/ 678431 h 1137167"/>
                <a:gd name="connsiteX191" fmla="*/ 658550 w 1382632"/>
                <a:gd name="connsiteY191" fmla="*/ 681644 h 1137167"/>
                <a:gd name="connsiteX192" fmla="*/ 652767 w 1382632"/>
                <a:gd name="connsiteY192" fmla="*/ 682929 h 1137167"/>
                <a:gd name="connsiteX193" fmla="*/ 649555 w 1382632"/>
                <a:gd name="connsiteY193" fmla="*/ 689996 h 1137167"/>
                <a:gd name="connsiteX194" fmla="*/ 647627 w 1382632"/>
                <a:gd name="connsiteY194" fmla="*/ 720193 h 1137167"/>
                <a:gd name="connsiteX195" fmla="*/ 670757 w 1382632"/>
                <a:gd name="connsiteY195" fmla="*/ 760670 h 1137167"/>
                <a:gd name="connsiteX196" fmla="*/ 676539 w 1382632"/>
                <a:gd name="connsiteY196" fmla="*/ 765167 h 1137167"/>
                <a:gd name="connsiteX197" fmla="*/ 684249 w 1382632"/>
                <a:gd name="connsiteY197" fmla="*/ 765810 h 1137167"/>
                <a:gd name="connsiteX198" fmla="*/ 696456 w 1382632"/>
                <a:gd name="connsiteY198" fmla="*/ 775447 h 1137167"/>
                <a:gd name="connsiteX199" fmla="*/ 702881 w 1382632"/>
                <a:gd name="connsiteY199" fmla="*/ 789582 h 1137167"/>
                <a:gd name="connsiteX200" fmla="*/ 729866 w 1382632"/>
                <a:gd name="connsiteY200" fmla="*/ 828131 h 1137167"/>
                <a:gd name="connsiteX201" fmla="*/ 745928 w 1382632"/>
                <a:gd name="connsiteY201" fmla="*/ 872463 h 1137167"/>
                <a:gd name="connsiteX202" fmla="*/ 748498 w 1382632"/>
                <a:gd name="connsiteY202" fmla="*/ 885312 h 1137167"/>
                <a:gd name="connsiteX203" fmla="*/ 758778 w 1382632"/>
                <a:gd name="connsiteY203" fmla="*/ 892380 h 1137167"/>
                <a:gd name="connsiteX204" fmla="*/ 772912 w 1382632"/>
                <a:gd name="connsiteY204" fmla="*/ 884027 h 1137167"/>
                <a:gd name="connsiteX205" fmla="*/ 778052 w 1382632"/>
                <a:gd name="connsiteY205" fmla="*/ 882100 h 1137167"/>
                <a:gd name="connsiteX206" fmla="*/ 785119 w 1382632"/>
                <a:gd name="connsiteY206" fmla="*/ 888525 h 1137167"/>
                <a:gd name="connsiteX207" fmla="*/ 783835 w 1382632"/>
                <a:gd name="connsiteY207" fmla="*/ 928359 h 1137167"/>
                <a:gd name="connsiteX208" fmla="*/ 774197 w 1382632"/>
                <a:gd name="connsiteY208" fmla="*/ 936711 h 1137167"/>
                <a:gd name="connsiteX209" fmla="*/ 760063 w 1382632"/>
                <a:gd name="connsiteY209" fmla="*/ 968836 h 1137167"/>
                <a:gd name="connsiteX210" fmla="*/ 763917 w 1382632"/>
                <a:gd name="connsiteY210" fmla="*/ 985540 h 1137167"/>
                <a:gd name="connsiteX211" fmla="*/ 779337 w 1382632"/>
                <a:gd name="connsiteY211" fmla="*/ 982970 h 1137167"/>
                <a:gd name="connsiteX212" fmla="*/ 782550 w 1382632"/>
                <a:gd name="connsiteY212" fmla="*/ 980400 h 1137167"/>
                <a:gd name="connsiteX213" fmla="*/ 787047 w 1382632"/>
                <a:gd name="connsiteY213" fmla="*/ 981685 h 1137167"/>
                <a:gd name="connsiteX214" fmla="*/ 789617 w 1382632"/>
                <a:gd name="connsiteY214" fmla="*/ 983613 h 1137167"/>
                <a:gd name="connsiteX215" fmla="*/ 823026 w 1382632"/>
                <a:gd name="connsiteY215" fmla="*/ 989395 h 1137167"/>
                <a:gd name="connsiteX216" fmla="*/ 843586 w 1382632"/>
                <a:gd name="connsiteY216" fmla="*/ 995820 h 1137167"/>
                <a:gd name="connsiteX217" fmla="*/ 855151 w 1382632"/>
                <a:gd name="connsiteY217" fmla="*/ 1008027 h 1137167"/>
                <a:gd name="connsiteX218" fmla="*/ 848083 w 1382632"/>
                <a:gd name="connsiteY218" fmla="*/ 1021520 h 1137167"/>
                <a:gd name="connsiteX219" fmla="*/ 833306 w 1382632"/>
                <a:gd name="connsiteY219" fmla="*/ 1022805 h 1137167"/>
                <a:gd name="connsiteX220" fmla="*/ 830736 w 1382632"/>
                <a:gd name="connsiteY220" fmla="*/ 1027302 h 1137167"/>
                <a:gd name="connsiteX221" fmla="*/ 841658 w 1382632"/>
                <a:gd name="connsiteY221" fmla="*/ 1063924 h 1137167"/>
                <a:gd name="connsiteX222" fmla="*/ 848083 w 1382632"/>
                <a:gd name="connsiteY222" fmla="*/ 1079986 h 1137167"/>
                <a:gd name="connsiteX223" fmla="*/ 832021 w 1382632"/>
                <a:gd name="connsiteY223" fmla="*/ 1090908 h 1137167"/>
                <a:gd name="connsiteX224" fmla="*/ 811462 w 1382632"/>
                <a:gd name="connsiteY224" fmla="*/ 1094121 h 1137167"/>
                <a:gd name="connsiteX225" fmla="*/ 826881 w 1382632"/>
                <a:gd name="connsiteY225" fmla="*/ 1119820 h 1137167"/>
                <a:gd name="connsiteX226" fmla="*/ 851296 w 1382632"/>
                <a:gd name="connsiteY226" fmla="*/ 1133312 h 1137167"/>
                <a:gd name="connsiteX227" fmla="*/ 864145 w 1382632"/>
                <a:gd name="connsiteY227" fmla="*/ 1137167 h 1137167"/>
                <a:gd name="connsiteX228" fmla="*/ 885348 w 1382632"/>
                <a:gd name="connsiteY228" fmla="*/ 1126887 h 1137167"/>
                <a:gd name="connsiteX229" fmla="*/ 889203 w 1382632"/>
                <a:gd name="connsiteY229" fmla="*/ 1122390 h 1137167"/>
                <a:gd name="connsiteX230" fmla="*/ 879565 w 1382632"/>
                <a:gd name="connsiteY230" fmla="*/ 1114680 h 1137167"/>
                <a:gd name="connsiteX231" fmla="*/ 866715 w 1382632"/>
                <a:gd name="connsiteY231" fmla="*/ 1109540 h 1137167"/>
                <a:gd name="connsiteX232" fmla="*/ 873140 w 1382632"/>
                <a:gd name="connsiteY232" fmla="*/ 1097333 h 1137167"/>
                <a:gd name="connsiteX233" fmla="*/ 921327 w 1382632"/>
                <a:gd name="connsiteY233" fmla="*/ 1094763 h 1137167"/>
                <a:gd name="connsiteX234" fmla="*/ 925824 w 1382632"/>
                <a:gd name="connsiteY234" fmla="*/ 1097333 h 1137167"/>
                <a:gd name="connsiteX235" fmla="*/ 956664 w 1382632"/>
                <a:gd name="connsiteY235" fmla="*/ 1082556 h 1137167"/>
                <a:gd name="connsiteX236" fmla="*/ 980436 w 1382632"/>
                <a:gd name="connsiteY236" fmla="*/ 1076774 h 1137167"/>
                <a:gd name="connsiteX237" fmla="*/ 985576 w 1382632"/>
                <a:gd name="connsiteY237" fmla="*/ 1068421 h 1137167"/>
                <a:gd name="connsiteX238" fmla="*/ 1005493 w 1382632"/>
                <a:gd name="connsiteY238" fmla="*/ 1060711 h 1137167"/>
                <a:gd name="connsiteX239" fmla="*/ 1033120 w 1382632"/>
                <a:gd name="connsiteY239" fmla="*/ 1040794 h 1137167"/>
                <a:gd name="connsiteX240" fmla="*/ 1090944 w 1382632"/>
                <a:gd name="connsiteY240" fmla="*/ 1015095 h 1137167"/>
                <a:gd name="connsiteX241" fmla="*/ 1119213 w 1382632"/>
                <a:gd name="connsiteY241" fmla="*/ 1000318 h 1137167"/>
                <a:gd name="connsiteX242" fmla="*/ 1139773 w 1382632"/>
                <a:gd name="connsiteY242" fmla="*/ 981043 h 1137167"/>
                <a:gd name="connsiteX243" fmla="*/ 1139773 w 1382632"/>
                <a:gd name="connsiteY243" fmla="*/ 973333 h 1137167"/>
                <a:gd name="connsiteX244" fmla="*/ 1123710 w 1382632"/>
                <a:gd name="connsiteY244" fmla="*/ 939281 h 1137167"/>
                <a:gd name="connsiteX245" fmla="*/ 1117928 w 1382632"/>
                <a:gd name="connsiteY245" fmla="*/ 911012 h 1137167"/>
                <a:gd name="connsiteX246" fmla="*/ 1116643 w 1382632"/>
                <a:gd name="connsiteY246" fmla="*/ 908442 h 1137167"/>
                <a:gd name="connsiteX247" fmla="*/ 1112146 w 1382632"/>
                <a:gd name="connsiteY247" fmla="*/ 896877 h 1137167"/>
                <a:gd name="connsiteX248" fmla="*/ 1125638 w 1382632"/>
                <a:gd name="connsiteY248" fmla="*/ 882100 h 1137167"/>
                <a:gd name="connsiteX249" fmla="*/ 1129493 w 1382632"/>
                <a:gd name="connsiteY249" fmla="*/ 878887 h 1137167"/>
                <a:gd name="connsiteX250" fmla="*/ 1130135 w 1382632"/>
                <a:gd name="connsiteY250" fmla="*/ 875033 h 1137167"/>
                <a:gd name="connsiteX251" fmla="*/ 1122425 w 1382632"/>
                <a:gd name="connsiteY251" fmla="*/ 851903 h 1137167"/>
                <a:gd name="connsiteX252" fmla="*/ 1107006 w 1382632"/>
                <a:gd name="connsiteY252" fmla="*/ 831986 h 1137167"/>
                <a:gd name="connsiteX253" fmla="*/ 1102508 w 1382632"/>
                <a:gd name="connsiteY253" fmla="*/ 822349 h 1137167"/>
                <a:gd name="connsiteX254" fmla="*/ 1115358 w 1382632"/>
                <a:gd name="connsiteY254" fmla="*/ 810141 h 1137167"/>
                <a:gd name="connsiteX255" fmla="*/ 1149410 w 1382632"/>
                <a:gd name="connsiteY255" fmla="*/ 798577 h 1137167"/>
                <a:gd name="connsiteX256" fmla="*/ 1171254 w 1382632"/>
                <a:gd name="connsiteY256" fmla="*/ 799861 h 1137167"/>
                <a:gd name="connsiteX257" fmla="*/ 1204664 w 1382632"/>
                <a:gd name="connsiteY257" fmla="*/ 803716 h 1137167"/>
                <a:gd name="connsiteX258" fmla="*/ 1212374 w 1382632"/>
                <a:gd name="connsiteY258" fmla="*/ 803074 h 1137167"/>
                <a:gd name="connsiteX259" fmla="*/ 1216229 w 1382632"/>
                <a:gd name="connsiteY259" fmla="*/ 798577 h 1137167"/>
                <a:gd name="connsiteX260" fmla="*/ 1238716 w 1382632"/>
                <a:gd name="connsiteY260" fmla="*/ 755530 h 1137167"/>
                <a:gd name="connsiteX261" fmla="*/ 1240001 w 1382632"/>
                <a:gd name="connsiteY261" fmla="*/ 751675 h 1137167"/>
                <a:gd name="connsiteX262" fmla="*/ 1231006 w 1382632"/>
                <a:gd name="connsiteY262" fmla="*/ 743323 h 1137167"/>
                <a:gd name="connsiteX263" fmla="*/ 1233576 w 1382632"/>
                <a:gd name="connsiteY263" fmla="*/ 696421 h 1137167"/>
                <a:gd name="connsiteX264" fmla="*/ 1228436 w 1382632"/>
                <a:gd name="connsiteY264" fmla="*/ 673291 h 1137167"/>
                <a:gd name="connsiteX265" fmla="*/ 1207876 w 1382632"/>
                <a:gd name="connsiteY265" fmla="*/ 595551 h 1137167"/>
                <a:gd name="connsiteX266" fmla="*/ 1180892 w 1382632"/>
                <a:gd name="connsiteY266" fmla="*/ 529374 h 1137167"/>
                <a:gd name="connsiteX267" fmla="*/ 1159047 w 1382632"/>
                <a:gd name="connsiteY267" fmla="*/ 509457 h 1137167"/>
                <a:gd name="connsiteX268" fmla="*/ 1151980 w 1382632"/>
                <a:gd name="connsiteY268" fmla="*/ 472193 h 1137167"/>
                <a:gd name="connsiteX269" fmla="*/ 1160332 w 1382632"/>
                <a:gd name="connsiteY269" fmla="*/ 454203 h 1137167"/>
                <a:gd name="connsiteX270" fmla="*/ 1181534 w 1382632"/>
                <a:gd name="connsiteY270" fmla="*/ 452276 h 1137167"/>
                <a:gd name="connsiteX271" fmla="*/ 1202736 w 1382632"/>
                <a:gd name="connsiteY271" fmla="*/ 449706 h 1137167"/>
                <a:gd name="connsiteX272" fmla="*/ 1209161 w 1382632"/>
                <a:gd name="connsiteY272" fmla="*/ 434929 h 1137167"/>
                <a:gd name="connsiteX273" fmla="*/ 1210446 w 1382632"/>
                <a:gd name="connsiteY273" fmla="*/ 426576 h 1137167"/>
                <a:gd name="connsiteX274" fmla="*/ 1211731 w 1382632"/>
                <a:gd name="connsiteY274" fmla="*/ 423364 h 1137167"/>
                <a:gd name="connsiteX275" fmla="*/ 1214943 w 1382632"/>
                <a:gd name="connsiteY275" fmla="*/ 422079 h 1137167"/>
                <a:gd name="connsiteX276" fmla="*/ 1250280 w 1382632"/>
                <a:gd name="connsiteY276" fmla="*/ 427219 h 1137167"/>
                <a:gd name="connsiteX277" fmla="*/ 1257348 w 1382632"/>
                <a:gd name="connsiteY277" fmla="*/ 431716 h 1137167"/>
                <a:gd name="connsiteX278" fmla="*/ 1263773 w 1382632"/>
                <a:gd name="connsiteY278" fmla="*/ 433644 h 1137167"/>
                <a:gd name="connsiteX279" fmla="*/ 1290757 w 1382632"/>
                <a:gd name="connsiteY279" fmla="*/ 436214 h 1137167"/>
                <a:gd name="connsiteX280" fmla="*/ 1315172 w 1382632"/>
                <a:gd name="connsiteY280" fmla="*/ 431074 h 1137167"/>
                <a:gd name="connsiteX281" fmla="*/ 1368498 w 1382632"/>
                <a:gd name="connsiteY281" fmla="*/ 380960 h 1137167"/>
                <a:gd name="connsiteX282" fmla="*/ 1382633 w 1382632"/>
                <a:gd name="connsiteY282" fmla="*/ 359758 h 1137167"/>
                <a:gd name="connsiteX283" fmla="*/ 1369783 w 1382632"/>
                <a:gd name="connsiteY283" fmla="*/ 360400 h 113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</a:cxnLst>
              <a:rect l="l" t="t" r="r" b="b"/>
              <a:pathLst>
                <a:path w="1382632" h="1137167">
                  <a:moveTo>
                    <a:pt x="646342" y="362970"/>
                  </a:moveTo>
                  <a:cubicBezTo>
                    <a:pt x="645700" y="366183"/>
                    <a:pt x="644415" y="369395"/>
                    <a:pt x="642487" y="371965"/>
                  </a:cubicBezTo>
                  <a:cubicBezTo>
                    <a:pt x="639917" y="375177"/>
                    <a:pt x="636062" y="377105"/>
                    <a:pt x="632850" y="378390"/>
                  </a:cubicBezTo>
                  <a:cubicBezTo>
                    <a:pt x="629638" y="379675"/>
                    <a:pt x="625783" y="380960"/>
                    <a:pt x="622570" y="380960"/>
                  </a:cubicBezTo>
                  <a:cubicBezTo>
                    <a:pt x="608435" y="382887"/>
                    <a:pt x="594301" y="379032"/>
                    <a:pt x="582736" y="370680"/>
                  </a:cubicBezTo>
                  <a:cubicBezTo>
                    <a:pt x="571171" y="362970"/>
                    <a:pt x="563461" y="351405"/>
                    <a:pt x="557679" y="339198"/>
                  </a:cubicBezTo>
                  <a:cubicBezTo>
                    <a:pt x="556394" y="335986"/>
                    <a:pt x="555109" y="332131"/>
                    <a:pt x="552539" y="329561"/>
                  </a:cubicBezTo>
                  <a:cubicBezTo>
                    <a:pt x="549327" y="325706"/>
                    <a:pt x="544829" y="322493"/>
                    <a:pt x="540332" y="319923"/>
                  </a:cubicBezTo>
                  <a:cubicBezTo>
                    <a:pt x="535192" y="317354"/>
                    <a:pt x="530052" y="314784"/>
                    <a:pt x="524912" y="312214"/>
                  </a:cubicBezTo>
                  <a:cubicBezTo>
                    <a:pt x="520415" y="309644"/>
                    <a:pt x="515275" y="307716"/>
                    <a:pt x="511420" y="304504"/>
                  </a:cubicBezTo>
                  <a:cubicBezTo>
                    <a:pt x="507565" y="301291"/>
                    <a:pt x="504353" y="296794"/>
                    <a:pt x="504353" y="291654"/>
                  </a:cubicBezTo>
                  <a:cubicBezTo>
                    <a:pt x="504353" y="289727"/>
                    <a:pt x="504995" y="287157"/>
                    <a:pt x="506923" y="285872"/>
                  </a:cubicBezTo>
                  <a:cubicBezTo>
                    <a:pt x="510135" y="283944"/>
                    <a:pt x="514632" y="285872"/>
                    <a:pt x="517845" y="288442"/>
                  </a:cubicBezTo>
                  <a:cubicBezTo>
                    <a:pt x="546114" y="307074"/>
                    <a:pt x="580809" y="316711"/>
                    <a:pt x="614860" y="316711"/>
                  </a:cubicBezTo>
                  <a:cubicBezTo>
                    <a:pt x="621285" y="316711"/>
                    <a:pt x="627710" y="316069"/>
                    <a:pt x="633493" y="318638"/>
                  </a:cubicBezTo>
                  <a:cubicBezTo>
                    <a:pt x="641845" y="321851"/>
                    <a:pt x="646985" y="330203"/>
                    <a:pt x="648912" y="338556"/>
                  </a:cubicBezTo>
                  <a:cubicBezTo>
                    <a:pt x="650840" y="346265"/>
                    <a:pt x="648912" y="354618"/>
                    <a:pt x="646342" y="362970"/>
                  </a:cubicBezTo>
                  <a:close/>
                  <a:moveTo>
                    <a:pt x="1369783" y="360400"/>
                  </a:moveTo>
                  <a:cubicBezTo>
                    <a:pt x="1363358" y="360400"/>
                    <a:pt x="1358218" y="357188"/>
                    <a:pt x="1352436" y="353975"/>
                  </a:cubicBezTo>
                  <a:cubicBezTo>
                    <a:pt x="1347296" y="350763"/>
                    <a:pt x="1342156" y="347550"/>
                    <a:pt x="1336374" y="347550"/>
                  </a:cubicBezTo>
                  <a:cubicBezTo>
                    <a:pt x="1324809" y="347550"/>
                    <a:pt x="1315172" y="359115"/>
                    <a:pt x="1303607" y="356545"/>
                  </a:cubicBezTo>
                  <a:cubicBezTo>
                    <a:pt x="1297182" y="355260"/>
                    <a:pt x="1292684" y="348835"/>
                    <a:pt x="1289472" y="343053"/>
                  </a:cubicBezTo>
                  <a:cubicBezTo>
                    <a:pt x="1286902" y="337271"/>
                    <a:pt x="1284975" y="331488"/>
                    <a:pt x="1283690" y="325063"/>
                  </a:cubicBezTo>
                  <a:cubicBezTo>
                    <a:pt x="1281762" y="324421"/>
                    <a:pt x="1279192" y="324421"/>
                    <a:pt x="1277265" y="323778"/>
                  </a:cubicBezTo>
                  <a:cubicBezTo>
                    <a:pt x="1264415" y="322493"/>
                    <a:pt x="1262488" y="316069"/>
                    <a:pt x="1261203" y="313499"/>
                  </a:cubicBezTo>
                  <a:cubicBezTo>
                    <a:pt x="1259918" y="310929"/>
                    <a:pt x="1256063" y="301934"/>
                    <a:pt x="1248353" y="296151"/>
                  </a:cubicBezTo>
                  <a:cubicBezTo>
                    <a:pt x="1240643" y="291012"/>
                    <a:pt x="1237431" y="291654"/>
                    <a:pt x="1229078" y="280732"/>
                  </a:cubicBezTo>
                  <a:cubicBezTo>
                    <a:pt x="1221368" y="270452"/>
                    <a:pt x="1221368" y="271094"/>
                    <a:pt x="1214301" y="262100"/>
                  </a:cubicBezTo>
                  <a:cubicBezTo>
                    <a:pt x="1207876" y="253747"/>
                    <a:pt x="1202094" y="241540"/>
                    <a:pt x="1180249" y="232545"/>
                  </a:cubicBezTo>
                  <a:cubicBezTo>
                    <a:pt x="1158405" y="222908"/>
                    <a:pt x="1164187" y="240897"/>
                    <a:pt x="1157762" y="244110"/>
                  </a:cubicBezTo>
                  <a:cubicBezTo>
                    <a:pt x="1151337" y="247322"/>
                    <a:pt x="1141700" y="238970"/>
                    <a:pt x="1137203" y="233188"/>
                  </a:cubicBezTo>
                  <a:cubicBezTo>
                    <a:pt x="1133348" y="227405"/>
                    <a:pt x="1121141" y="225478"/>
                    <a:pt x="1111503" y="222908"/>
                  </a:cubicBezTo>
                  <a:cubicBezTo>
                    <a:pt x="1109576" y="222265"/>
                    <a:pt x="1108291" y="221623"/>
                    <a:pt x="1107006" y="220338"/>
                  </a:cubicBezTo>
                  <a:cubicBezTo>
                    <a:pt x="1105078" y="221623"/>
                    <a:pt x="1103151" y="222265"/>
                    <a:pt x="1102508" y="222908"/>
                  </a:cubicBezTo>
                  <a:cubicBezTo>
                    <a:pt x="1099296" y="226763"/>
                    <a:pt x="1082591" y="222908"/>
                    <a:pt x="1082591" y="222908"/>
                  </a:cubicBezTo>
                  <a:cubicBezTo>
                    <a:pt x="1082591" y="222908"/>
                    <a:pt x="1052394" y="216483"/>
                    <a:pt x="1044684" y="214556"/>
                  </a:cubicBezTo>
                  <a:cubicBezTo>
                    <a:pt x="1038902" y="213271"/>
                    <a:pt x="1025410" y="209416"/>
                    <a:pt x="1016415" y="202348"/>
                  </a:cubicBezTo>
                  <a:cubicBezTo>
                    <a:pt x="1011918" y="203633"/>
                    <a:pt x="1006778" y="204276"/>
                    <a:pt x="1001638" y="204276"/>
                  </a:cubicBezTo>
                  <a:cubicBezTo>
                    <a:pt x="992643" y="204276"/>
                    <a:pt x="983006" y="202991"/>
                    <a:pt x="974011" y="202348"/>
                  </a:cubicBezTo>
                  <a:cubicBezTo>
                    <a:pt x="966944" y="201706"/>
                    <a:pt x="959234" y="201706"/>
                    <a:pt x="952166" y="201706"/>
                  </a:cubicBezTo>
                  <a:cubicBezTo>
                    <a:pt x="944456" y="201706"/>
                    <a:pt x="936747" y="201706"/>
                    <a:pt x="929679" y="204276"/>
                  </a:cubicBezTo>
                  <a:cubicBezTo>
                    <a:pt x="927109" y="205561"/>
                    <a:pt x="924539" y="206846"/>
                    <a:pt x="921969" y="207488"/>
                  </a:cubicBezTo>
                  <a:cubicBezTo>
                    <a:pt x="912332" y="211343"/>
                    <a:pt x="900125" y="208773"/>
                    <a:pt x="891130" y="203633"/>
                  </a:cubicBezTo>
                  <a:cubicBezTo>
                    <a:pt x="882135" y="198493"/>
                    <a:pt x="875068" y="190141"/>
                    <a:pt x="869285" y="181789"/>
                  </a:cubicBezTo>
                  <a:cubicBezTo>
                    <a:pt x="864788" y="175364"/>
                    <a:pt x="859648" y="168939"/>
                    <a:pt x="857078" y="161229"/>
                  </a:cubicBezTo>
                  <a:cubicBezTo>
                    <a:pt x="855793" y="158659"/>
                    <a:pt x="855151" y="155447"/>
                    <a:pt x="853866" y="152234"/>
                  </a:cubicBezTo>
                  <a:cubicBezTo>
                    <a:pt x="853223" y="152234"/>
                    <a:pt x="852581" y="152234"/>
                    <a:pt x="851938" y="152234"/>
                  </a:cubicBezTo>
                  <a:cubicBezTo>
                    <a:pt x="841658" y="150949"/>
                    <a:pt x="838446" y="150307"/>
                    <a:pt x="830736" y="149022"/>
                  </a:cubicBezTo>
                  <a:cubicBezTo>
                    <a:pt x="823026" y="147737"/>
                    <a:pt x="811462" y="139385"/>
                    <a:pt x="806322" y="133602"/>
                  </a:cubicBezTo>
                  <a:cubicBezTo>
                    <a:pt x="801182" y="127820"/>
                    <a:pt x="790902" y="111758"/>
                    <a:pt x="788974" y="107260"/>
                  </a:cubicBezTo>
                  <a:cubicBezTo>
                    <a:pt x="786405" y="102120"/>
                    <a:pt x="775482" y="90555"/>
                    <a:pt x="775482" y="90555"/>
                  </a:cubicBezTo>
                  <a:cubicBezTo>
                    <a:pt x="774840" y="89271"/>
                    <a:pt x="769057" y="80918"/>
                    <a:pt x="767772" y="78991"/>
                  </a:cubicBezTo>
                  <a:cubicBezTo>
                    <a:pt x="767130" y="76421"/>
                    <a:pt x="757493" y="62929"/>
                    <a:pt x="751710" y="51364"/>
                  </a:cubicBezTo>
                  <a:cubicBezTo>
                    <a:pt x="745285" y="39799"/>
                    <a:pt x="729223" y="23094"/>
                    <a:pt x="729223" y="23094"/>
                  </a:cubicBezTo>
                  <a:cubicBezTo>
                    <a:pt x="729223" y="23094"/>
                    <a:pt x="720228" y="18597"/>
                    <a:pt x="715088" y="17312"/>
                  </a:cubicBezTo>
                  <a:cubicBezTo>
                    <a:pt x="709948" y="16027"/>
                    <a:pt x="690674" y="15384"/>
                    <a:pt x="679109" y="17954"/>
                  </a:cubicBezTo>
                  <a:cubicBezTo>
                    <a:pt x="667544" y="20524"/>
                    <a:pt x="663047" y="25022"/>
                    <a:pt x="655980" y="28234"/>
                  </a:cubicBezTo>
                  <a:cubicBezTo>
                    <a:pt x="648912" y="31447"/>
                    <a:pt x="632208" y="28234"/>
                    <a:pt x="628995" y="28234"/>
                  </a:cubicBezTo>
                  <a:cubicBezTo>
                    <a:pt x="625783" y="28234"/>
                    <a:pt x="608435" y="30162"/>
                    <a:pt x="594301" y="28877"/>
                  </a:cubicBezTo>
                  <a:cubicBezTo>
                    <a:pt x="580166" y="28234"/>
                    <a:pt x="578239" y="22452"/>
                    <a:pt x="578239" y="22452"/>
                  </a:cubicBezTo>
                  <a:cubicBezTo>
                    <a:pt x="578239" y="22452"/>
                    <a:pt x="571814" y="14099"/>
                    <a:pt x="567316" y="5747"/>
                  </a:cubicBezTo>
                  <a:cubicBezTo>
                    <a:pt x="562819" y="-2605"/>
                    <a:pt x="560891" y="607"/>
                    <a:pt x="558964" y="607"/>
                  </a:cubicBezTo>
                  <a:cubicBezTo>
                    <a:pt x="557037" y="607"/>
                    <a:pt x="545472" y="5105"/>
                    <a:pt x="539047" y="12172"/>
                  </a:cubicBezTo>
                  <a:cubicBezTo>
                    <a:pt x="532622" y="19239"/>
                    <a:pt x="526840" y="34017"/>
                    <a:pt x="526840" y="39157"/>
                  </a:cubicBezTo>
                  <a:cubicBezTo>
                    <a:pt x="526840" y="44296"/>
                    <a:pt x="524912" y="51364"/>
                    <a:pt x="514632" y="71923"/>
                  </a:cubicBezTo>
                  <a:cubicBezTo>
                    <a:pt x="510135" y="80918"/>
                    <a:pt x="507565" y="87343"/>
                    <a:pt x="506280" y="91840"/>
                  </a:cubicBezTo>
                  <a:cubicBezTo>
                    <a:pt x="504353" y="98265"/>
                    <a:pt x="503710" y="102120"/>
                    <a:pt x="504353" y="106618"/>
                  </a:cubicBezTo>
                  <a:cubicBezTo>
                    <a:pt x="505638" y="114328"/>
                    <a:pt x="510135" y="116255"/>
                    <a:pt x="513990" y="121395"/>
                  </a:cubicBezTo>
                  <a:cubicBezTo>
                    <a:pt x="517202" y="126535"/>
                    <a:pt x="519772" y="130390"/>
                    <a:pt x="524270" y="134887"/>
                  </a:cubicBezTo>
                  <a:cubicBezTo>
                    <a:pt x="528125" y="139385"/>
                    <a:pt x="528767" y="148379"/>
                    <a:pt x="529410" y="153519"/>
                  </a:cubicBezTo>
                  <a:cubicBezTo>
                    <a:pt x="530052" y="158659"/>
                    <a:pt x="524270" y="161872"/>
                    <a:pt x="522342" y="161229"/>
                  </a:cubicBezTo>
                  <a:cubicBezTo>
                    <a:pt x="520415" y="159944"/>
                    <a:pt x="519130" y="152877"/>
                    <a:pt x="518487" y="150949"/>
                  </a:cubicBezTo>
                  <a:cubicBezTo>
                    <a:pt x="518487" y="150949"/>
                    <a:pt x="517845" y="150307"/>
                    <a:pt x="517202" y="149664"/>
                  </a:cubicBezTo>
                  <a:cubicBezTo>
                    <a:pt x="513990" y="147094"/>
                    <a:pt x="503710" y="142597"/>
                    <a:pt x="496643" y="136815"/>
                  </a:cubicBezTo>
                  <a:cubicBezTo>
                    <a:pt x="487648" y="130390"/>
                    <a:pt x="484435" y="127177"/>
                    <a:pt x="472228" y="120752"/>
                  </a:cubicBezTo>
                  <a:cubicBezTo>
                    <a:pt x="460021" y="114328"/>
                    <a:pt x="456809" y="122037"/>
                    <a:pt x="451669" y="123965"/>
                  </a:cubicBezTo>
                  <a:cubicBezTo>
                    <a:pt x="446529" y="125892"/>
                    <a:pt x="437534" y="131675"/>
                    <a:pt x="437534" y="134245"/>
                  </a:cubicBezTo>
                  <a:lnTo>
                    <a:pt x="437534" y="153519"/>
                  </a:lnTo>
                  <a:cubicBezTo>
                    <a:pt x="437534" y="159302"/>
                    <a:pt x="438176" y="163157"/>
                    <a:pt x="439461" y="168939"/>
                  </a:cubicBezTo>
                  <a:cubicBezTo>
                    <a:pt x="440746" y="174721"/>
                    <a:pt x="445886" y="172794"/>
                    <a:pt x="449741" y="170224"/>
                  </a:cubicBezTo>
                  <a:cubicBezTo>
                    <a:pt x="453596" y="167654"/>
                    <a:pt x="456809" y="163157"/>
                    <a:pt x="459378" y="163157"/>
                  </a:cubicBezTo>
                  <a:cubicBezTo>
                    <a:pt x="462591" y="163157"/>
                    <a:pt x="464518" y="175364"/>
                    <a:pt x="465161" y="181789"/>
                  </a:cubicBezTo>
                  <a:cubicBezTo>
                    <a:pt x="465803" y="188214"/>
                    <a:pt x="464518" y="190141"/>
                    <a:pt x="463233" y="195923"/>
                  </a:cubicBezTo>
                  <a:cubicBezTo>
                    <a:pt x="461948" y="201706"/>
                    <a:pt x="458736" y="204276"/>
                    <a:pt x="453596" y="206846"/>
                  </a:cubicBezTo>
                  <a:cubicBezTo>
                    <a:pt x="447814" y="209416"/>
                    <a:pt x="443316" y="213913"/>
                    <a:pt x="440746" y="215198"/>
                  </a:cubicBezTo>
                  <a:cubicBezTo>
                    <a:pt x="438176" y="216483"/>
                    <a:pt x="431751" y="215841"/>
                    <a:pt x="428539" y="215198"/>
                  </a:cubicBezTo>
                  <a:cubicBezTo>
                    <a:pt x="425327" y="214556"/>
                    <a:pt x="413762" y="208131"/>
                    <a:pt x="407337" y="202991"/>
                  </a:cubicBezTo>
                  <a:cubicBezTo>
                    <a:pt x="400912" y="197851"/>
                    <a:pt x="399627" y="193353"/>
                    <a:pt x="395130" y="182431"/>
                  </a:cubicBezTo>
                  <a:cubicBezTo>
                    <a:pt x="389990" y="172151"/>
                    <a:pt x="396415" y="173436"/>
                    <a:pt x="398342" y="171509"/>
                  </a:cubicBezTo>
                  <a:cubicBezTo>
                    <a:pt x="400270" y="169581"/>
                    <a:pt x="411192" y="168939"/>
                    <a:pt x="417617" y="165726"/>
                  </a:cubicBezTo>
                  <a:cubicBezTo>
                    <a:pt x="424042" y="163157"/>
                    <a:pt x="422757" y="152877"/>
                    <a:pt x="422114" y="145167"/>
                  </a:cubicBezTo>
                  <a:cubicBezTo>
                    <a:pt x="420829" y="137457"/>
                    <a:pt x="407979" y="132317"/>
                    <a:pt x="407979" y="132317"/>
                  </a:cubicBezTo>
                  <a:cubicBezTo>
                    <a:pt x="407979" y="132317"/>
                    <a:pt x="394487" y="116897"/>
                    <a:pt x="390632" y="109188"/>
                  </a:cubicBezTo>
                  <a:cubicBezTo>
                    <a:pt x="386777" y="101478"/>
                    <a:pt x="388062" y="91840"/>
                    <a:pt x="386135" y="86701"/>
                  </a:cubicBezTo>
                  <a:cubicBezTo>
                    <a:pt x="384850" y="81561"/>
                    <a:pt x="372000" y="79633"/>
                    <a:pt x="363648" y="78991"/>
                  </a:cubicBezTo>
                  <a:cubicBezTo>
                    <a:pt x="355938" y="78348"/>
                    <a:pt x="335378" y="77063"/>
                    <a:pt x="316746" y="78991"/>
                  </a:cubicBezTo>
                  <a:cubicBezTo>
                    <a:pt x="298114" y="80918"/>
                    <a:pt x="278197" y="84131"/>
                    <a:pt x="266632" y="89913"/>
                  </a:cubicBezTo>
                  <a:cubicBezTo>
                    <a:pt x="254425" y="95695"/>
                    <a:pt x="255710" y="93125"/>
                    <a:pt x="249285" y="96980"/>
                  </a:cubicBezTo>
                  <a:cubicBezTo>
                    <a:pt x="243503" y="100835"/>
                    <a:pt x="239005" y="93768"/>
                    <a:pt x="235793" y="87986"/>
                  </a:cubicBezTo>
                  <a:cubicBezTo>
                    <a:pt x="231938" y="82203"/>
                    <a:pt x="208808" y="86058"/>
                    <a:pt x="199814" y="86058"/>
                  </a:cubicBezTo>
                  <a:cubicBezTo>
                    <a:pt x="190819" y="86058"/>
                    <a:pt x="178611" y="87986"/>
                    <a:pt x="172829" y="91840"/>
                  </a:cubicBezTo>
                  <a:cubicBezTo>
                    <a:pt x="167047" y="95053"/>
                    <a:pt x="154839" y="103405"/>
                    <a:pt x="144560" y="114328"/>
                  </a:cubicBezTo>
                  <a:cubicBezTo>
                    <a:pt x="134280" y="124607"/>
                    <a:pt x="127213" y="132960"/>
                    <a:pt x="121430" y="140670"/>
                  </a:cubicBezTo>
                  <a:cubicBezTo>
                    <a:pt x="116290" y="148379"/>
                    <a:pt x="111793" y="150949"/>
                    <a:pt x="109865" y="157374"/>
                  </a:cubicBezTo>
                  <a:cubicBezTo>
                    <a:pt x="107295" y="163799"/>
                    <a:pt x="109223" y="172151"/>
                    <a:pt x="106653" y="184359"/>
                  </a:cubicBezTo>
                  <a:cubicBezTo>
                    <a:pt x="104725" y="196566"/>
                    <a:pt x="102798" y="202348"/>
                    <a:pt x="102156" y="204918"/>
                  </a:cubicBezTo>
                  <a:cubicBezTo>
                    <a:pt x="101513" y="207488"/>
                    <a:pt x="100870" y="217125"/>
                    <a:pt x="102798" y="221623"/>
                  </a:cubicBezTo>
                  <a:cubicBezTo>
                    <a:pt x="104725" y="226120"/>
                    <a:pt x="106653" y="225478"/>
                    <a:pt x="107938" y="228048"/>
                  </a:cubicBezTo>
                  <a:cubicBezTo>
                    <a:pt x="109223" y="230618"/>
                    <a:pt x="107295" y="233830"/>
                    <a:pt x="106653" y="240255"/>
                  </a:cubicBezTo>
                  <a:cubicBezTo>
                    <a:pt x="106010" y="246680"/>
                    <a:pt x="109865" y="242183"/>
                    <a:pt x="113720" y="242183"/>
                  </a:cubicBezTo>
                  <a:cubicBezTo>
                    <a:pt x="117575" y="242183"/>
                    <a:pt x="139420" y="242183"/>
                    <a:pt x="153555" y="241540"/>
                  </a:cubicBezTo>
                  <a:cubicBezTo>
                    <a:pt x="168332" y="240897"/>
                    <a:pt x="169617" y="242183"/>
                    <a:pt x="171544" y="242183"/>
                  </a:cubicBezTo>
                  <a:cubicBezTo>
                    <a:pt x="173472" y="242825"/>
                    <a:pt x="186321" y="248607"/>
                    <a:pt x="186321" y="251177"/>
                  </a:cubicBezTo>
                  <a:cubicBezTo>
                    <a:pt x="186321" y="253747"/>
                    <a:pt x="170902" y="250535"/>
                    <a:pt x="170902" y="250535"/>
                  </a:cubicBezTo>
                  <a:cubicBezTo>
                    <a:pt x="170902" y="250535"/>
                    <a:pt x="165119" y="253747"/>
                    <a:pt x="165119" y="255032"/>
                  </a:cubicBezTo>
                  <a:cubicBezTo>
                    <a:pt x="164477" y="256317"/>
                    <a:pt x="158052" y="262742"/>
                    <a:pt x="156767" y="265955"/>
                  </a:cubicBezTo>
                  <a:cubicBezTo>
                    <a:pt x="155482" y="269809"/>
                    <a:pt x="154197" y="280732"/>
                    <a:pt x="154197" y="296151"/>
                  </a:cubicBezTo>
                  <a:cubicBezTo>
                    <a:pt x="154197" y="310929"/>
                    <a:pt x="155482" y="355260"/>
                    <a:pt x="155482" y="369395"/>
                  </a:cubicBezTo>
                  <a:cubicBezTo>
                    <a:pt x="155482" y="383530"/>
                    <a:pt x="154839" y="383530"/>
                    <a:pt x="153555" y="393167"/>
                  </a:cubicBezTo>
                  <a:cubicBezTo>
                    <a:pt x="152269" y="402804"/>
                    <a:pt x="122715" y="441354"/>
                    <a:pt x="122715" y="441354"/>
                  </a:cubicBezTo>
                  <a:cubicBezTo>
                    <a:pt x="122715" y="441354"/>
                    <a:pt x="116290" y="454203"/>
                    <a:pt x="113720" y="459343"/>
                  </a:cubicBezTo>
                  <a:cubicBezTo>
                    <a:pt x="111150" y="464483"/>
                    <a:pt x="107938" y="482473"/>
                    <a:pt x="107938" y="494038"/>
                  </a:cubicBezTo>
                  <a:cubicBezTo>
                    <a:pt x="107938" y="505602"/>
                    <a:pt x="106653" y="525519"/>
                    <a:pt x="105368" y="532587"/>
                  </a:cubicBezTo>
                  <a:cubicBezTo>
                    <a:pt x="104725" y="539654"/>
                    <a:pt x="102798" y="539654"/>
                    <a:pt x="100228" y="542867"/>
                  </a:cubicBezTo>
                  <a:cubicBezTo>
                    <a:pt x="97658" y="546722"/>
                    <a:pt x="88663" y="542867"/>
                    <a:pt x="82881" y="540297"/>
                  </a:cubicBezTo>
                  <a:cubicBezTo>
                    <a:pt x="77098" y="537727"/>
                    <a:pt x="60394" y="538369"/>
                    <a:pt x="57181" y="537084"/>
                  </a:cubicBezTo>
                  <a:cubicBezTo>
                    <a:pt x="53326" y="535799"/>
                    <a:pt x="46902" y="532587"/>
                    <a:pt x="35979" y="529374"/>
                  </a:cubicBezTo>
                  <a:cubicBezTo>
                    <a:pt x="25057" y="526162"/>
                    <a:pt x="21845" y="531302"/>
                    <a:pt x="17347" y="532587"/>
                  </a:cubicBezTo>
                  <a:cubicBezTo>
                    <a:pt x="12850" y="533872"/>
                    <a:pt x="10280" y="540939"/>
                    <a:pt x="8995" y="544794"/>
                  </a:cubicBezTo>
                  <a:cubicBezTo>
                    <a:pt x="7710" y="548649"/>
                    <a:pt x="10280" y="556359"/>
                    <a:pt x="12850" y="558929"/>
                  </a:cubicBezTo>
                  <a:cubicBezTo>
                    <a:pt x="15420" y="561499"/>
                    <a:pt x="18632" y="565354"/>
                    <a:pt x="17990" y="573064"/>
                  </a:cubicBezTo>
                  <a:cubicBezTo>
                    <a:pt x="17347" y="580773"/>
                    <a:pt x="7067" y="570494"/>
                    <a:pt x="5140" y="571778"/>
                  </a:cubicBezTo>
                  <a:cubicBezTo>
                    <a:pt x="3212" y="573064"/>
                    <a:pt x="0" y="581416"/>
                    <a:pt x="0" y="585271"/>
                  </a:cubicBezTo>
                  <a:cubicBezTo>
                    <a:pt x="0" y="588483"/>
                    <a:pt x="643" y="593623"/>
                    <a:pt x="1285" y="601975"/>
                  </a:cubicBezTo>
                  <a:cubicBezTo>
                    <a:pt x="1927" y="610328"/>
                    <a:pt x="8995" y="614825"/>
                    <a:pt x="13492" y="616753"/>
                  </a:cubicBezTo>
                  <a:cubicBezTo>
                    <a:pt x="17990" y="618680"/>
                    <a:pt x="32124" y="623177"/>
                    <a:pt x="37264" y="625747"/>
                  </a:cubicBezTo>
                  <a:cubicBezTo>
                    <a:pt x="43047" y="628317"/>
                    <a:pt x="54611" y="631530"/>
                    <a:pt x="57181" y="632815"/>
                  </a:cubicBezTo>
                  <a:cubicBezTo>
                    <a:pt x="59751" y="634100"/>
                    <a:pt x="69389" y="635385"/>
                    <a:pt x="71316" y="635385"/>
                  </a:cubicBezTo>
                  <a:cubicBezTo>
                    <a:pt x="72601" y="635385"/>
                    <a:pt x="76456" y="627675"/>
                    <a:pt x="80311" y="625747"/>
                  </a:cubicBezTo>
                  <a:cubicBezTo>
                    <a:pt x="84166" y="623820"/>
                    <a:pt x="85451" y="627032"/>
                    <a:pt x="87378" y="628317"/>
                  </a:cubicBezTo>
                  <a:cubicBezTo>
                    <a:pt x="89306" y="629602"/>
                    <a:pt x="94446" y="640525"/>
                    <a:pt x="97658" y="644380"/>
                  </a:cubicBezTo>
                  <a:cubicBezTo>
                    <a:pt x="100870" y="648235"/>
                    <a:pt x="105368" y="655302"/>
                    <a:pt x="107938" y="662369"/>
                  </a:cubicBezTo>
                  <a:cubicBezTo>
                    <a:pt x="109865" y="667509"/>
                    <a:pt x="100228" y="677146"/>
                    <a:pt x="96373" y="681644"/>
                  </a:cubicBezTo>
                  <a:cubicBezTo>
                    <a:pt x="95731" y="681644"/>
                    <a:pt x="95731" y="682286"/>
                    <a:pt x="95731" y="682286"/>
                  </a:cubicBezTo>
                  <a:lnTo>
                    <a:pt x="95088" y="682929"/>
                  </a:lnTo>
                  <a:cubicBezTo>
                    <a:pt x="94446" y="683571"/>
                    <a:pt x="94446" y="683571"/>
                    <a:pt x="94446" y="683571"/>
                  </a:cubicBezTo>
                  <a:cubicBezTo>
                    <a:pt x="94446" y="683571"/>
                    <a:pt x="86093" y="695136"/>
                    <a:pt x="85451" y="698991"/>
                  </a:cubicBezTo>
                  <a:cubicBezTo>
                    <a:pt x="84808" y="702203"/>
                    <a:pt x="88663" y="706058"/>
                    <a:pt x="95731" y="711198"/>
                  </a:cubicBezTo>
                  <a:cubicBezTo>
                    <a:pt x="97658" y="712483"/>
                    <a:pt x="98943" y="713768"/>
                    <a:pt x="98301" y="715053"/>
                  </a:cubicBezTo>
                  <a:cubicBezTo>
                    <a:pt x="98943" y="715053"/>
                    <a:pt x="99586" y="714411"/>
                    <a:pt x="100228" y="714411"/>
                  </a:cubicBezTo>
                  <a:cubicBezTo>
                    <a:pt x="106010" y="712483"/>
                    <a:pt x="110508" y="709913"/>
                    <a:pt x="115648" y="707343"/>
                  </a:cubicBezTo>
                  <a:cubicBezTo>
                    <a:pt x="120145" y="704773"/>
                    <a:pt x="124643" y="704773"/>
                    <a:pt x="130425" y="705416"/>
                  </a:cubicBezTo>
                  <a:cubicBezTo>
                    <a:pt x="145202" y="706701"/>
                    <a:pt x="158052" y="710556"/>
                    <a:pt x="172187" y="704773"/>
                  </a:cubicBezTo>
                  <a:cubicBezTo>
                    <a:pt x="185036" y="698991"/>
                    <a:pt x="197244" y="690639"/>
                    <a:pt x="207523" y="681644"/>
                  </a:cubicBezTo>
                  <a:cubicBezTo>
                    <a:pt x="224871" y="666867"/>
                    <a:pt x="240933" y="650804"/>
                    <a:pt x="260850" y="638597"/>
                  </a:cubicBezTo>
                  <a:cubicBezTo>
                    <a:pt x="265990" y="635385"/>
                    <a:pt x="271772" y="632815"/>
                    <a:pt x="278197" y="634100"/>
                  </a:cubicBezTo>
                  <a:cubicBezTo>
                    <a:pt x="291047" y="636670"/>
                    <a:pt x="292974" y="654017"/>
                    <a:pt x="303897" y="660442"/>
                  </a:cubicBezTo>
                  <a:cubicBezTo>
                    <a:pt x="318031" y="669437"/>
                    <a:pt x="341161" y="657229"/>
                    <a:pt x="353368" y="668794"/>
                  </a:cubicBezTo>
                  <a:cubicBezTo>
                    <a:pt x="355938" y="670722"/>
                    <a:pt x="357223" y="673934"/>
                    <a:pt x="358508" y="676504"/>
                  </a:cubicBezTo>
                  <a:cubicBezTo>
                    <a:pt x="362363" y="686141"/>
                    <a:pt x="361078" y="697063"/>
                    <a:pt x="359150" y="707343"/>
                  </a:cubicBezTo>
                  <a:cubicBezTo>
                    <a:pt x="355938" y="723406"/>
                    <a:pt x="351441" y="738825"/>
                    <a:pt x="344373" y="753602"/>
                  </a:cubicBezTo>
                  <a:cubicBezTo>
                    <a:pt x="339876" y="763240"/>
                    <a:pt x="334736" y="772877"/>
                    <a:pt x="336021" y="783799"/>
                  </a:cubicBezTo>
                  <a:cubicBezTo>
                    <a:pt x="337948" y="801789"/>
                    <a:pt x="359793" y="813996"/>
                    <a:pt x="379068" y="812069"/>
                  </a:cubicBezTo>
                  <a:cubicBezTo>
                    <a:pt x="398342" y="810141"/>
                    <a:pt x="415047" y="798577"/>
                    <a:pt x="429182" y="785084"/>
                  </a:cubicBezTo>
                  <a:cubicBezTo>
                    <a:pt x="433679" y="780587"/>
                    <a:pt x="438176" y="776089"/>
                    <a:pt x="444601" y="772877"/>
                  </a:cubicBezTo>
                  <a:cubicBezTo>
                    <a:pt x="451669" y="769665"/>
                    <a:pt x="458736" y="770950"/>
                    <a:pt x="465803" y="772235"/>
                  </a:cubicBezTo>
                  <a:cubicBezTo>
                    <a:pt x="468373" y="772877"/>
                    <a:pt x="490218" y="778017"/>
                    <a:pt x="491503" y="774162"/>
                  </a:cubicBezTo>
                  <a:cubicBezTo>
                    <a:pt x="492788" y="768380"/>
                    <a:pt x="496643" y="762597"/>
                    <a:pt x="501140" y="758742"/>
                  </a:cubicBezTo>
                  <a:cubicBezTo>
                    <a:pt x="504353" y="756172"/>
                    <a:pt x="508850" y="753602"/>
                    <a:pt x="510135" y="749748"/>
                  </a:cubicBezTo>
                  <a:cubicBezTo>
                    <a:pt x="511420" y="745893"/>
                    <a:pt x="510135" y="742038"/>
                    <a:pt x="508208" y="738825"/>
                  </a:cubicBezTo>
                  <a:cubicBezTo>
                    <a:pt x="506280" y="735613"/>
                    <a:pt x="503068" y="732400"/>
                    <a:pt x="500498" y="729188"/>
                  </a:cubicBezTo>
                  <a:cubicBezTo>
                    <a:pt x="496643" y="723406"/>
                    <a:pt x="494715" y="716338"/>
                    <a:pt x="493430" y="709271"/>
                  </a:cubicBezTo>
                  <a:cubicBezTo>
                    <a:pt x="491503" y="699633"/>
                    <a:pt x="489575" y="689354"/>
                    <a:pt x="490860" y="679716"/>
                  </a:cubicBezTo>
                  <a:cubicBezTo>
                    <a:pt x="492145" y="673934"/>
                    <a:pt x="493430" y="666224"/>
                    <a:pt x="487648" y="663012"/>
                  </a:cubicBezTo>
                  <a:cubicBezTo>
                    <a:pt x="485078" y="661727"/>
                    <a:pt x="481865" y="661727"/>
                    <a:pt x="479296" y="661084"/>
                  </a:cubicBezTo>
                  <a:cubicBezTo>
                    <a:pt x="473513" y="659157"/>
                    <a:pt x="470943" y="652732"/>
                    <a:pt x="472228" y="646950"/>
                  </a:cubicBezTo>
                  <a:cubicBezTo>
                    <a:pt x="473513" y="641167"/>
                    <a:pt x="477368" y="636670"/>
                    <a:pt x="481865" y="632815"/>
                  </a:cubicBezTo>
                  <a:cubicBezTo>
                    <a:pt x="499213" y="618038"/>
                    <a:pt x="522985" y="611613"/>
                    <a:pt x="545472" y="605830"/>
                  </a:cubicBezTo>
                  <a:cubicBezTo>
                    <a:pt x="552539" y="603903"/>
                    <a:pt x="562819" y="602618"/>
                    <a:pt x="566674" y="609043"/>
                  </a:cubicBezTo>
                  <a:cubicBezTo>
                    <a:pt x="568601" y="611613"/>
                    <a:pt x="568601" y="615468"/>
                    <a:pt x="568601" y="618680"/>
                  </a:cubicBezTo>
                  <a:cubicBezTo>
                    <a:pt x="568601" y="623820"/>
                    <a:pt x="567959" y="629602"/>
                    <a:pt x="567959" y="635385"/>
                  </a:cubicBezTo>
                  <a:cubicBezTo>
                    <a:pt x="567959" y="639882"/>
                    <a:pt x="567316" y="644380"/>
                    <a:pt x="569886" y="648235"/>
                  </a:cubicBezTo>
                  <a:cubicBezTo>
                    <a:pt x="574384" y="655944"/>
                    <a:pt x="585306" y="657229"/>
                    <a:pt x="594301" y="656587"/>
                  </a:cubicBezTo>
                  <a:cubicBezTo>
                    <a:pt x="603938" y="656587"/>
                    <a:pt x="614218" y="655944"/>
                    <a:pt x="623855" y="652732"/>
                  </a:cubicBezTo>
                  <a:cubicBezTo>
                    <a:pt x="633493" y="649519"/>
                    <a:pt x="641845" y="643737"/>
                    <a:pt x="646985" y="636027"/>
                  </a:cubicBezTo>
                  <a:cubicBezTo>
                    <a:pt x="652125" y="627032"/>
                    <a:pt x="654052" y="615468"/>
                    <a:pt x="663047" y="610328"/>
                  </a:cubicBezTo>
                  <a:cubicBezTo>
                    <a:pt x="666902" y="608400"/>
                    <a:pt x="670757" y="607758"/>
                    <a:pt x="674612" y="607758"/>
                  </a:cubicBezTo>
                  <a:cubicBezTo>
                    <a:pt x="679752" y="607115"/>
                    <a:pt x="686176" y="607115"/>
                    <a:pt x="689389" y="611613"/>
                  </a:cubicBezTo>
                  <a:cubicBezTo>
                    <a:pt x="690674" y="613540"/>
                    <a:pt x="690674" y="616110"/>
                    <a:pt x="690674" y="618038"/>
                  </a:cubicBezTo>
                  <a:cubicBezTo>
                    <a:pt x="690674" y="631530"/>
                    <a:pt x="687461" y="645022"/>
                    <a:pt x="683607" y="657872"/>
                  </a:cubicBezTo>
                  <a:cubicBezTo>
                    <a:pt x="681679" y="665582"/>
                    <a:pt x="679109" y="673291"/>
                    <a:pt x="672684" y="678431"/>
                  </a:cubicBezTo>
                  <a:cubicBezTo>
                    <a:pt x="668829" y="681644"/>
                    <a:pt x="663689" y="682286"/>
                    <a:pt x="658550" y="681644"/>
                  </a:cubicBezTo>
                  <a:cubicBezTo>
                    <a:pt x="654695" y="681001"/>
                    <a:pt x="654695" y="680359"/>
                    <a:pt x="652767" y="682929"/>
                  </a:cubicBezTo>
                  <a:cubicBezTo>
                    <a:pt x="651482" y="684856"/>
                    <a:pt x="650197" y="687426"/>
                    <a:pt x="649555" y="689996"/>
                  </a:cubicBezTo>
                  <a:cubicBezTo>
                    <a:pt x="646342" y="699633"/>
                    <a:pt x="645700" y="709913"/>
                    <a:pt x="647627" y="720193"/>
                  </a:cubicBezTo>
                  <a:cubicBezTo>
                    <a:pt x="650840" y="735613"/>
                    <a:pt x="659834" y="749105"/>
                    <a:pt x="670757" y="760670"/>
                  </a:cubicBezTo>
                  <a:cubicBezTo>
                    <a:pt x="672684" y="762597"/>
                    <a:pt x="674612" y="764525"/>
                    <a:pt x="676539" y="765167"/>
                  </a:cubicBezTo>
                  <a:cubicBezTo>
                    <a:pt x="679109" y="765810"/>
                    <a:pt x="681679" y="765810"/>
                    <a:pt x="684249" y="765810"/>
                  </a:cubicBezTo>
                  <a:cubicBezTo>
                    <a:pt x="689389" y="766452"/>
                    <a:pt x="693886" y="770950"/>
                    <a:pt x="696456" y="775447"/>
                  </a:cubicBezTo>
                  <a:cubicBezTo>
                    <a:pt x="699026" y="779944"/>
                    <a:pt x="700311" y="785084"/>
                    <a:pt x="702881" y="789582"/>
                  </a:cubicBezTo>
                  <a:cubicBezTo>
                    <a:pt x="709306" y="803716"/>
                    <a:pt x="720871" y="815281"/>
                    <a:pt x="729866" y="828131"/>
                  </a:cubicBezTo>
                  <a:cubicBezTo>
                    <a:pt x="738860" y="841623"/>
                    <a:pt x="744643" y="857043"/>
                    <a:pt x="745928" y="872463"/>
                  </a:cubicBezTo>
                  <a:cubicBezTo>
                    <a:pt x="746570" y="876960"/>
                    <a:pt x="746570" y="880815"/>
                    <a:pt x="748498" y="885312"/>
                  </a:cubicBezTo>
                  <a:cubicBezTo>
                    <a:pt x="750425" y="889167"/>
                    <a:pt x="754280" y="892380"/>
                    <a:pt x="758778" y="892380"/>
                  </a:cubicBezTo>
                  <a:cubicBezTo>
                    <a:pt x="764560" y="892380"/>
                    <a:pt x="768415" y="887240"/>
                    <a:pt x="772912" y="884027"/>
                  </a:cubicBezTo>
                  <a:cubicBezTo>
                    <a:pt x="774197" y="883385"/>
                    <a:pt x="776125" y="882100"/>
                    <a:pt x="778052" y="882100"/>
                  </a:cubicBezTo>
                  <a:cubicBezTo>
                    <a:pt x="781265" y="882100"/>
                    <a:pt x="783835" y="885312"/>
                    <a:pt x="785119" y="888525"/>
                  </a:cubicBezTo>
                  <a:cubicBezTo>
                    <a:pt x="790902" y="901374"/>
                    <a:pt x="793472" y="917437"/>
                    <a:pt x="783835" y="928359"/>
                  </a:cubicBezTo>
                  <a:cubicBezTo>
                    <a:pt x="781265" y="931571"/>
                    <a:pt x="777410" y="934141"/>
                    <a:pt x="774197" y="936711"/>
                  </a:cubicBezTo>
                  <a:cubicBezTo>
                    <a:pt x="764560" y="945064"/>
                    <a:pt x="760063" y="957271"/>
                    <a:pt x="760063" y="968836"/>
                  </a:cubicBezTo>
                  <a:cubicBezTo>
                    <a:pt x="760063" y="973333"/>
                    <a:pt x="760063" y="982328"/>
                    <a:pt x="763917" y="985540"/>
                  </a:cubicBezTo>
                  <a:cubicBezTo>
                    <a:pt x="768415" y="989395"/>
                    <a:pt x="776125" y="986183"/>
                    <a:pt x="779337" y="982970"/>
                  </a:cubicBezTo>
                  <a:cubicBezTo>
                    <a:pt x="780622" y="982328"/>
                    <a:pt x="781265" y="981043"/>
                    <a:pt x="782550" y="980400"/>
                  </a:cubicBezTo>
                  <a:cubicBezTo>
                    <a:pt x="784477" y="979758"/>
                    <a:pt x="785762" y="980400"/>
                    <a:pt x="787047" y="981685"/>
                  </a:cubicBezTo>
                  <a:cubicBezTo>
                    <a:pt x="787690" y="982328"/>
                    <a:pt x="788974" y="982970"/>
                    <a:pt x="789617" y="983613"/>
                  </a:cubicBezTo>
                  <a:cubicBezTo>
                    <a:pt x="798612" y="990680"/>
                    <a:pt x="811462" y="988753"/>
                    <a:pt x="823026" y="989395"/>
                  </a:cubicBezTo>
                  <a:cubicBezTo>
                    <a:pt x="830094" y="990038"/>
                    <a:pt x="837161" y="991965"/>
                    <a:pt x="843586" y="995820"/>
                  </a:cubicBezTo>
                  <a:cubicBezTo>
                    <a:pt x="848726" y="998390"/>
                    <a:pt x="853866" y="1002245"/>
                    <a:pt x="855151" y="1008027"/>
                  </a:cubicBezTo>
                  <a:cubicBezTo>
                    <a:pt x="857078" y="1013167"/>
                    <a:pt x="853866" y="1020235"/>
                    <a:pt x="848083" y="1021520"/>
                  </a:cubicBezTo>
                  <a:cubicBezTo>
                    <a:pt x="842943" y="1022805"/>
                    <a:pt x="837161" y="1019592"/>
                    <a:pt x="833306" y="1022805"/>
                  </a:cubicBezTo>
                  <a:cubicBezTo>
                    <a:pt x="832021" y="1024089"/>
                    <a:pt x="830736" y="1025375"/>
                    <a:pt x="830736" y="1027302"/>
                  </a:cubicBezTo>
                  <a:cubicBezTo>
                    <a:pt x="826239" y="1040152"/>
                    <a:pt x="833306" y="1053001"/>
                    <a:pt x="841658" y="1063924"/>
                  </a:cubicBezTo>
                  <a:cubicBezTo>
                    <a:pt x="845513" y="1069064"/>
                    <a:pt x="849368" y="1074204"/>
                    <a:pt x="848083" y="1079986"/>
                  </a:cubicBezTo>
                  <a:cubicBezTo>
                    <a:pt x="846798" y="1086411"/>
                    <a:pt x="839088" y="1089623"/>
                    <a:pt x="832021" y="1090908"/>
                  </a:cubicBezTo>
                  <a:cubicBezTo>
                    <a:pt x="824954" y="1092193"/>
                    <a:pt x="817886" y="1091551"/>
                    <a:pt x="811462" y="1094121"/>
                  </a:cubicBezTo>
                  <a:cubicBezTo>
                    <a:pt x="807607" y="1104400"/>
                    <a:pt x="817244" y="1114038"/>
                    <a:pt x="826881" y="1119820"/>
                  </a:cubicBezTo>
                  <a:cubicBezTo>
                    <a:pt x="834591" y="1124960"/>
                    <a:pt x="842943" y="1129458"/>
                    <a:pt x="851296" y="1133312"/>
                  </a:cubicBezTo>
                  <a:cubicBezTo>
                    <a:pt x="855151" y="1135240"/>
                    <a:pt x="859648" y="1137167"/>
                    <a:pt x="864145" y="1137167"/>
                  </a:cubicBezTo>
                  <a:cubicBezTo>
                    <a:pt x="872498" y="1137167"/>
                    <a:pt x="878923" y="1132028"/>
                    <a:pt x="885348" y="1126887"/>
                  </a:cubicBezTo>
                  <a:cubicBezTo>
                    <a:pt x="886633" y="1125603"/>
                    <a:pt x="888560" y="1124318"/>
                    <a:pt x="889203" y="1122390"/>
                  </a:cubicBezTo>
                  <a:cubicBezTo>
                    <a:pt x="890487" y="1117893"/>
                    <a:pt x="884705" y="1115323"/>
                    <a:pt x="879565" y="1114680"/>
                  </a:cubicBezTo>
                  <a:cubicBezTo>
                    <a:pt x="875068" y="1114038"/>
                    <a:pt x="869285" y="1113395"/>
                    <a:pt x="866715" y="1109540"/>
                  </a:cubicBezTo>
                  <a:cubicBezTo>
                    <a:pt x="864145" y="1105043"/>
                    <a:pt x="868643" y="1099903"/>
                    <a:pt x="873140" y="1097333"/>
                  </a:cubicBezTo>
                  <a:cubicBezTo>
                    <a:pt x="887275" y="1088981"/>
                    <a:pt x="905907" y="1088338"/>
                    <a:pt x="921327" y="1094763"/>
                  </a:cubicBezTo>
                  <a:cubicBezTo>
                    <a:pt x="922612" y="1095406"/>
                    <a:pt x="924539" y="1096048"/>
                    <a:pt x="925824" y="1097333"/>
                  </a:cubicBezTo>
                  <a:cubicBezTo>
                    <a:pt x="933534" y="1088981"/>
                    <a:pt x="945099" y="1083841"/>
                    <a:pt x="956664" y="1082556"/>
                  </a:cubicBezTo>
                  <a:cubicBezTo>
                    <a:pt x="965016" y="1081913"/>
                    <a:pt x="975296" y="1082556"/>
                    <a:pt x="980436" y="1076774"/>
                  </a:cubicBezTo>
                  <a:cubicBezTo>
                    <a:pt x="982363" y="1074204"/>
                    <a:pt x="983648" y="1070991"/>
                    <a:pt x="985576" y="1068421"/>
                  </a:cubicBezTo>
                  <a:cubicBezTo>
                    <a:pt x="990073" y="1063281"/>
                    <a:pt x="998425" y="1062639"/>
                    <a:pt x="1005493" y="1060711"/>
                  </a:cubicBezTo>
                  <a:cubicBezTo>
                    <a:pt x="1016415" y="1056856"/>
                    <a:pt x="1024125" y="1047862"/>
                    <a:pt x="1033120" y="1040794"/>
                  </a:cubicBezTo>
                  <a:cubicBezTo>
                    <a:pt x="1049824" y="1027944"/>
                    <a:pt x="1071669" y="1023447"/>
                    <a:pt x="1090944" y="1015095"/>
                  </a:cubicBezTo>
                  <a:cubicBezTo>
                    <a:pt x="1100581" y="1010597"/>
                    <a:pt x="1110218" y="1005457"/>
                    <a:pt x="1119213" y="1000318"/>
                  </a:cubicBezTo>
                  <a:cubicBezTo>
                    <a:pt x="1126923" y="995820"/>
                    <a:pt x="1137203" y="989395"/>
                    <a:pt x="1139773" y="981043"/>
                  </a:cubicBezTo>
                  <a:cubicBezTo>
                    <a:pt x="1140415" y="978473"/>
                    <a:pt x="1140415" y="975903"/>
                    <a:pt x="1139773" y="973333"/>
                  </a:cubicBezTo>
                  <a:cubicBezTo>
                    <a:pt x="1137203" y="960483"/>
                    <a:pt x="1127565" y="950846"/>
                    <a:pt x="1123710" y="939281"/>
                  </a:cubicBezTo>
                  <a:cubicBezTo>
                    <a:pt x="1120498" y="930286"/>
                    <a:pt x="1121783" y="920007"/>
                    <a:pt x="1117928" y="911012"/>
                  </a:cubicBezTo>
                  <a:cubicBezTo>
                    <a:pt x="1117286" y="910369"/>
                    <a:pt x="1117286" y="909084"/>
                    <a:pt x="1116643" y="908442"/>
                  </a:cubicBezTo>
                  <a:cubicBezTo>
                    <a:pt x="1114716" y="904587"/>
                    <a:pt x="1112146" y="900732"/>
                    <a:pt x="1112146" y="896877"/>
                  </a:cubicBezTo>
                  <a:cubicBezTo>
                    <a:pt x="1112788" y="889810"/>
                    <a:pt x="1119855" y="885312"/>
                    <a:pt x="1125638" y="882100"/>
                  </a:cubicBezTo>
                  <a:cubicBezTo>
                    <a:pt x="1126923" y="881457"/>
                    <a:pt x="1128850" y="880172"/>
                    <a:pt x="1129493" y="878887"/>
                  </a:cubicBezTo>
                  <a:cubicBezTo>
                    <a:pt x="1130135" y="877602"/>
                    <a:pt x="1130135" y="876318"/>
                    <a:pt x="1130135" y="875033"/>
                  </a:cubicBezTo>
                  <a:cubicBezTo>
                    <a:pt x="1130778" y="866680"/>
                    <a:pt x="1126923" y="858970"/>
                    <a:pt x="1122425" y="851903"/>
                  </a:cubicBezTo>
                  <a:cubicBezTo>
                    <a:pt x="1117928" y="844836"/>
                    <a:pt x="1112146" y="838411"/>
                    <a:pt x="1107006" y="831986"/>
                  </a:cubicBezTo>
                  <a:cubicBezTo>
                    <a:pt x="1105078" y="829416"/>
                    <a:pt x="1102508" y="825561"/>
                    <a:pt x="1102508" y="822349"/>
                  </a:cubicBezTo>
                  <a:cubicBezTo>
                    <a:pt x="1103151" y="816566"/>
                    <a:pt x="1109576" y="812711"/>
                    <a:pt x="1115358" y="810141"/>
                  </a:cubicBezTo>
                  <a:cubicBezTo>
                    <a:pt x="1126280" y="805001"/>
                    <a:pt x="1137203" y="799861"/>
                    <a:pt x="1149410" y="798577"/>
                  </a:cubicBezTo>
                  <a:cubicBezTo>
                    <a:pt x="1156477" y="797934"/>
                    <a:pt x="1164187" y="798577"/>
                    <a:pt x="1171254" y="799861"/>
                  </a:cubicBezTo>
                  <a:cubicBezTo>
                    <a:pt x="1182177" y="801147"/>
                    <a:pt x="1193741" y="802431"/>
                    <a:pt x="1204664" y="803716"/>
                  </a:cubicBezTo>
                  <a:cubicBezTo>
                    <a:pt x="1207234" y="803716"/>
                    <a:pt x="1209804" y="804359"/>
                    <a:pt x="1212374" y="803074"/>
                  </a:cubicBezTo>
                  <a:cubicBezTo>
                    <a:pt x="1214301" y="801789"/>
                    <a:pt x="1214943" y="800504"/>
                    <a:pt x="1216229" y="798577"/>
                  </a:cubicBezTo>
                  <a:cubicBezTo>
                    <a:pt x="1223938" y="783799"/>
                    <a:pt x="1231648" y="769665"/>
                    <a:pt x="1238716" y="755530"/>
                  </a:cubicBezTo>
                  <a:cubicBezTo>
                    <a:pt x="1239358" y="754245"/>
                    <a:pt x="1240001" y="752960"/>
                    <a:pt x="1240001" y="751675"/>
                  </a:cubicBezTo>
                  <a:cubicBezTo>
                    <a:pt x="1240643" y="747178"/>
                    <a:pt x="1235503" y="744608"/>
                    <a:pt x="1231006" y="743323"/>
                  </a:cubicBezTo>
                  <a:cubicBezTo>
                    <a:pt x="1234861" y="727903"/>
                    <a:pt x="1236146" y="711841"/>
                    <a:pt x="1233576" y="696421"/>
                  </a:cubicBezTo>
                  <a:cubicBezTo>
                    <a:pt x="1232291" y="688711"/>
                    <a:pt x="1230363" y="681001"/>
                    <a:pt x="1228436" y="673291"/>
                  </a:cubicBezTo>
                  <a:cubicBezTo>
                    <a:pt x="1221368" y="647592"/>
                    <a:pt x="1214943" y="621250"/>
                    <a:pt x="1207876" y="595551"/>
                  </a:cubicBezTo>
                  <a:cubicBezTo>
                    <a:pt x="1201451" y="572421"/>
                    <a:pt x="1199524" y="547364"/>
                    <a:pt x="1180892" y="529374"/>
                  </a:cubicBezTo>
                  <a:cubicBezTo>
                    <a:pt x="1173824" y="522307"/>
                    <a:pt x="1164830" y="517167"/>
                    <a:pt x="1159047" y="509457"/>
                  </a:cubicBezTo>
                  <a:cubicBezTo>
                    <a:pt x="1151337" y="499177"/>
                    <a:pt x="1150695" y="485043"/>
                    <a:pt x="1151980" y="472193"/>
                  </a:cubicBezTo>
                  <a:cubicBezTo>
                    <a:pt x="1152622" y="465768"/>
                    <a:pt x="1154550" y="458058"/>
                    <a:pt x="1160332" y="454203"/>
                  </a:cubicBezTo>
                  <a:cubicBezTo>
                    <a:pt x="1166115" y="450348"/>
                    <a:pt x="1174467" y="451633"/>
                    <a:pt x="1181534" y="452276"/>
                  </a:cubicBezTo>
                  <a:cubicBezTo>
                    <a:pt x="1188602" y="453561"/>
                    <a:pt x="1196954" y="454203"/>
                    <a:pt x="1202736" y="449706"/>
                  </a:cubicBezTo>
                  <a:cubicBezTo>
                    <a:pt x="1207234" y="445851"/>
                    <a:pt x="1207876" y="440711"/>
                    <a:pt x="1209161" y="434929"/>
                  </a:cubicBezTo>
                  <a:cubicBezTo>
                    <a:pt x="1209804" y="432359"/>
                    <a:pt x="1209804" y="429789"/>
                    <a:pt x="1210446" y="426576"/>
                  </a:cubicBezTo>
                  <a:cubicBezTo>
                    <a:pt x="1210446" y="425291"/>
                    <a:pt x="1211089" y="424006"/>
                    <a:pt x="1211731" y="423364"/>
                  </a:cubicBezTo>
                  <a:cubicBezTo>
                    <a:pt x="1212374" y="422721"/>
                    <a:pt x="1213659" y="422079"/>
                    <a:pt x="1214943" y="422079"/>
                  </a:cubicBezTo>
                  <a:cubicBezTo>
                    <a:pt x="1226508" y="418867"/>
                    <a:pt x="1240001" y="420794"/>
                    <a:pt x="1250280" y="427219"/>
                  </a:cubicBezTo>
                  <a:cubicBezTo>
                    <a:pt x="1252850" y="428504"/>
                    <a:pt x="1254778" y="430431"/>
                    <a:pt x="1257348" y="431716"/>
                  </a:cubicBezTo>
                  <a:cubicBezTo>
                    <a:pt x="1259275" y="432359"/>
                    <a:pt x="1261845" y="433001"/>
                    <a:pt x="1263773" y="433644"/>
                  </a:cubicBezTo>
                  <a:cubicBezTo>
                    <a:pt x="1272125" y="434929"/>
                    <a:pt x="1281762" y="436856"/>
                    <a:pt x="1290757" y="436214"/>
                  </a:cubicBezTo>
                  <a:cubicBezTo>
                    <a:pt x="1299109" y="435571"/>
                    <a:pt x="1307462" y="433001"/>
                    <a:pt x="1315172" y="431074"/>
                  </a:cubicBezTo>
                  <a:cubicBezTo>
                    <a:pt x="1322881" y="429789"/>
                    <a:pt x="1353721" y="403447"/>
                    <a:pt x="1368498" y="380960"/>
                  </a:cubicBezTo>
                  <a:cubicBezTo>
                    <a:pt x="1372353" y="374535"/>
                    <a:pt x="1377493" y="366825"/>
                    <a:pt x="1382633" y="359758"/>
                  </a:cubicBezTo>
                  <a:cubicBezTo>
                    <a:pt x="1378135" y="358473"/>
                    <a:pt x="1373638" y="360400"/>
                    <a:pt x="1369783" y="360400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 58">
              <a:extLst>
                <a:ext uri="{FF2B5EF4-FFF2-40B4-BE49-F238E27FC236}">
                  <a16:creationId xmlns:a16="http://schemas.microsoft.com/office/drawing/2014/main" id="{DB2ECFBE-D910-F68C-F2F2-03DA102E9E40}"/>
                </a:ext>
              </a:extLst>
            </p:cNvPr>
            <p:cNvSpPr/>
            <p:nvPr/>
          </p:nvSpPr>
          <p:spPr>
            <a:xfrm>
              <a:off x="3109736" y="3068579"/>
              <a:ext cx="746460" cy="916686"/>
            </a:xfrm>
            <a:custGeom>
              <a:avLst/>
              <a:gdLst>
                <a:gd name="connsiteX0" fmla="*/ 742073 w 746460"/>
                <a:gd name="connsiteY0" fmla="*/ 572456 h 916686"/>
                <a:gd name="connsiteX1" fmla="*/ 711876 w 746460"/>
                <a:gd name="connsiteY1" fmla="*/ 597513 h 916686"/>
                <a:gd name="connsiteX2" fmla="*/ 681037 w 746460"/>
                <a:gd name="connsiteY2" fmla="*/ 589161 h 916686"/>
                <a:gd name="connsiteX3" fmla="*/ 654695 w 746460"/>
                <a:gd name="connsiteY3" fmla="*/ 589161 h 916686"/>
                <a:gd name="connsiteX4" fmla="*/ 603938 w 746460"/>
                <a:gd name="connsiteY4" fmla="*/ 614860 h 916686"/>
                <a:gd name="connsiteX5" fmla="*/ 585306 w 746460"/>
                <a:gd name="connsiteY5" fmla="*/ 618073 h 916686"/>
                <a:gd name="connsiteX6" fmla="*/ 555752 w 746460"/>
                <a:gd name="connsiteY6" fmla="*/ 614860 h 916686"/>
                <a:gd name="connsiteX7" fmla="*/ 537762 w 746460"/>
                <a:gd name="connsiteY7" fmla="*/ 632208 h 916686"/>
                <a:gd name="connsiteX8" fmla="*/ 504353 w 746460"/>
                <a:gd name="connsiteY8" fmla="*/ 641202 h 916686"/>
                <a:gd name="connsiteX9" fmla="*/ 480580 w 746460"/>
                <a:gd name="connsiteY9" fmla="*/ 641202 h 916686"/>
                <a:gd name="connsiteX10" fmla="*/ 467088 w 746460"/>
                <a:gd name="connsiteY10" fmla="*/ 692601 h 916686"/>
                <a:gd name="connsiteX11" fmla="*/ 460663 w 746460"/>
                <a:gd name="connsiteY11" fmla="*/ 732436 h 916686"/>
                <a:gd name="connsiteX12" fmla="*/ 460021 w 746460"/>
                <a:gd name="connsiteY12" fmla="*/ 749783 h 916686"/>
                <a:gd name="connsiteX13" fmla="*/ 467088 w 746460"/>
                <a:gd name="connsiteY13" fmla="*/ 767772 h 916686"/>
                <a:gd name="connsiteX14" fmla="*/ 481865 w 746460"/>
                <a:gd name="connsiteY14" fmla="*/ 838446 h 916686"/>
                <a:gd name="connsiteX15" fmla="*/ 501783 w 746460"/>
                <a:gd name="connsiteY15" fmla="*/ 850653 h 916686"/>
                <a:gd name="connsiteX16" fmla="*/ 503067 w 746460"/>
                <a:gd name="connsiteY16" fmla="*/ 864788 h 916686"/>
                <a:gd name="connsiteX17" fmla="*/ 513990 w 746460"/>
                <a:gd name="connsiteY17" fmla="*/ 874425 h 916686"/>
                <a:gd name="connsiteX18" fmla="*/ 511420 w 746460"/>
                <a:gd name="connsiteY18" fmla="*/ 887275 h 916686"/>
                <a:gd name="connsiteX19" fmla="*/ 503710 w 746460"/>
                <a:gd name="connsiteY19" fmla="*/ 905265 h 916686"/>
                <a:gd name="connsiteX20" fmla="*/ 488933 w 746460"/>
                <a:gd name="connsiteY20" fmla="*/ 915544 h 916686"/>
                <a:gd name="connsiteX21" fmla="*/ 467088 w 746460"/>
                <a:gd name="connsiteY21" fmla="*/ 915544 h 916686"/>
                <a:gd name="connsiteX22" fmla="*/ 436249 w 746460"/>
                <a:gd name="connsiteY22" fmla="*/ 912975 h 916686"/>
                <a:gd name="connsiteX23" fmla="*/ 418259 w 746460"/>
                <a:gd name="connsiteY23" fmla="*/ 892415 h 916686"/>
                <a:gd name="connsiteX24" fmla="*/ 397700 w 746460"/>
                <a:gd name="connsiteY24" fmla="*/ 884705 h 916686"/>
                <a:gd name="connsiteX25" fmla="*/ 378425 w 746460"/>
                <a:gd name="connsiteY25" fmla="*/ 869285 h 916686"/>
                <a:gd name="connsiteX26" fmla="*/ 357865 w 746460"/>
                <a:gd name="connsiteY26" fmla="*/ 876995 h 916686"/>
                <a:gd name="connsiteX27" fmla="*/ 339876 w 746460"/>
                <a:gd name="connsiteY27" fmla="*/ 857721 h 916686"/>
                <a:gd name="connsiteX28" fmla="*/ 310964 w 746460"/>
                <a:gd name="connsiteY28" fmla="*/ 848726 h 916686"/>
                <a:gd name="connsiteX29" fmla="*/ 283979 w 746460"/>
                <a:gd name="connsiteY29" fmla="*/ 856436 h 916686"/>
                <a:gd name="connsiteX30" fmla="*/ 259565 w 746460"/>
                <a:gd name="connsiteY30" fmla="*/ 848726 h 916686"/>
                <a:gd name="connsiteX31" fmla="*/ 217803 w 746460"/>
                <a:gd name="connsiteY31" fmla="*/ 788975 h 916686"/>
                <a:gd name="connsiteX32" fmla="*/ 215876 w 746460"/>
                <a:gd name="connsiteY32" fmla="*/ 770985 h 916686"/>
                <a:gd name="connsiteX33" fmla="*/ 215876 w 746460"/>
                <a:gd name="connsiteY33" fmla="*/ 754280 h 916686"/>
                <a:gd name="connsiteX34" fmla="*/ 208808 w 746460"/>
                <a:gd name="connsiteY34" fmla="*/ 735648 h 916686"/>
                <a:gd name="connsiteX35" fmla="*/ 169617 w 746460"/>
                <a:gd name="connsiteY35" fmla="*/ 731793 h 916686"/>
                <a:gd name="connsiteX36" fmla="*/ 149057 w 746460"/>
                <a:gd name="connsiteY36" fmla="*/ 724726 h 916686"/>
                <a:gd name="connsiteX37" fmla="*/ 118860 w 746460"/>
                <a:gd name="connsiteY37" fmla="*/ 708021 h 916686"/>
                <a:gd name="connsiteX38" fmla="*/ 114363 w 746460"/>
                <a:gd name="connsiteY38" fmla="*/ 691316 h 916686"/>
                <a:gd name="connsiteX39" fmla="*/ 106010 w 746460"/>
                <a:gd name="connsiteY39" fmla="*/ 659192 h 916686"/>
                <a:gd name="connsiteX40" fmla="*/ 110508 w 746460"/>
                <a:gd name="connsiteY40" fmla="*/ 650197 h 916686"/>
                <a:gd name="connsiteX41" fmla="*/ 116933 w 746460"/>
                <a:gd name="connsiteY41" fmla="*/ 646342 h 916686"/>
                <a:gd name="connsiteX42" fmla="*/ 113078 w 746460"/>
                <a:gd name="connsiteY42" fmla="*/ 639917 h 916686"/>
                <a:gd name="connsiteX43" fmla="*/ 111793 w 746460"/>
                <a:gd name="connsiteY43" fmla="*/ 638632 h 916686"/>
                <a:gd name="connsiteX44" fmla="*/ 108580 w 746460"/>
                <a:gd name="connsiteY44" fmla="*/ 636705 h 916686"/>
                <a:gd name="connsiteX45" fmla="*/ 97016 w 746460"/>
                <a:gd name="connsiteY45" fmla="*/ 628995 h 916686"/>
                <a:gd name="connsiteX46" fmla="*/ 86736 w 746460"/>
                <a:gd name="connsiteY46" fmla="*/ 621928 h 916686"/>
                <a:gd name="connsiteX47" fmla="*/ 53326 w 746460"/>
                <a:gd name="connsiteY47" fmla="*/ 621928 h 916686"/>
                <a:gd name="connsiteX48" fmla="*/ 37264 w 746460"/>
                <a:gd name="connsiteY48" fmla="*/ 621285 h 916686"/>
                <a:gd name="connsiteX49" fmla="*/ 37264 w 746460"/>
                <a:gd name="connsiteY49" fmla="*/ 613575 h 916686"/>
                <a:gd name="connsiteX50" fmla="*/ 21202 w 746460"/>
                <a:gd name="connsiteY50" fmla="*/ 579524 h 916686"/>
                <a:gd name="connsiteX51" fmla="*/ 15420 w 746460"/>
                <a:gd name="connsiteY51" fmla="*/ 551254 h 916686"/>
                <a:gd name="connsiteX52" fmla="*/ 14135 w 746460"/>
                <a:gd name="connsiteY52" fmla="*/ 548684 h 916686"/>
                <a:gd name="connsiteX53" fmla="*/ 9637 w 746460"/>
                <a:gd name="connsiteY53" fmla="*/ 537119 h 916686"/>
                <a:gd name="connsiteX54" fmla="*/ 23130 w 746460"/>
                <a:gd name="connsiteY54" fmla="*/ 522342 h 916686"/>
                <a:gd name="connsiteX55" fmla="*/ 26984 w 746460"/>
                <a:gd name="connsiteY55" fmla="*/ 519130 h 916686"/>
                <a:gd name="connsiteX56" fmla="*/ 27627 w 746460"/>
                <a:gd name="connsiteY56" fmla="*/ 515275 h 916686"/>
                <a:gd name="connsiteX57" fmla="*/ 19917 w 746460"/>
                <a:gd name="connsiteY57" fmla="*/ 492145 h 916686"/>
                <a:gd name="connsiteX58" fmla="*/ 4497 w 746460"/>
                <a:gd name="connsiteY58" fmla="*/ 472228 h 916686"/>
                <a:gd name="connsiteX59" fmla="*/ 0 w 746460"/>
                <a:gd name="connsiteY59" fmla="*/ 462591 h 916686"/>
                <a:gd name="connsiteX60" fmla="*/ 12850 w 746460"/>
                <a:gd name="connsiteY60" fmla="*/ 450384 h 916686"/>
                <a:gd name="connsiteX61" fmla="*/ 46901 w 746460"/>
                <a:gd name="connsiteY61" fmla="*/ 438819 h 916686"/>
                <a:gd name="connsiteX62" fmla="*/ 68746 w 746460"/>
                <a:gd name="connsiteY62" fmla="*/ 440104 h 916686"/>
                <a:gd name="connsiteX63" fmla="*/ 102155 w 746460"/>
                <a:gd name="connsiteY63" fmla="*/ 443959 h 916686"/>
                <a:gd name="connsiteX64" fmla="*/ 109865 w 746460"/>
                <a:gd name="connsiteY64" fmla="*/ 443316 h 916686"/>
                <a:gd name="connsiteX65" fmla="*/ 113720 w 746460"/>
                <a:gd name="connsiteY65" fmla="*/ 438819 h 916686"/>
                <a:gd name="connsiteX66" fmla="*/ 136207 w 746460"/>
                <a:gd name="connsiteY66" fmla="*/ 395772 h 916686"/>
                <a:gd name="connsiteX67" fmla="*/ 137492 w 746460"/>
                <a:gd name="connsiteY67" fmla="*/ 391917 h 916686"/>
                <a:gd name="connsiteX68" fmla="*/ 128497 w 746460"/>
                <a:gd name="connsiteY68" fmla="*/ 383565 h 916686"/>
                <a:gd name="connsiteX69" fmla="*/ 131067 w 746460"/>
                <a:gd name="connsiteY69" fmla="*/ 336663 h 916686"/>
                <a:gd name="connsiteX70" fmla="*/ 125928 w 746460"/>
                <a:gd name="connsiteY70" fmla="*/ 313534 h 916686"/>
                <a:gd name="connsiteX71" fmla="*/ 105368 w 746460"/>
                <a:gd name="connsiteY71" fmla="*/ 235793 h 916686"/>
                <a:gd name="connsiteX72" fmla="*/ 78383 w 746460"/>
                <a:gd name="connsiteY72" fmla="*/ 169617 h 916686"/>
                <a:gd name="connsiteX73" fmla="*/ 56539 w 746460"/>
                <a:gd name="connsiteY73" fmla="*/ 149700 h 916686"/>
                <a:gd name="connsiteX74" fmla="*/ 49471 w 746460"/>
                <a:gd name="connsiteY74" fmla="*/ 112435 h 916686"/>
                <a:gd name="connsiteX75" fmla="*/ 57824 w 746460"/>
                <a:gd name="connsiteY75" fmla="*/ 94446 h 916686"/>
                <a:gd name="connsiteX76" fmla="*/ 79026 w 746460"/>
                <a:gd name="connsiteY76" fmla="*/ 92518 h 916686"/>
                <a:gd name="connsiteX77" fmla="*/ 100228 w 746460"/>
                <a:gd name="connsiteY77" fmla="*/ 89948 h 916686"/>
                <a:gd name="connsiteX78" fmla="*/ 106653 w 746460"/>
                <a:gd name="connsiteY78" fmla="*/ 75171 h 916686"/>
                <a:gd name="connsiteX79" fmla="*/ 107938 w 746460"/>
                <a:gd name="connsiteY79" fmla="*/ 66819 h 916686"/>
                <a:gd name="connsiteX80" fmla="*/ 109223 w 746460"/>
                <a:gd name="connsiteY80" fmla="*/ 63606 h 916686"/>
                <a:gd name="connsiteX81" fmla="*/ 112435 w 746460"/>
                <a:gd name="connsiteY81" fmla="*/ 62321 h 916686"/>
                <a:gd name="connsiteX82" fmla="*/ 147772 w 746460"/>
                <a:gd name="connsiteY82" fmla="*/ 67461 h 916686"/>
                <a:gd name="connsiteX83" fmla="*/ 154839 w 746460"/>
                <a:gd name="connsiteY83" fmla="*/ 71959 h 916686"/>
                <a:gd name="connsiteX84" fmla="*/ 161264 w 746460"/>
                <a:gd name="connsiteY84" fmla="*/ 73886 h 916686"/>
                <a:gd name="connsiteX85" fmla="*/ 188249 w 746460"/>
                <a:gd name="connsiteY85" fmla="*/ 76456 h 916686"/>
                <a:gd name="connsiteX86" fmla="*/ 212663 w 746460"/>
                <a:gd name="connsiteY86" fmla="*/ 71316 h 916686"/>
                <a:gd name="connsiteX87" fmla="*/ 265990 w 746460"/>
                <a:gd name="connsiteY87" fmla="*/ 21202 h 916686"/>
                <a:gd name="connsiteX88" fmla="*/ 280125 w 746460"/>
                <a:gd name="connsiteY88" fmla="*/ 0 h 916686"/>
                <a:gd name="connsiteX89" fmla="*/ 285907 w 746460"/>
                <a:gd name="connsiteY89" fmla="*/ 643 h 916686"/>
                <a:gd name="connsiteX90" fmla="*/ 294902 w 746460"/>
                <a:gd name="connsiteY90" fmla="*/ 11565 h 916686"/>
                <a:gd name="connsiteX91" fmla="*/ 319959 w 746460"/>
                <a:gd name="connsiteY91" fmla="*/ 32124 h 916686"/>
                <a:gd name="connsiteX92" fmla="*/ 336663 w 746460"/>
                <a:gd name="connsiteY92" fmla="*/ 31482 h 916686"/>
                <a:gd name="connsiteX93" fmla="*/ 347586 w 746460"/>
                <a:gd name="connsiteY93" fmla="*/ 41119 h 916686"/>
                <a:gd name="connsiteX94" fmla="*/ 342446 w 746460"/>
                <a:gd name="connsiteY94" fmla="*/ 52684 h 916686"/>
                <a:gd name="connsiteX95" fmla="*/ 350798 w 746460"/>
                <a:gd name="connsiteY95" fmla="*/ 60394 h 916686"/>
                <a:gd name="connsiteX96" fmla="*/ 400270 w 746460"/>
                <a:gd name="connsiteY96" fmla="*/ 65534 h 916686"/>
                <a:gd name="connsiteX97" fmla="*/ 409264 w 746460"/>
                <a:gd name="connsiteY97" fmla="*/ 61679 h 916686"/>
                <a:gd name="connsiteX98" fmla="*/ 416974 w 746460"/>
                <a:gd name="connsiteY98" fmla="*/ 62321 h 916686"/>
                <a:gd name="connsiteX99" fmla="*/ 441389 w 746460"/>
                <a:gd name="connsiteY99" fmla="*/ 69389 h 916686"/>
                <a:gd name="connsiteX100" fmla="*/ 456809 w 746460"/>
                <a:gd name="connsiteY100" fmla="*/ 89306 h 916686"/>
                <a:gd name="connsiteX101" fmla="*/ 458093 w 746460"/>
                <a:gd name="connsiteY101" fmla="*/ 122715 h 916686"/>
                <a:gd name="connsiteX102" fmla="*/ 457451 w 746460"/>
                <a:gd name="connsiteY102" fmla="*/ 138777 h 916686"/>
                <a:gd name="connsiteX103" fmla="*/ 452311 w 746460"/>
                <a:gd name="connsiteY103" fmla="*/ 163834 h 916686"/>
                <a:gd name="connsiteX104" fmla="*/ 452954 w 746460"/>
                <a:gd name="connsiteY104" fmla="*/ 179896 h 916686"/>
                <a:gd name="connsiteX105" fmla="*/ 435606 w 746460"/>
                <a:gd name="connsiteY105" fmla="*/ 212663 h 916686"/>
                <a:gd name="connsiteX106" fmla="*/ 437534 w 746460"/>
                <a:gd name="connsiteY106" fmla="*/ 219088 h 916686"/>
                <a:gd name="connsiteX107" fmla="*/ 447814 w 746460"/>
                <a:gd name="connsiteY107" fmla="*/ 222301 h 916686"/>
                <a:gd name="connsiteX108" fmla="*/ 470943 w 746460"/>
                <a:gd name="connsiteY108" fmla="*/ 222301 h 916686"/>
                <a:gd name="connsiteX109" fmla="*/ 484435 w 746460"/>
                <a:gd name="connsiteY109" fmla="*/ 228726 h 916686"/>
                <a:gd name="connsiteX110" fmla="*/ 481223 w 746460"/>
                <a:gd name="connsiteY110" fmla="*/ 235793 h 916686"/>
                <a:gd name="connsiteX111" fmla="*/ 471586 w 746460"/>
                <a:gd name="connsiteY111" fmla="*/ 259565 h 916686"/>
                <a:gd name="connsiteX112" fmla="*/ 470943 w 746460"/>
                <a:gd name="connsiteY112" fmla="*/ 284622 h 916686"/>
                <a:gd name="connsiteX113" fmla="*/ 467088 w 746460"/>
                <a:gd name="connsiteY113" fmla="*/ 307109 h 916686"/>
                <a:gd name="connsiteX114" fmla="*/ 488933 w 746460"/>
                <a:gd name="connsiteY114" fmla="*/ 407979 h 916686"/>
                <a:gd name="connsiteX115" fmla="*/ 573741 w 746460"/>
                <a:gd name="connsiteY115" fmla="*/ 458093 h 916686"/>
                <a:gd name="connsiteX116" fmla="*/ 664332 w 746460"/>
                <a:gd name="connsiteY116" fmla="*/ 478011 h 916686"/>
                <a:gd name="connsiteX117" fmla="*/ 717658 w 746460"/>
                <a:gd name="connsiteY117" fmla="*/ 487648 h 916686"/>
                <a:gd name="connsiteX118" fmla="*/ 733720 w 746460"/>
                <a:gd name="connsiteY118" fmla="*/ 539047 h 916686"/>
                <a:gd name="connsiteX119" fmla="*/ 742073 w 746460"/>
                <a:gd name="connsiteY119" fmla="*/ 572456 h 91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746460" h="916686">
                  <a:moveTo>
                    <a:pt x="742073" y="572456"/>
                  </a:moveTo>
                  <a:cubicBezTo>
                    <a:pt x="731151" y="584021"/>
                    <a:pt x="716373" y="594943"/>
                    <a:pt x="711876" y="597513"/>
                  </a:cubicBezTo>
                  <a:cubicBezTo>
                    <a:pt x="701596" y="594943"/>
                    <a:pt x="691316" y="591731"/>
                    <a:pt x="681037" y="589161"/>
                  </a:cubicBezTo>
                  <a:cubicBezTo>
                    <a:pt x="668187" y="585949"/>
                    <a:pt x="668829" y="589161"/>
                    <a:pt x="654695" y="589161"/>
                  </a:cubicBezTo>
                  <a:cubicBezTo>
                    <a:pt x="640560" y="589161"/>
                    <a:pt x="605223" y="616145"/>
                    <a:pt x="603938" y="614860"/>
                  </a:cubicBezTo>
                  <a:cubicBezTo>
                    <a:pt x="602653" y="613575"/>
                    <a:pt x="591731" y="618073"/>
                    <a:pt x="585306" y="618073"/>
                  </a:cubicBezTo>
                  <a:cubicBezTo>
                    <a:pt x="578881" y="618073"/>
                    <a:pt x="566674" y="614860"/>
                    <a:pt x="555752" y="614860"/>
                  </a:cubicBezTo>
                  <a:cubicBezTo>
                    <a:pt x="545472" y="614860"/>
                    <a:pt x="544829" y="623213"/>
                    <a:pt x="537762" y="632208"/>
                  </a:cubicBezTo>
                  <a:cubicBezTo>
                    <a:pt x="531337" y="640560"/>
                    <a:pt x="519130" y="639917"/>
                    <a:pt x="504353" y="641202"/>
                  </a:cubicBezTo>
                  <a:cubicBezTo>
                    <a:pt x="489575" y="642487"/>
                    <a:pt x="489575" y="634778"/>
                    <a:pt x="480580" y="641202"/>
                  </a:cubicBezTo>
                  <a:cubicBezTo>
                    <a:pt x="471586" y="647627"/>
                    <a:pt x="467088" y="677824"/>
                    <a:pt x="467088" y="692601"/>
                  </a:cubicBezTo>
                  <a:cubicBezTo>
                    <a:pt x="467088" y="707379"/>
                    <a:pt x="465803" y="720871"/>
                    <a:pt x="460663" y="732436"/>
                  </a:cubicBezTo>
                  <a:cubicBezTo>
                    <a:pt x="457451" y="738860"/>
                    <a:pt x="458093" y="744000"/>
                    <a:pt x="460021" y="749783"/>
                  </a:cubicBezTo>
                  <a:cubicBezTo>
                    <a:pt x="461306" y="754923"/>
                    <a:pt x="464518" y="760063"/>
                    <a:pt x="467088" y="767772"/>
                  </a:cubicBezTo>
                  <a:cubicBezTo>
                    <a:pt x="473513" y="783192"/>
                    <a:pt x="477368" y="824311"/>
                    <a:pt x="481865" y="838446"/>
                  </a:cubicBezTo>
                  <a:cubicBezTo>
                    <a:pt x="484435" y="845513"/>
                    <a:pt x="492145" y="848726"/>
                    <a:pt x="501783" y="850653"/>
                  </a:cubicBezTo>
                  <a:cubicBezTo>
                    <a:pt x="501783" y="857078"/>
                    <a:pt x="502425" y="861576"/>
                    <a:pt x="503067" y="864788"/>
                  </a:cubicBezTo>
                  <a:cubicBezTo>
                    <a:pt x="503710" y="868643"/>
                    <a:pt x="512062" y="871855"/>
                    <a:pt x="513990" y="874425"/>
                  </a:cubicBezTo>
                  <a:cubicBezTo>
                    <a:pt x="516560" y="876353"/>
                    <a:pt x="515275" y="882778"/>
                    <a:pt x="511420" y="887275"/>
                  </a:cubicBezTo>
                  <a:cubicBezTo>
                    <a:pt x="507565" y="891773"/>
                    <a:pt x="503710" y="897555"/>
                    <a:pt x="503710" y="905265"/>
                  </a:cubicBezTo>
                  <a:cubicBezTo>
                    <a:pt x="503710" y="912975"/>
                    <a:pt x="494073" y="915544"/>
                    <a:pt x="488933" y="915544"/>
                  </a:cubicBezTo>
                  <a:cubicBezTo>
                    <a:pt x="483150" y="915544"/>
                    <a:pt x="474798" y="918114"/>
                    <a:pt x="467088" y="915544"/>
                  </a:cubicBezTo>
                  <a:cubicBezTo>
                    <a:pt x="459378" y="912975"/>
                    <a:pt x="446529" y="914260"/>
                    <a:pt x="436249" y="912975"/>
                  </a:cubicBezTo>
                  <a:cubicBezTo>
                    <a:pt x="425969" y="912332"/>
                    <a:pt x="422114" y="897555"/>
                    <a:pt x="418259" y="892415"/>
                  </a:cubicBezTo>
                  <a:cubicBezTo>
                    <a:pt x="414404" y="887275"/>
                    <a:pt x="397700" y="884705"/>
                    <a:pt x="397700" y="884705"/>
                  </a:cubicBezTo>
                  <a:cubicBezTo>
                    <a:pt x="397700" y="884705"/>
                    <a:pt x="382922" y="869928"/>
                    <a:pt x="378425" y="869285"/>
                  </a:cubicBezTo>
                  <a:cubicBezTo>
                    <a:pt x="373928" y="868643"/>
                    <a:pt x="367503" y="877638"/>
                    <a:pt x="357865" y="876995"/>
                  </a:cubicBezTo>
                  <a:cubicBezTo>
                    <a:pt x="348228" y="876353"/>
                    <a:pt x="343731" y="861576"/>
                    <a:pt x="339876" y="857721"/>
                  </a:cubicBezTo>
                  <a:cubicBezTo>
                    <a:pt x="336021" y="853866"/>
                    <a:pt x="319959" y="848726"/>
                    <a:pt x="310964" y="848726"/>
                  </a:cubicBezTo>
                  <a:cubicBezTo>
                    <a:pt x="301969" y="848726"/>
                    <a:pt x="288477" y="853223"/>
                    <a:pt x="283979" y="856436"/>
                  </a:cubicBezTo>
                  <a:cubicBezTo>
                    <a:pt x="278839" y="860290"/>
                    <a:pt x="271130" y="856436"/>
                    <a:pt x="259565" y="848726"/>
                  </a:cubicBezTo>
                  <a:cubicBezTo>
                    <a:pt x="248000" y="841016"/>
                    <a:pt x="222301" y="794114"/>
                    <a:pt x="217803" y="788975"/>
                  </a:cubicBezTo>
                  <a:cubicBezTo>
                    <a:pt x="213306" y="783835"/>
                    <a:pt x="212663" y="774197"/>
                    <a:pt x="215876" y="770985"/>
                  </a:cubicBezTo>
                  <a:cubicBezTo>
                    <a:pt x="219088" y="767130"/>
                    <a:pt x="217803" y="757493"/>
                    <a:pt x="215876" y="754280"/>
                  </a:cubicBezTo>
                  <a:cubicBezTo>
                    <a:pt x="213948" y="751068"/>
                    <a:pt x="210093" y="735648"/>
                    <a:pt x="208808" y="735648"/>
                  </a:cubicBezTo>
                  <a:cubicBezTo>
                    <a:pt x="206881" y="735648"/>
                    <a:pt x="183109" y="735648"/>
                    <a:pt x="169617" y="731793"/>
                  </a:cubicBezTo>
                  <a:cubicBezTo>
                    <a:pt x="156124" y="727296"/>
                    <a:pt x="157409" y="726653"/>
                    <a:pt x="149057" y="724726"/>
                  </a:cubicBezTo>
                  <a:cubicBezTo>
                    <a:pt x="140705" y="723441"/>
                    <a:pt x="125928" y="717658"/>
                    <a:pt x="118860" y="708021"/>
                  </a:cubicBezTo>
                  <a:cubicBezTo>
                    <a:pt x="115648" y="702881"/>
                    <a:pt x="115005" y="697099"/>
                    <a:pt x="114363" y="691316"/>
                  </a:cubicBezTo>
                  <a:cubicBezTo>
                    <a:pt x="113078" y="680394"/>
                    <a:pt x="106653" y="670114"/>
                    <a:pt x="106010" y="659192"/>
                  </a:cubicBezTo>
                  <a:cubicBezTo>
                    <a:pt x="105368" y="655337"/>
                    <a:pt x="106653" y="652767"/>
                    <a:pt x="110508" y="650197"/>
                  </a:cubicBezTo>
                  <a:cubicBezTo>
                    <a:pt x="112435" y="648912"/>
                    <a:pt x="116290" y="648270"/>
                    <a:pt x="116933" y="646342"/>
                  </a:cubicBezTo>
                  <a:cubicBezTo>
                    <a:pt x="117575" y="643772"/>
                    <a:pt x="114363" y="641202"/>
                    <a:pt x="113078" y="639917"/>
                  </a:cubicBezTo>
                  <a:cubicBezTo>
                    <a:pt x="112435" y="639275"/>
                    <a:pt x="112435" y="639275"/>
                    <a:pt x="111793" y="638632"/>
                  </a:cubicBezTo>
                  <a:cubicBezTo>
                    <a:pt x="111150" y="637990"/>
                    <a:pt x="109865" y="637348"/>
                    <a:pt x="108580" y="636705"/>
                  </a:cubicBezTo>
                  <a:cubicBezTo>
                    <a:pt x="104083" y="634778"/>
                    <a:pt x="100870" y="631565"/>
                    <a:pt x="97016" y="628995"/>
                  </a:cubicBezTo>
                  <a:cubicBezTo>
                    <a:pt x="93803" y="626425"/>
                    <a:pt x="89306" y="625140"/>
                    <a:pt x="86736" y="621928"/>
                  </a:cubicBezTo>
                  <a:cubicBezTo>
                    <a:pt x="77098" y="612933"/>
                    <a:pt x="59109" y="622570"/>
                    <a:pt x="53326" y="621928"/>
                  </a:cubicBezTo>
                  <a:cubicBezTo>
                    <a:pt x="50114" y="621928"/>
                    <a:pt x="43689" y="621285"/>
                    <a:pt x="37264" y="621285"/>
                  </a:cubicBezTo>
                  <a:cubicBezTo>
                    <a:pt x="37907" y="618715"/>
                    <a:pt x="37907" y="616145"/>
                    <a:pt x="37264" y="613575"/>
                  </a:cubicBezTo>
                  <a:cubicBezTo>
                    <a:pt x="34694" y="600726"/>
                    <a:pt x="25057" y="591088"/>
                    <a:pt x="21202" y="579524"/>
                  </a:cubicBezTo>
                  <a:cubicBezTo>
                    <a:pt x="17990" y="570529"/>
                    <a:pt x="19275" y="560249"/>
                    <a:pt x="15420" y="551254"/>
                  </a:cubicBezTo>
                  <a:cubicBezTo>
                    <a:pt x="14777" y="550612"/>
                    <a:pt x="14777" y="549327"/>
                    <a:pt x="14135" y="548684"/>
                  </a:cubicBezTo>
                  <a:cubicBezTo>
                    <a:pt x="12207" y="544829"/>
                    <a:pt x="9637" y="540974"/>
                    <a:pt x="9637" y="537119"/>
                  </a:cubicBezTo>
                  <a:cubicBezTo>
                    <a:pt x="10280" y="530052"/>
                    <a:pt x="17347" y="525555"/>
                    <a:pt x="23130" y="522342"/>
                  </a:cubicBezTo>
                  <a:cubicBezTo>
                    <a:pt x="24414" y="521700"/>
                    <a:pt x="26342" y="520415"/>
                    <a:pt x="26984" y="519130"/>
                  </a:cubicBezTo>
                  <a:cubicBezTo>
                    <a:pt x="27627" y="517845"/>
                    <a:pt x="27627" y="516560"/>
                    <a:pt x="27627" y="515275"/>
                  </a:cubicBezTo>
                  <a:cubicBezTo>
                    <a:pt x="28269" y="506923"/>
                    <a:pt x="24414" y="499213"/>
                    <a:pt x="19917" y="492145"/>
                  </a:cubicBezTo>
                  <a:cubicBezTo>
                    <a:pt x="15420" y="485078"/>
                    <a:pt x="9637" y="478653"/>
                    <a:pt x="4497" y="472228"/>
                  </a:cubicBezTo>
                  <a:cubicBezTo>
                    <a:pt x="2570" y="469658"/>
                    <a:pt x="0" y="465803"/>
                    <a:pt x="0" y="462591"/>
                  </a:cubicBezTo>
                  <a:cubicBezTo>
                    <a:pt x="643" y="456809"/>
                    <a:pt x="7067" y="452954"/>
                    <a:pt x="12850" y="450384"/>
                  </a:cubicBezTo>
                  <a:cubicBezTo>
                    <a:pt x="23772" y="445244"/>
                    <a:pt x="34694" y="440104"/>
                    <a:pt x="46901" y="438819"/>
                  </a:cubicBezTo>
                  <a:cubicBezTo>
                    <a:pt x="53969" y="438176"/>
                    <a:pt x="61679" y="438819"/>
                    <a:pt x="68746" y="440104"/>
                  </a:cubicBezTo>
                  <a:cubicBezTo>
                    <a:pt x="79668" y="441389"/>
                    <a:pt x="91233" y="442674"/>
                    <a:pt x="102155" y="443959"/>
                  </a:cubicBezTo>
                  <a:cubicBezTo>
                    <a:pt x="104725" y="443959"/>
                    <a:pt x="107295" y="444601"/>
                    <a:pt x="109865" y="443316"/>
                  </a:cubicBezTo>
                  <a:cubicBezTo>
                    <a:pt x="111793" y="442031"/>
                    <a:pt x="112435" y="440746"/>
                    <a:pt x="113720" y="438819"/>
                  </a:cubicBezTo>
                  <a:cubicBezTo>
                    <a:pt x="121430" y="424042"/>
                    <a:pt x="129140" y="409907"/>
                    <a:pt x="136207" y="395772"/>
                  </a:cubicBezTo>
                  <a:cubicBezTo>
                    <a:pt x="136850" y="394487"/>
                    <a:pt x="137492" y="393202"/>
                    <a:pt x="137492" y="391917"/>
                  </a:cubicBezTo>
                  <a:cubicBezTo>
                    <a:pt x="138135" y="387420"/>
                    <a:pt x="132352" y="384850"/>
                    <a:pt x="128497" y="383565"/>
                  </a:cubicBezTo>
                  <a:cubicBezTo>
                    <a:pt x="132352" y="368145"/>
                    <a:pt x="133637" y="352083"/>
                    <a:pt x="131067" y="336663"/>
                  </a:cubicBezTo>
                  <a:cubicBezTo>
                    <a:pt x="129782" y="328954"/>
                    <a:pt x="127855" y="321244"/>
                    <a:pt x="125928" y="313534"/>
                  </a:cubicBezTo>
                  <a:cubicBezTo>
                    <a:pt x="118860" y="287834"/>
                    <a:pt x="112435" y="261492"/>
                    <a:pt x="105368" y="235793"/>
                  </a:cubicBezTo>
                  <a:cubicBezTo>
                    <a:pt x="98943" y="212663"/>
                    <a:pt x="97016" y="187606"/>
                    <a:pt x="78383" y="169617"/>
                  </a:cubicBezTo>
                  <a:cubicBezTo>
                    <a:pt x="71316" y="162549"/>
                    <a:pt x="62321" y="157409"/>
                    <a:pt x="56539" y="149700"/>
                  </a:cubicBezTo>
                  <a:cubicBezTo>
                    <a:pt x="48829" y="139420"/>
                    <a:pt x="48187" y="125285"/>
                    <a:pt x="49471" y="112435"/>
                  </a:cubicBezTo>
                  <a:cubicBezTo>
                    <a:pt x="50114" y="106010"/>
                    <a:pt x="52042" y="98301"/>
                    <a:pt x="57824" y="94446"/>
                  </a:cubicBezTo>
                  <a:cubicBezTo>
                    <a:pt x="63606" y="90591"/>
                    <a:pt x="71958" y="91876"/>
                    <a:pt x="79026" y="92518"/>
                  </a:cubicBezTo>
                  <a:cubicBezTo>
                    <a:pt x="86093" y="93803"/>
                    <a:pt x="94446" y="94446"/>
                    <a:pt x="100228" y="89948"/>
                  </a:cubicBezTo>
                  <a:cubicBezTo>
                    <a:pt x="104725" y="86093"/>
                    <a:pt x="105368" y="80953"/>
                    <a:pt x="106653" y="75171"/>
                  </a:cubicBezTo>
                  <a:cubicBezTo>
                    <a:pt x="107295" y="72601"/>
                    <a:pt x="107295" y="70031"/>
                    <a:pt x="107938" y="66819"/>
                  </a:cubicBezTo>
                  <a:cubicBezTo>
                    <a:pt x="107938" y="65534"/>
                    <a:pt x="108580" y="64249"/>
                    <a:pt x="109223" y="63606"/>
                  </a:cubicBezTo>
                  <a:cubicBezTo>
                    <a:pt x="109865" y="62964"/>
                    <a:pt x="111150" y="62321"/>
                    <a:pt x="112435" y="62321"/>
                  </a:cubicBezTo>
                  <a:cubicBezTo>
                    <a:pt x="124000" y="59109"/>
                    <a:pt x="137492" y="61036"/>
                    <a:pt x="147772" y="67461"/>
                  </a:cubicBezTo>
                  <a:cubicBezTo>
                    <a:pt x="150342" y="68746"/>
                    <a:pt x="152269" y="70674"/>
                    <a:pt x="154839" y="71959"/>
                  </a:cubicBezTo>
                  <a:cubicBezTo>
                    <a:pt x="156767" y="72601"/>
                    <a:pt x="159337" y="73244"/>
                    <a:pt x="161264" y="73886"/>
                  </a:cubicBezTo>
                  <a:cubicBezTo>
                    <a:pt x="169617" y="75171"/>
                    <a:pt x="179254" y="77098"/>
                    <a:pt x="188249" y="76456"/>
                  </a:cubicBezTo>
                  <a:cubicBezTo>
                    <a:pt x="196601" y="75814"/>
                    <a:pt x="204953" y="73244"/>
                    <a:pt x="212663" y="71316"/>
                  </a:cubicBezTo>
                  <a:cubicBezTo>
                    <a:pt x="220373" y="70031"/>
                    <a:pt x="251213" y="43689"/>
                    <a:pt x="265990" y="21202"/>
                  </a:cubicBezTo>
                  <a:cubicBezTo>
                    <a:pt x="269845" y="14777"/>
                    <a:pt x="274985" y="7067"/>
                    <a:pt x="280125" y="0"/>
                  </a:cubicBezTo>
                  <a:cubicBezTo>
                    <a:pt x="282052" y="0"/>
                    <a:pt x="283979" y="0"/>
                    <a:pt x="285907" y="643"/>
                  </a:cubicBezTo>
                  <a:cubicBezTo>
                    <a:pt x="290404" y="2570"/>
                    <a:pt x="292974" y="7067"/>
                    <a:pt x="294902" y="11565"/>
                  </a:cubicBezTo>
                  <a:cubicBezTo>
                    <a:pt x="300041" y="21202"/>
                    <a:pt x="308394" y="31482"/>
                    <a:pt x="319959" y="32124"/>
                  </a:cubicBezTo>
                  <a:cubicBezTo>
                    <a:pt x="325741" y="32767"/>
                    <a:pt x="330881" y="30839"/>
                    <a:pt x="336663" y="31482"/>
                  </a:cubicBezTo>
                  <a:cubicBezTo>
                    <a:pt x="342446" y="32124"/>
                    <a:pt x="348228" y="35979"/>
                    <a:pt x="347586" y="41119"/>
                  </a:cubicBezTo>
                  <a:cubicBezTo>
                    <a:pt x="346943" y="45617"/>
                    <a:pt x="341803" y="48187"/>
                    <a:pt x="342446" y="52684"/>
                  </a:cubicBezTo>
                  <a:cubicBezTo>
                    <a:pt x="343088" y="56539"/>
                    <a:pt x="346943" y="58466"/>
                    <a:pt x="350798" y="60394"/>
                  </a:cubicBezTo>
                  <a:cubicBezTo>
                    <a:pt x="366860" y="66819"/>
                    <a:pt x="384850" y="73244"/>
                    <a:pt x="400270" y="65534"/>
                  </a:cubicBezTo>
                  <a:cubicBezTo>
                    <a:pt x="403482" y="64249"/>
                    <a:pt x="406052" y="62321"/>
                    <a:pt x="409264" y="61679"/>
                  </a:cubicBezTo>
                  <a:cubicBezTo>
                    <a:pt x="411834" y="61036"/>
                    <a:pt x="414404" y="61679"/>
                    <a:pt x="416974" y="62321"/>
                  </a:cubicBezTo>
                  <a:cubicBezTo>
                    <a:pt x="425326" y="64249"/>
                    <a:pt x="433679" y="66176"/>
                    <a:pt x="441389" y="69389"/>
                  </a:cubicBezTo>
                  <a:cubicBezTo>
                    <a:pt x="451026" y="73886"/>
                    <a:pt x="456166" y="79668"/>
                    <a:pt x="456809" y="89306"/>
                  </a:cubicBezTo>
                  <a:cubicBezTo>
                    <a:pt x="457451" y="100228"/>
                    <a:pt x="458093" y="111793"/>
                    <a:pt x="458093" y="122715"/>
                  </a:cubicBezTo>
                  <a:cubicBezTo>
                    <a:pt x="458093" y="127855"/>
                    <a:pt x="458736" y="133637"/>
                    <a:pt x="457451" y="138777"/>
                  </a:cubicBezTo>
                  <a:cubicBezTo>
                    <a:pt x="456166" y="147130"/>
                    <a:pt x="452311" y="154839"/>
                    <a:pt x="452311" y="163834"/>
                  </a:cubicBezTo>
                  <a:cubicBezTo>
                    <a:pt x="452311" y="168974"/>
                    <a:pt x="453596" y="174757"/>
                    <a:pt x="452954" y="179896"/>
                  </a:cubicBezTo>
                  <a:cubicBezTo>
                    <a:pt x="451026" y="192104"/>
                    <a:pt x="436249" y="200456"/>
                    <a:pt x="435606" y="212663"/>
                  </a:cubicBezTo>
                  <a:cubicBezTo>
                    <a:pt x="435606" y="215233"/>
                    <a:pt x="435606" y="217803"/>
                    <a:pt x="437534" y="219088"/>
                  </a:cubicBezTo>
                  <a:cubicBezTo>
                    <a:pt x="440104" y="221658"/>
                    <a:pt x="443959" y="222301"/>
                    <a:pt x="447814" y="222301"/>
                  </a:cubicBezTo>
                  <a:cubicBezTo>
                    <a:pt x="455523" y="222301"/>
                    <a:pt x="463233" y="222943"/>
                    <a:pt x="470943" y="222301"/>
                  </a:cubicBezTo>
                  <a:cubicBezTo>
                    <a:pt x="476725" y="222301"/>
                    <a:pt x="483793" y="223586"/>
                    <a:pt x="484435" y="228726"/>
                  </a:cubicBezTo>
                  <a:cubicBezTo>
                    <a:pt x="484435" y="231295"/>
                    <a:pt x="482508" y="233865"/>
                    <a:pt x="481223" y="235793"/>
                  </a:cubicBezTo>
                  <a:cubicBezTo>
                    <a:pt x="476083" y="242860"/>
                    <a:pt x="472871" y="251213"/>
                    <a:pt x="471586" y="259565"/>
                  </a:cubicBezTo>
                  <a:cubicBezTo>
                    <a:pt x="470301" y="267917"/>
                    <a:pt x="471586" y="276270"/>
                    <a:pt x="470943" y="284622"/>
                  </a:cubicBezTo>
                  <a:cubicBezTo>
                    <a:pt x="470301" y="292332"/>
                    <a:pt x="468373" y="299399"/>
                    <a:pt x="467088" y="307109"/>
                  </a:cubicBezTo>
                  <a:cubicBezTo>
                    <a:pt x="461306" y="341803"/>
                    <a:pt x="469016" y="378425"/>
                    <a:pt x="488933" y="407979"/>
                  </a:cubicBezTo>
                  <a:cubicBezTo>
                    <a:pt x="488933" y="407979"/>
                    <a:pt x="521057" y="458093"/>
                    <a:pt x="573741" y="458093"/>
                  </a:cubicBezTo>
                  <a:cubicBezTo>
                    <a:pt x="626425" y="458093"/>
                    <a:pt x="639275" y="472871"/>
                    <a:pt x="664332" y="478011"/>
                  </a:cubicBezTo>
                  <a:cubicBezTo>
                    <a:pt x="689389" y="483151"/>
                    <a:pt x="702881" y="476726"/>
                    <a:pt x="717658" y="487648"/>
                  </a:cubicBezTo>
                  <a:cubicBezTo>
                    <a:pt x="732436" y="498570"/>
                    <a:pt x="733078" y="530695"/>
                    <a:pt x="733720" y="539047"/>
                  </a:cubicBezTo>
                  <a:cubicBezTo>
                    <a:pt x="735648" y="546757"/>
                    <a:pt x="754923" y="558322"/>
                    <a:pt x="742073" y="572456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 59">
              <a:extLst>
                <a:ext uri="{FF2B5EF4-FFF2-40B4-BE49-F238E27FC236}">
                  <a16:creationId xmlns:a16="http://schemas.microsoft.com/office/drawing/2014/main" id="{A1294C6C-044F-AA58-D9A8-7C8364857A93}"/>
                </a:ext>
              </a:extLst>
            </p:cNvPr>
            <p:cNvSpPr/>
            <p:nvPr/>
          </p:nvSpPr>
          <p:spPr>
            <a:xfrm>
              <a:off x="3109736" y="3068579"/>
              <a:ext cx="746460" cy="916686"/>
            </a:xfrm>
            <a:custGeom>
              <a:avLst/>
              <a:gdLst>
                <a:gd name="connsiteX0" fmla="*/ 742073 w 746460"/>
                <a:gd name="connsiteY0" fmla="*/ 572456 h 916686"/>
                <a:gd name="connsiteX1" fmla="*/ 711876 w 746460"/>
                <a:gd name="connsiteY1" fmla="*/ 597513 h 916686"/>
                <a:gd name="connsiteX2" fmla="*/ 681037 w 746460"/>
                <a:gd name="connsiteY2" fmla="*/ 589161 h 916686"/>
                <a:gd name="connsiteX3" fmla="*/ 654695 w 746460"/>
                <a:gd name="connsiteY3" fmla="*/ 589161 h 916686"/>
                <a:gd name="connsiteX4" fmla="*/ 603938 w 746460"/>
                <a:gd name="connsiteY4" fmla="*/ 614860 h 916686"/>
                <a:gd name="connsiteX5" fmla="*/ 585306 w 746460"/>
                <a:gd name="connsiteY5" fmla="*/ 618073 h 916686"/>
                <a:gd name="connsiteX6" fmla="*/ 555752 w 746460"/>
                <a:gd name="connsiteY6" fmla="*/ 614860 h 916686"/>
                <a:gd name="connsiteX7" fmla="*/ 537762 w 746460"/>
                <a:gd name="connsiteY7" fmla="*/ 632208 h 916686"/>
                <a:gd name="connsiteX8" fmla="*/ 504353 w 746460"/>
                <a:gd name="connsiteY8" fmla="*/ 641202 h 916686"/>
                <a:gd name="connsiteX9" fmla="*/ 480580 w 746460"/>
                <a:gd name="connsiteY9" fmla="*/ 641202 h 916686"/>
                <a:gd name="connsiteX10" fmla="*/ 467088 w 746460"/>
                <a:gd name="connsiteY10" fmla="*/ 692601 h 916686"/>
                <a:gd name="connsiteX11" fmla="*/ 460663 w 746460"/>
                <a:gd name="connsiteY11" fmla="*/ 732436 h 916686"/>
                <a:gd name="connsiteX12" fmla="*/ 460021 w 746460"/>
                <a:gd name="connsiteY12" fmla="*/ 749783 h 916686"/>
                <a:gd name="connsiteX13" fmla="*/ 467088 w 746460"/>
                <a:gd name="connsiteY13" fmla="*/ 767772 h 916686"/>
                <a:gd name="connsiteX14" fmla="*/ 481865 w 746460"/>
                <a:gd name="connsiteY14" fmla="*/ 838446 h 916686"/>
                <a:gd name="connsiteX15" fmla="*/ 501783 w 746460"/>
                <a:gd name="connsiteY15" fmla="*/ 850653 h 916686"/>
                <a:gd name="connsiteX16" fmla="*/ 503067 w 746460"/>
                <a:gd name="connsiteY16" fmla="*/ 864788 h 916686"/>
                <a:gd name="connsiteX17" fmla="*/ 513990 w 746460"/>
                <a:gd name="connsiteY17" fmla="*/ 874425 h 916686"/>
                <a:gd name="connsiteX18" fmla="*/ 511420 w 746460"/>
                <a:gd name="connsiteY18" fmla="*/ 887275 h 916686"/>
                <a:gd name="connsiteX19" fmla="*/ 503710 w 746460"/>
                <a:gd name="connsiteY19" fmla="*/ 905265 h 916686"/>
                <a:gd name="connsiteX20" fmla="*/ 488933 w 746460"/>
                <a:gd name="connsiteY20" fmla="*/ 915544 h 916686"/>
                <a:gd name="connsiteX21" fmla="*/ 467088 w 746460"/>
                <a:gd name="connsiteY21" fmla="*/ 915544 h 916686"/>
                <a:gd name="connsiteX22" fmla="*/ 436249 w 746460"/>
                <a:gd name="connsiteY22" fmla="*/ 912975 h 916686"/>
                <a:gd name="connsiteX23" fmla="*/ 418259 w 746460"/>
                <a:gd name="connsiteY23" fmla="*/ 892415 h 916686"/>
                <a:gd name="connsiteX24" fmla="*/ 397700 w 746460"/>
                <a:gd name="connsiteY24" fmla="*/ 884705 h 916686"/>
                <a:gd name="connsiteX25" fmla="*/ 378425 w 746460"/>
                <a:gd name="connsiteY25" fmla="*/ 869285 h 916686"/>
                <a:gd name="connsiteX26" fmla="*/ 357865 w 746460"/>
                <a:gd name="connsiteY26" fmla="*/ 876995 h 916686"/>
                <a:gd name="connsiteX27" fmla="*/ 339876 w 746460"/>
                <a:gd name="connsiteY27" fmla="*/ 857721 h 916686"/>
                <a:gd name="connsiteX28" fmla="*/ 310964 w 746460"/>
                <a:gd name="connsiteY28" fmla="*/ 848726 h 916686"/>
                <a:gd name="connsiteX29" fmla="*/ 283979 w 746460"/>
                <a:gd name="connsiteY29" fmla="*/ 856436 h 916686"/>
                <a:gd name="connsiteX30" fmla="*/ 259565 w 746460"/>
                <a:gd name="connsiteY30" fmla="*/ 848726 h 916686"/>
                <a:gd name="connsiteX31" fmla="*/ 217803 w 746460"/>
                <a:gd name="connsiteY31" fmla="*/ 788975 h 916686"/>
                <a:gd name="connsiteX32" fmla="*/ 215876 w 746460"/>
                <a:gd name="connsiteY32" fmla="*/ 770985 h 916686"/>
                <a:gd name="connsiteX33" fmla="*/ 215876 w 746460"/>
                <a:gd name="connsiteY33" fmla="*/ 754280 h 916686"/>
                <a:gd name="connsiteX34" fmla="*/ 208808 w 746460"/>
                <a:gd name="connsiteY34" fmla="*/ 735648 h 916686"/>
                <a:gd name="connsiteX35" fmla="*/ 169617 w 746460"/>
                <a:gd name="connsiteY35" fmla="*/ 731793 h 916686"/>
                <a:gd name="connsiteX36" fmla="*/ 149057 w 746460"/>
                <a:gd name="connsiteY36" fmla="*/ 724726 h 916686"/>
                <a:gd name="connsiteX37" fmla="*/ 118860 w 746460"/>
                <a:gd name="connsiteY37" fmla="*/ 708021 h 916686"/>
                <a:gd name="connsiteX38" fmla="*/ 114363 w 746460"/>
                <a:gd name="connsiteY38" fmla="*/ 691316 h 916686"/>
                <a:gd name="connsiteX39" fmla="*/ 106010 w 746460"/>
                <a:gd name="connsiteY39" fmla="*/ 659192 h 916686"/>
                <a:gd name="connsiteX40" fmla="*/ 110508 w 746460"/>
                <a:gd name="connsiteY40" fmla="*/ 650197 h 916686"/>
                <a:gd name="connsiteX41" fmla="*/ 116933 w 746460"/>
                <a:gd name="connsiteY41" fmla="*/ 646342 h 916686"/>
                <a:gd name="connsiteX42" fmla="*/ 113078 w 746460"/>
                <a:gd name="connsiteY42" fmla="*/ 639917 h 916686"/>
                <a:gd name="connsiteX43" fmla="*/ 111793 w 746460"/>
                <a:gd name="connsiteY43" fmla="*/ 638632 h 916686"/>
                <a:gd name="connsiteX44" fmla="*/ 108580 w 746460"/>
                <a:gd name="connsiteY44" fmla="*/ 636705 h 916686"/>
                <a:gd name="connsiteX45" fmla="*/ 97016 w 746460"/>
                <a:gd name="connsiteY45" fmla="*/ 628995 h 916686"/>
                <a:gd name="connsiteX46" fmla="*/ 86736 w 746460"/>
                <a:gd name="connsiteY46" fmla="*/ 621928 h 916686"/>
                <a:gd name="connsiteX47" fmla="*/ 53326 w 746460"/>
                <a:gd name="connsiteY47" fmla="*/ 621928 h 916686"/>
                <a:gd name="connsiteX48" fmla="*/ 37264 w 746460"/>
                <a:gd name="connsiteY48" fmla="*/ 621285 h 916686"/>
                <a:gd name="connsiteX49" fmla="*/ 37264 w 746460"/>
                <a:gd name="connsiteY49" fmla="*/ 613575 h 916686"/>
                <a:gd name="connsiteX50" fmla="*/ 21202 w 746460"/>
                <a:gd name="connsiteY50" fmla="*/ 579524 h 916686"/>
                <a:gd name="connsiteX51" fmla="*/ 15420 w 746460"/>
                <a:gd name="connsiteY51" fmla="*/ 551254 h 916686"/>
                <a:gd name="connsiteX52" fmla="*/ 14135 w 746460"/>
                <a:gd name="connsiteY52" fmla="*/ 548684 h 916686"/>
                <a:gd name="connsiteX53" fmla="*/ 9637 w 746460"/>
                <a:gd name="connsiteY53" fmla="*/ 537119 h 916686"/>
                <a:gd name="connsiteX54" fmla="*/ 23130 w 746460"/>
                <a:gd name="connsiteY54" fmla="*/ 522342 h 916686"/>
                <a:gd name="connsiteX55" fmla="*/ 26984 w 746460"/>
                <a:gd name="connsiteY55" fmla="*/ 519130 h 916686"/>
                <a:gd name="connsiteX56" fmla="*/ 27627 w 746460"/>
                <a:gd name="connsiteY56" fmla="*/ 515275 h 916686"/>
                <a:gd name="connsiteX57" fmla="*/ 19917 w 746460"/>
                <a:gd name="connsiteY57" fmla="*/ 492145 h 916686"/>
                <a:gd name="connsiteX58" fmla="*/ 4497 w 746460"/>
                <a:gd name="connsiteY58" fmla="*/ 472228 h 916686"/>
                <a:gd name="connsiteX59" fmla="*/ 0 w 746460"/>
                <a:gd name="connsiteY59" fmla="*/ 462591 h 916686"/>
                <a:gd name="connsiteX60" fmla="*/ 12850 w 746460"/>
                <a:gd name="connsiteY60" fmla="*/ 450384 h 916686"/>
                <a:gd name="connsiteX61" fmla="*/ 46901 w 746460"/>
                <a:gd name="connsiteY61" fmla="*/ 438819 h 916686"/>
                <a:gd name="connsiteX62" fmla="*/ 68746 w 746460"/>
                <a:gd name="connsiteY62" fmla="*/ 440104 h 916686"/>
                <a:gd name="connsiteX63" fmla="*/ 102155 w 746460"/>
                <a:gd name="connsiteY63" fmla="*/ 443959 h 916686"/>
                <a:gd name="connsiteX64" fmla="*/ 109865 w 746460"/>
                <a:gd name="connsiteY64" fmla="*/ 443316 h 916686"/>
                <a:gd name="connsiteX65" fmla="*/ 113720 w 746460"/>
                <a:gd name="connsiteY65" fmla="*/ 438819 h 916686"/>
                <a:gd name="connsiteX66" fmla="*/ 136207 w 746460"/>
                <a:gd name="connsiteY66" fmla="*/ 395772 h 916686"/>
                <a:gd name="connsiteX67" fmla="*/ 137492 w 746460"/>
                <a:gd name="connsiteY67" fmla="*/ 391917 h 916686"/>
                <a:gd name="connsiteX68" fmla="*/ 128497 w 746460"/>
                <a:gd name="connsiteY68" fmla="*/ 383565 h 916686"/>
                <a:gd name="connsiteX69" fmla="*/ 131067 w 746460"/>
                <a:gd name="connsiteY69" fmla="*/ 336663 h 916686"/>
                <a:gd name="connsiteX70" fmla="*/ 125928 w 746460"/>
                <a:gd name="connsiteY70" fmla="*/ 313534 h 916686"/>
                <a:gd name="connsiteX71" fmla="*/ 105368 w 746460"/>
                <a:gd name="connsiteY71" fmla="*/ 235793 h 916686"/>
                <a:gd name="connsiteX72" fmla="*/ 78383 w 746460"/>
                <a:gd name="connsiteY72" fmla="*/ 169617 h 916686"/>
                <a:gd name="connsiteX73" fmla="*/ 56539 w 746460"/>
                <a:gd name="connsiteY73" fmla="*/ 149700 h 916686"/>
                <a:gd name="connsiteX74" fmla="*/ 49471 w 746460"/>
                <a:gd name="connsiteY74" fmla="*/ 112435 h 916686"/>
                <a:gd name="connsiteX75" fmla="*/ 57824 w 746460"/>
                <a:gd name="connsiteY75" fmla="*/ 94446 h 916686"/>
                <a:gd name="connsiteX76" fmla="*/ 79026 w 746460"/>
                <a:gd name="connsiteY76" fmla="*/ 92518 h 916686"/>
                <a:gd name="connsiteX77" fmla="*/ 100228 w 746460"/>
                <a:gd name="connsiteY77" fmla="*/ 89948 h 916686"/>
                <a:gd name="connsiteX78" fmla="*/ 106653 w 746460"/>
                <a:gd name="connsiteY78" fmla="*/ 75171 h 916686"/>
                <a:gd name="connsiteX79" fmla="*/ 107938 w 746460"/>
                <a:gd name="connsiteY79" fmla="*/ 66819 h 916686"/>
                <a:gd name="connsiteX80" fmla="*/ 109223 w 746460"/>
                <a:gd name="connsiteY80" fmla="*/ 63606 h 916686"/>
                <a:gd name="connsiteX81" fmla="*/ 112435 w 746460"/>
                <a:gd name="connsiteY81" fmla="*/ 62321 h 916686"/>
                <a:gd name="connsiteX82" fmla="*/ 147772 w 746460"/>
                <a:gd name="connsiteY82" fmla="*/ 67461 h 916686"/>
                <a:gd name="connsiteX83" fmla="*/ 154839 w 746460"/>
                <a:gd name="connsiteY83" fmla="*/ 71959 h 916686"/>
                <a:gd name="connsiteX84" fmla="*/ 161264 w 746460"/>
                <a:gd name="connsiteY84" fmla="*/ 73886 h 916686"/>
                <a:gd name="connsiteX85" fmla="*/ 188249 w 746460"/>
                <a:gd name="connsiteY85" fmla="*/ 76456 h 916686"/>
                <a:gd name="connsiteX86" fmla="*/ 212663 w 746460"/>
                <a:gd name="connsiteY86" fmla="*/ 71316 h 916686"/>
                <a:gd name="connsiteX87" fmla="*/ 265990 w 746460"/>
                <a:gd name="connsiteY87" fmla="*/ 21202 h 916686"/>
                <a:gd name="connsiteX88" fmla="*/ 280125 w 746460"/>
                <a:gd name="connsiteY88" fmla="*/ 0 h 916686"/>
                <a:gd name="connsiteX89" fmla="*/ 285907 w 746460"/>
                <a:gd name="connsiteY89" fmla="*/ 643 h 916686"/>
                <a:gd name="connsiteX90" fmla="*/ 294902 w 746460"/>
                <a:gd name="connsiteY90" fmla="*/ 11565 h 916686"/>
                <a:gd name="connsiteX91" fmla="*/ 319959 w 746460"/>
                <a:gd name="connsiteY91" fmla="*/ 32124 h 916686"/>
                <a:gd name="connsiteX92" fmla="*/ 336663 w 746460"/>
                <a:gd name="connsiteY92" fmla="*/ 31482 h 916686"/>
                <a:gd name="connsiteX93" fmla="*/ 347586 w 746460"/>
                <a:gd name="connsiteY93" fmla="*/ 41119 h 916686"/>
                <a:gd name="connsiteX94" fmla="*/ 342446 w 746460"/>
                <a:gd name="connsiteY94" fmla="*/ 52684 h 916686"/>
                <a:gd name="connsiteX95" fmla="*/ 350798 w 746460"/>
                <a:gd name="connsiteY95" fmla="*/ 60394 h 916686"/>
                <a:gd name="connsiteX96" fmla="*/ 400270 w 746460"/>
                <a:gd name="connsiteY96" fmla="*/ 65534 h 916686"/>
                <a:gd name="connsiteX97" fmla="*/ 409264 w 746460"/>
                <a:gd name="connsiteY97" fmla="*/ 61679 h 916686"/>
                <a:gd name="connsiteX98" fmla="*/ 416974 w 746460"/>
                <a:gd name="connsiteY98" fmla="*/ 62321 h 916686"/>
                <a:gd name="connsiteX99" fmla="*/ 441389 w 746460"/>
                <a:gd name="connsiteY99" fmla="*/ 69389 h 916686"/>
                <a:gd name="connsiteX100" fmla="*/ 456809 w 746460"/>
                <a:gd name="connsiteY100" fmla="*/ 89306 h 916686"/>
                <a:gd name="connsiteX101" fmla="*/ 458093 w 746460"/>
                <a:gd name="connsiteY101" fmla="*/ 122715 h 916686"/>
                <a:gd name="connsiteX102" fmla="*/ 457451 w 746460"/>
                <a:gd name="connsiteY102" fmla="*/ 138777 h 916686"/>
                <a:gd name="connsiteX103" fmla="*/ 452311 w 746460"/>
                <a:gd name="connsiteY103" fmla="*/ 163834 h 916686"/>
                <a:gd name="connsiteX104" fmla="*/ 452954 w 746460"/>
                <a:gd name="connsiteY104" fmla="*/ 179896 h 916686"/>
                <a:gd name="connsiteX105" fmla="*/ 435606 w 746460"/>
                <a:gd name="connsiteY105" fmla="*/ 212663 h 916686"/>
                <a:gd name="connsiteX106" fmla="*/ 437534 w 746460"/>
                <a:gd name="connsiteY106" fmla="*/ 219088 h 916686"/>
                <a:gd name="connsiteX107" fmla="*/ 447814 w 746460"/>
                <a:gd name="connsiteY107" fmla="*/ 222301 h 916686"/>
                <a:gd name="connsiteX108" fmla="*/ 470943 w 746460"/>
                <a:gd name="connsiteY108" fmla="*/ 222301 h 916686"/>
                <a:gd name="connsiteX109" fmla="*/ 484435 w 746460"/>
                <a:gd name="connsiteY109" fmla="*/ 228726 h 916686"/>
                <a:gd name="connsiteX110" fmla="*/ 481223 w 746460"/>
                <a:gd name="connsiteY110" fmla="*/ 235793 h 916686"/>
                <a:gd name="connsiteX111" fmla="*/ 471586 w 746460"/>
                <a:gd name="connsiteY111" fmla="*/ 259565 h 916686"/>
                <a:gd name="connsiteX112" fmla="*/ 470943 w 746460"/>
                <a:gd name="connsiteY112" fmla="*/ 284622 h 916686"/>
                <a:gd name="connsiteX113" fmla="*/ 467088 w 746460"/>
                <a:gd name="connsiteY113" fmla="*/ 307109 h 916686"/>
                <a:gd name="connsiteX114" fmla="*/ 488933 w 746460"/>
                <a:gd name="connsiteY114" fmla="*/ 407979 h 916686"/>
                <a:gd name="connsiteX115" fmla="*/ 573741 w 746460"/>
                <a:gd name="connsiteY115" fmla="*/ 458093 h 916686"/>
                <a:gd name="connsiteX116" fmla="*/ 664332 w 746460"/>
                <a:gd name="connsiteY116" fmla="*/ 478011 h 916686"/>
                <a:gd name="connsiteX117" fmla="*/ 717658 w 746460"/>
                <a:gd name="connsiteY117" fmla="*/ 487648 h 916686"/>
                <a:gd name="connsiteX118" fmla="*/ 733720 w 746460"/>
                <a:gd name="connsiteY118" fmla="*/ 539047 h 916686"/>
                <a:gd name="connsiteX119" fmla="*/ 742073 w 746460"/>
                <a:gd name="connsiteY119" fmla="*/ 572456 h 91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746460" h="916686">
                  <a:moveTo>
                    <a:pt x="742073" y="572456"/>
                  </a:moveTo>
                  <a:cubicBezTo>
                    <a:pt x="731151" y="584021"/>
                    <a:pt x="716373" y="594943"/>
                    <a:pt x="711876" y="597513"/>
                  </a:cubicBezTo>
                  <a:cubicBezTo>
                    <a:pt x="701596" y="594943"/>
                    <a:pt x="691316" y="591731"/>
                    <a:pt x="681037" y="589161"/>
                  </a:cubicBezTo>
                  <a:cubicBezTo>
                    <a:pt x="668187" y="585949"/>
                    <a:pt x="668829" y="589161"/>
                    <a:pt x="654695" y="589161"/>
                  </a:cubicBezTo>
                  <a:cubicBezTo>
                    <a:pt x="640560" y="589161"/>
                    <a:pt x="605223" y="616145"/>
                    <a:pt x="603938" y="614860"/>
                  </a:cubicBezTo>
                  <a:cubicBezTo>
                    <a:pt x="602653" y="613575"/>
                    <a:pt x="591731" y="618073"/>
                    <a:pt x="585306" y="618073"/>
                  </a:cubicBezTo>
                  <a:cubicBezTo>
                    <a:pt x="578881" y="618073"/>
                    <a:pt x="566674" y="614860"/>
                    <a:pt x="555752" y="614860"/>
                  </a:cubicBezTo>
                  <a:cubicBezTo>
                    <a:pt x="545472" y="614860"/>
                    <a:pt x="544829" y="623213"/>
                    <a:pt x="537762" y="632208"/>
                  </a:cubicBezTo>
                  <a:cubicBezTo>
                    <a:pt x="531337" y="640560"/>
                    <a:pt x="519130" y="639917"/>
                    <a:pt x="504353" y="641202"/>
                  </a:cubicBezTo>
                  <a:cubicBezTo>
                    <a:pt x="489575" y="642487"/>
                    <a:pt x="489575" y="634778"/>
                    <a:pt x="480580" y="641202"/>
                  </a:cubicBezTo>
                  <a:cubicBezTo>
                    <a:pt x="471586" y="647627"/>
                    <a:pt x="467088" y="677824"/>
                    <a:pt x="467088" y="692601"/>
                  </a:cubicBezTo>
                  <a:cubicBezTo>
                    <a:pt x="467088" y="707379"/>
                    <a:pt x="465803" y="720871"/>
                    <a:pt x="460663" y="732436"/>
                  </a:cubicBezTo>
                  <a:cubicBezTo>
                    <a:pt x="457451" y="738860"/>
                    <a:pt x="458093" y="744000"/>
                    <a:pt x="460021" y="749783"/>
                  </a:cubicBezTo>
                  <a:cubicBezTo>
                    <a:pt x="461306" y="754923"/>
                    <a:pt x="464518" y="760063"/>
                    <a:pt x="467088" y="767772"/>
                  </a:cubicBezTo>
                  <a:cubicBezTo>
                    <a:pt x="473513" y="783192"/>
                    <a:pt x="477368" y="824311"/>
                    <a:pt x="481865" y="838446"/>
                  </a:cubicBezTo>
                  <a:cubicBezTo>
                    <a:pt x="484435" y="845513"/>
                    <a:pt x="492145" y="848726"/>
                    <a:pt x="501783" y="850653"/>
                  </a:cubicBezTo>
                  <a:cubicBezTo>
                    <a:pt x="501783" y="857078"/>
                    <a:pt x="502425" y="861576"/>
                    <a:pt x="503067" y="864788"/>
                  </a:cubicBezTo>
                  <a:cubicBezTo>
                    <a:pt x="503710" y="868643"/>
                    <a:pt x="512062" y="871855"/>
                    <a:pt x="513990" y="874425"/>
                  </a:cubicBezTo>
                  <a:cubicBezTo>
                    <a:pt x="516560" y="876353"/>
                    <a:pt x="515275" y="882778"/>
                    <a:pt x="511420" y="887275"/>
                  </a:cubicBezTo>
                  <a:cubicBezTo>
                    <a:pt x="507565" y="891773"/>
                    <a:pt x="503710" y="897555"/>
                    <a:pt x="503710" y="905265"/>
                  </a:cubicBezTo>
                  <a:cubicBezTo>
                    <a:pt x="503710" y="912975"/>
                    <a:pt x="494073" y="915544"/>
                    <a:pt x="488933" y="915544"/>
                  </a:cubicBezTo>
                  <a:cubicBezTo>
                    <a:pt x="483150" y="915544"/>
                    <a:pt x="474798" y="918114"/>
                    <a:pt x="467088" y="915544"/>
                  </a:cubicBezTo>
                  <a:cubicBezTo>
                    <a:pt x="459378" y="912975"/>
                    <a:pt x="446529" y="914260"/>
                    <a:pt x="436249" y="912975"/>
                  </a:cubicBezTo>
                  <a:cubicBezTo>
                    <a:pt x="425969" y="912332"/>
                    <a:pt x="422114" y="897555"/>
                    <a:pt x="418259" y="892415"/>
                  </a:cubicBezTo>
                  <a:cubicBezTo>
                    <a:pt x="414404" y="887275"/>
                    <a:pt x="397700" y="884705"/>
                    <a:pt x="397700" y="884705"/>
                  </a:cubicBezTo>
                  <a:cubicBezTo>
                    <a:pt x="397700" y="884705"/>
                    <a:pt x="382922" y="869928"/>
                    <a:pt x="378425" y="869285"/>
                  </a:cubicBezTo>
                  <a:cubicBezTo>
                    <a:pt x="373928" y="868643"/>
                    <a:pt x="367503" y="877638"/>
                    <a:pt x="357865" y="876995"/>
                  </a:cubicBezTo>
                  <a:cubicBezTo>
                    <a:pt x="348228" y="876353"/>
                    <a:pt x="343731" y="861576"/>
                    <a:pt x="339876" y="857721"/>
                  </a:cubicBezTo>
                  <a:cubicBezTo>
                    <a:pt x="336021" y="853866"/>
                    <a:pt x="319959" y="848726"/>
                    <a:pt x="310964" y="848726"/>
                  </a:cubicBezTo>
                  <a:cubicBezTo>
                    <a:pt x="301969" y="848726"/>
                    <a:pt x="288477" y="853223"/>
                    <a:pt x="283979" y="856436"/>
                  </a:cubicBezTo>
                  <a:cubicBezTo>
                    <a:pt x="278839" y="860290"/>
                    <a:pt x="271130" y="856436"/>
                    <a:pt x="259565" y="848726"/>
                  </a:cubicBezTo>
                  <a:cubicBezTo>
                    <a:pt x="248000" y="841016"/>
                    <a:pt x="222301" y="794114"/>
                    <a:pt x="217803" y="788975"/>
                  </a:cubicBezTo>
                  <a:cubicBezTo>
                    <a:pt x="213306" y="783835"/>
                    <a:pt x="212663" y="774197"/>
                    <a:pt x="215876" y="770985"/>
                  </a:cubicBezTo>
                  <a:cubicBezTo>
                    <a:pt x="219088" y="767130"/>
                    <a:pt x="217803" y="757493"/>
                    <a:pt x="215876" y="754280"/>
                  </a:cubicBezTo>
                  <a:cubicBezTo>
                    <a:pt x="213948" y="751068"/>
                    <a:pt x="210093" y="735648"/>
                    <a:pt x="208808" y="735648"/>
                  </a:cubicBezTo>
                  <a:cubicBezTo>
                    <a:pt x="206881" y="735648"/>
                    <a:pt x="183109" y="735648"/>
                    <a:pt x="169617" y="731793"/>
                  </a:cubicBezTo>
                  <a:cubicBezTo>
                    <a:pt x="156124" y="727296"/>
                    <a:pt x="157409" y="726653"/>
                    <a:pt x="149057" y="724726"/>
                  </a:cubicBezTo>
                  <a:cubicBezTo>
                    <a:pt x="140705" y="723441"/>
                    <a:pt x="125928" y="717658"/>
                    <a:pt x="118860" y="708021"/>
                  </a:cubicBezTo>
                  <a:cubicBezTo>
                    <a:pt x="115648" y="702881"/>
                    <a:pt x="115005" y="697099"/>
                    <a:pt x="114363" y="691316"/>
                  </a:cubicBezTo>
                  <a:cubicBezTo>
                    <a:pt x="113078" y="680394"/>
                    <a:pt x="106653" y="670114"/>
                    <a:pt x="106010" y="659192"/>
                  </a:cubicBezTo>
                  <a:cubicBezTo>
                    <a:pt x="105368" y="655337"/>
                    <a:pt x="106653" y="652767"/>
                    <a:pt x="110508" y="650197"/>
                  </a:cubicBezTo>
                  <a:cubicBezTo>
                    <a:pt x="112435" y="648912"/>
                    <a:pt x="116290" y="648270"/>
                    <a:pt x="116933" y="646342"/>
                  </a:cubicBezTo>
                  <a:cubicBezTo>
                    <a:pt x="117575" y="643772"/>
                    <a:pt x="114363" y="641202"/>
                    <a:pt x="113078" y="639917"/>
                  </a:cubicBezTo>
                  <a:cubicBezTo>
                    <a:pt x="112435" y="639275"/>
                    <a:pt x="112435" y="639275"/>
                    <a:pt x="111793" y="638632"/>
                  </a:cubicBezTo>
                  <a:cubicBezTo>
                    <a:pt x="111150" y="637990"/>
                    <a:pt x="109865" y="637348"/>
                    <a:pt x="108580" y="636705"/>
                  </a:cubicBezTo>
                  <a:cubicBezTo>
                    <a:pt x="104083" y="634778"/>
                    <a:pt x="100870" y="631565"/>
                    <a:pt x="97016" y="628995"/>
                  </a:cubicBezTo>
                  <a:cubicBezTo>
                    <a:pt x="93803" y="626425"/>
                    <a:pt x="89306" y="625140"/>
                    <a:pt x="86736" y="621928"/>
                  </a:cubicBezTo>
                  <a:cubicBezTo>
                    <a:pt x="77098" y="612933"/>
                    <a:pt x="59109" y="622570"/>
                    <a:pt x="53326" y="621928"/>
                  </a:cubicBezTo>
                  <a:cubicBezTo>
                    <a:pt x="50114" y="621928"/>
                    <a:pt x="43689" y="621285"/>
                    <a:pt x="37264" y="621285"/>
                  </a:cubicBezTo>
                  <a:cubicBezTo>
                    <a:pt x="37907" y="618715"/>
                    <a:pt x="37907" y="616145"/>
                    <a:pt x="37264" y="613575"/>
                  </a:cubicBezTo>
                  <a:cubicBezTo>
                    <a:pt x="34694" y="600726"/>
                    <a:pt x="25057" y="591088"/>
                    <a:pt x="21202" y="579524"/>
                  </a:cubicBezTo>
                  <a:cubicBezTo>
                    <a:pt x="17990" y="570529"/>
                    <a:pt x="19275" y="560249"/>
                    <a:pt x="15420" y="551254"/>
                  </a:cubicBezTo>
                  <a:cubicBezTo>
                    <a:pt x="14777" y="550612"/>
                    <a:pt x="14777" y="549327"/>
                    <a:pt x="14135" y="548684"/>
                  </a:cubicBezTo>
                  <a:cubicBezTo>
                    <a:pt x="12207" y="544829"/>
                    <a:pt x="9637" y="540974"/>
                    <a:pt x="9637" y="537119"/>
                  </a:cubicBezTo>
                  <a:cubicBezTo>
                    <a:pt x="10280" y="530052"/>
                    <a:pt x="17347" y="525555"/>
                    <a:pt x="23130" y="522342"/>
                  </a:cubicBezTo>
                  <a:cubicBezTo>
                    <a:pt x="24414" y="521700"/>
                    <a:pt x="26342" y="520415"/>
                    <a:pt x="26984" y="519130"/>
                  </a:cubicBezTo>
                  <a:cubicBezTo>
                    <a:pt x="27627" y="517845"/>
                    <a:pt x="27627" y="516560"/>
                    <a:pt x="27627" y="515275"/>
                  </a:cubicBezTo>
                  <a:cubicBezTo>
                    <a:pt x="28269" y="506923"/>
                    <a:pt x="24414" y="499213"/>
                    <a:pt x="19917" y="492145"/>
                  </a:cubicBezTo>
                  <a:cubicBezTo>
                    <a:pt x="15420" y="485078"/>
                    <a:pt x="9637" y="478653"/>
                    <a:pt x="4497" y="472228"/>
                  </a:cubicBezTo>
                  <a:cubicBezTo>
                    <a:pt x="2570" y="469658"/>
                    <a:pt x="0" y="465803"/>
                    <a:pt x="0" y="462591"/>
                  </a:cubicBezTo>
                  <a:cubicBezTo>
                    <a:pt x="643" y="456809"/>
                    <a:pt x="7067" y="452954"/>
                    <a:pt x="12850" y="450384"/>
                  </a:cubicBezTo>
                  <a:cubicBezTo>
                    <a:pt x="23772" y="445244"/>
                    <a:pt x="34694" y="440104"/>
                    <a:pt x="46901" y="438819"/>
                  </a:cubicBezTo>
                  <a:cubicBezTo>
                    <a:pt x="53969" y="438176"/>
                    <a:pt x="61679" y="438819"/>
                    <a:pt x="68746" y="440104"/>
                  </a:cubicBezTo>
                  <a:cubicBezTo>
                    <a:pt x="79668" y="441389"/>
                    <a:pt x="91233" y="442674"/>
                    <a:pt x="102155" y="443959"/>
                  </a:cubicBezTo>
                  <a:cubicBezTo>
                    <a:pt x="104725" y="443959"/>
                    <a:pt x="107295" y="444601"/>
                    <a:pt x="109865" y="443316"/>
                  </a:cubicBezTo>
                  <a:cubicBezTo>
                    <a:pt x="111793" y="442031"/>
                    <a:pt x="112435" y="440746"/>
                    <a:pt x="113720" y="438819"/>
                  </a:cubicBezTo>
                  <a:cubicBezTo>
                    <a:pt x="121430" y="424042"/>
                    <a:pt x="129140" y="409907"/>
                    <a:pt x="136207" y="395772"/>
                  </a:cubicBezTo>
                  <a:cubicBezTo>
                    <a:pt x="136850" y="394487"/>
                    <a:pt x="137492" y="393202"/>
                    <a:pt x="137492" y="391917"/>
                  </a:cubicBezTo>
                  <a:cubicBezTo>
                    <a:pt x="138135" y="387420"/>
                    <a:pt x="132352" y="384850"/>
                    <a:pt x="128497" y="383565"/>
                  </a:cubicBezTo>
                  <a:cubicBezTo>
                    <a:pt x="132352" y="368145"/>
                    <a:pt x="133637" y="352083"/>
                    <a:pt x="131067" y="336663"/>
                  </a:cubicBezTo>
                  <a:cubicBezTo>
                    <a:pt x="129782" y="328954"/>
                    <a:pt x="127855" y="321244"/>
                    <a:pt x="125928" y="313534"/>
                  </a:cubicBezTo>
                  <a:cubicBezTo>
                    <a:pt x="118860" y="287834"/>
                    <a:pt x="112435" y="261492"/>
                    <a:pt x="105368" y="235793"/>
                  </a:cubicBezTo>
                  <a:cubicBezTo>
                    <a:pt x="98943" y="212663"/>
                    <a:pt x="97016" y="187606"/>
                    <a:pt x="78383" y="169617"/>
                  </a:cubicBezTo>
                  <a:cubicBezTo>
                    <a:pt x="71316" y="162549"/>
                    <a:pt x="62321" y="157409"/>
                    <a:pt x="56539" y="149700"/>
                  </a:cubicBezTo>
                  <a:cubicBezTo>
                    <a:pt x="48829" y="139420"/>
                    <a:pt x="48187" y="125285"/>
                    <a:pt x="49471" y="112435"/>
                  </a:cubicBezTo>
                  <a:cubicBezTo>
                    <a:pt x="50114" y="106010"/>
                    <a:pt x="52042" y="98301"/>
                    <a:pt x="57824" y="94446"/>
                  </a:cubicBezTo>
                  <a:cubicBezTo>
                    <a:pt x="63606" y="90591"/>
                    <a:pt x="71958" y="91876"/>
                    <a:pt x="79026" y="92518"/>
                  </a:cubicBezTo>
                  <a:cubicBezTo>
                    <a:pt x="86093" y="93803"/>
                    <a:pt x="94446" y="94446"/>
                    <a:pt x="100228" y="89948"/>
                  </a:cubicBezTo>
                  <a:cubicBezTo>
                    <a:pt x="104725" y="86093"/>
                    <a:pt x="105368" y="80953"/>
                    <a:pt x="106653" y="75171"/>
                  </a:cubicBezTo>
                  <a:cubicBezTo>
                    <a:pt x="107295" y="72601"/>
                    <a:pt x="107295" y="70031"/>
                    <a:pt x="107938" y="66819"/>
                  </a:cubicBezTo>
                  <a:cubicBezTo>
                    <a:pt x="107938" y="65534"/>
                    <a:pt x="108580" y="64249"/>
                    <a:pt x="109223" y="63606"/>
                  </a:cubicBezTo>
                  <a:cubicBezTo>
                    <a:pt x="109865" y="62964"/>
                    <a:pt x="111150" y="62321"/>
                    <a:pt x="112435" y="62321"/>
                  </a:cubicBezTo>
                  <a:cubicBezTo>
                    <a:pt x="124000" y="59109"/>
                    <a:pt x="137492" y="61036"/>
                    <a:pt x="147772" y="67461"/>
                  </a:cubicBezTo>
                  <a:cubicBezTo>
                    <a:pt x="150342" y="68746"/>
                    <a:pt x="152269" y="70674"/>
                    <a:pt x="154839" y="71959"/>
                  </a:cubicBezTo>
                  <a:cubicBezTo>
                    <a:pt x="156767" y="72601"/>
                    <a:pt x="159337" y="73244"/>
                    <a:pt x="161264" y="73886"/>
                  </a:cubicBezTo>
                  <a:cubicBezTo>
                    <a:pt x="169617" y="75171"/>
                    <a:pt x="179254" y="77098"/>
                    <a:pt x="188249" y="76456"/>
                  </a:cubicBezTo>
                  <a:cubicBezTo>
                    <a:pt x="196601" y="75814"/>
                    <a:pt x="204953" y="73244"/>
                    <a:pt x="212663" y="71316"/>
                  </a:cubicBezTo>
                  <a:cubicBezTo>
                    <a:pt x="220373" y="70031"/>
                    <a:pt x="251213" y="43689"/>
                    <a:pt x="265990" y="21202"/>
                  </a:cubicBezTo>
                  <a:cubicBezTo>
                    <a:pt x="269845" y="14777"/>
                    <a:pt x="274985" y="7067"/>
                    <a:pt x="280125" y="0"/>
                  </a:cubicBezTo>
                  <a:cubicBezTo>
                    <a:pt x="282052" y="0"/>
                    <a:pt x="283979" y="0"/>
                    <a:pt x="285907" y="643"/>
                  </a:cubicBezTo>
                  <a:cubicBezTo>
                    <a:pt x="290404" y="2570"/>
                    <a:pt x="292974" y="7067"/>
                    <a:pt x="294902" y="11565"/>
                  </a:cubicBezTo>
                  <a:cubicBezTo>
                    <a:pt x="300041" y="21202"/>
                    <a:pt x="308394" y="31482"/>
                    <a:pt x="319959" y="32124"/>
                  </a:cubicBezTo>
                  <a:cubicBezTo>
                    <a:pt x="325741" y="32767"/>
                    <a:pt x="330881" y="30839"/>
                    <a:pt x="336663" y="31482"/>
                  </a:cubicBezTo>
                  <a:cubicBezTo>
                    <a:pt x="342446" y="32124"/>
                    <a:pt x="348228" y="35979"/>
                    <a:pt x="347586" y="41119"/>
                  </a:cubicBezTo>
                  <a:cubicBezTo>
                    <a:pt x="346943" y="45617"/>
                    <a:pt x="341803" y="48187"/>
                    <a:pt x="342446" y="52684"/>
                  </a:cubicBezTo>
                  <a:cubicBezTo>
                    <a:pt x="343088" y="56539"/>
                    <a:pt x="346943" y="58466"/>
                    <a:pt x="350798" y="60394"/>
                  </a:cubicBezTo>
                  <a:cubicBezTo>
                    <a:pt x="366860" y="66819"/>
                    <a:pt x="384850" y="73244"/>
                    <a:pt x="400270" y="65534"/>
                  </a:cubicBezTo>
                  <a:cubicBezTo>
                    <a:pt x="403482" y="64249"/>
                    <a:pt x="406052" y="62321"/>
                    <a:pt x="409264" y="61679"/>
                  </a:cubicBezTo>
                  <a:cubicBezTo>
                    <a:pt x="411834" y="61036"/>
                    <a:pt x="414404" y="61679"/>
                    <a:pt x="416974" y="62321"/>
                  </a:cubicBezTo>
                  <a:cubicBezTo>
                    <a:pt x="425326" y="64249"/>
                    <a:pt x="433679" y="66176"/>
                    <a:pt x="441389" y="69389"/>
                  </a:cubicBezTo>
                  <a:cubicBezTo>
                    <a:pt x="451026" y="73886"/>
                    <a:pt x="456166" y="79668"/>
                    <a:pt x="456809" y="89306"/>
                  </a:cubicBezTo>
                  <a:cubicBezTo>
                    <a:pt x="457451" y="100228"/>
                    <a:pt x="458093" y="111793"/>
                    <a:pt x="458093" y="122715"/>
                  </a:cubicBezTo>
                  <a:cubicBezTo>
                    <a:pt x="458093" y="127855"/>
                    <a:pt x="458736" y="133637"/>
                    <a:pt x="457451" y="138777"/>
                  </a:cubicBezTo>
                  <a:cubicBezTo>
                    <a:pt x="456166" y="147130"/>
                    <a:pt x="452311" y="154839"/>
                    <a:pt x="452311" y="163834"/>
                  </a:cubicBezTo>
                  <a:cubicBezTo>
                    <a:pt x="452311" y="168974"/>
                    <a:pt x="453596" y="174757"/>
                    <a:pt x="452954" y="179896"/>
                  </a:cubicBezTo>
                  <a:cubicBezTo>
                    <a:pt x="451026" y="192104"/>
                    <a:pt x="436249" y="200456"/>
                    <a:pt x="435606" y="212663"/>
                  </a:cubicBezTo>
                  <a:cubicBezTo>
                    <a:pt x="435606" y="215233"/>
                    <a:pt x="435606" y="217803"/>
                    <a:pt x="437534" y="219088"/>
                  </a:cubicBezTo>
                  <a:cubicBezTo>
                    <a:pt x="440104" y="221658"/>
                    <a:pt x="443959" y="222301"/>
                    <a:pt x="447814" y="222301"/>
                  </a:cubicBezTo>
                  <a:cubicBezTo>
                    <a:pt x="455523" y="222301"/>
                    <a:pt x="463233" y="222943"/>
                    <a:pt x="470943" y="222301"/>
                  </a:cubicBezTo>
                  <a:cubicBezTo>
                    <a:pt x="476725" y="222301"/>
                    <a:pt x="483793" y="223586"/>
                    <a:pt x="484435" y="228726"/>
                  </a:cubicBezTo>
                  <a:cubicBezTo>
                    <a:pt x="484435" y="231295"/>
                    <a:pt x="482508" y="233865"/>
                    <a:pt x="481223" y="235793"/>
                  </a:cubicBezTo>
                  <a:cubicBezTo>
                    <a:pt x="476083" y="242860"/>
                    <a:pt x="472871" y="251213"/>
                    <a:pt x="471586" y="259565"/>
                  </a:cubicBezTo>
                  <a:cubicBezTo>
                    <a:pt x="470301" y="267917"/>
                    <a:pt x="471586" y="276270"/>
                    <a:pt x="470943" y="284622"/>
                  </a:cubicBezTo>
                  <a:cubicBezTo>
                    <a:pt x="470301" y="292332"/>
                    <a:pt x="468373" y="299399"/>
                    <a:pt x="467088" y="307109"/>
                  </a:cubicBezTo>
                  <a:cubicBezTo>
                    <a:pt x="461306" y="341803"/>
                    <a:pt x="469016" y="378425"/>
                    <a:pt x="488933" y="407979"/>
                  </a:cubicBezTo>
                  <a:cubicBezTo>
                    <a:pt x="488933" y="407979"/>
                    <a:pt x="521057" y="458093"/>
                    <a:pt x="573741" y="458093"/>
                  </a:cubicBezTo>
                  <a:cubicBezTo>
                    <a:pt x="626425" y="458093"/>
                    <a:pt x="639275" y="472871"/>
                    <a:pt x="664332" y="478011"/>
                  </a:cubicBezTo>
                  <a:cubicBezTo>
                    <a:pt x="689389" y="483151"/>
                    <a:pt x="702881" y="476726"/>
                    <a:pt x="717658" y="487648"/>
                  </a:cubicBezTo>
                  <a:cubicBezTo>
                    <a:pt x="732436" y="498570"/>
                    <a:pt x="733078" y="530695"/>
                    <a:pt x="733720" y="539047"/>
                  </a:cubicBezTo>
                  <a:cubicBezTo>
                    <a:pt x="735648" y="546757"/>
                    <a:pt x="754923" y="558322"/>
                    <a:pt x="742073" y="572456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 60">
              <a:extLst>
                <a:ext uri="{FF2B5EF4-FFF2-40B4-BE49-F238E27FC236}">
                  <a16:creationId xmlns:a16="http://schemas.microsoft.com/office/drawing/2014/main" id="{964D429D-FC20-B5CA-6FFC-2CD624530224}"/>
                </a:ext>
              </a:extLst>
            </p:cNvPr>
            <p:cNvSpPr/>
            <p:nvPr/>
          </p:nvSpPr>
          <p:spPr>
            <a:xfrm>
              <a:off x="2929197" y="3685363"/>
              <a:ext cx="772418" cy="627389"/>
            </a:xfrm>
            <a:custGeom>
              <a:avLst/>
              <a:gdLst>
                <a:gd name="connsiteX0" fmla="*/ 753638 w 772418"/>
                <a:gd name="connsiteY0" fmla="*/ 325102 h 627389"/>
                <a:gd name="connsiteX1" fmla="*/ 725368 w 772418"/>
                <a:gd name="connsiteY1" fmla="*/ 341165 h 627389"/>
                <a:gd name="connsiteX2" fmla="*/ 700954 w 772418"/>
                <a:gd name="connsiteY2" fmla="*/ 352087 h 627389"/>
                <a:gd name="connsiteX3" fmla="*/ 689389 w 772418"/>
                <a:gd name="connsiteY3" fmla="*/ 359797 h 627389"/>
                <a:gd name="connsiteX4" fmla="*/ 688104 w 772418"/>
                <a:gd name="connsiteY4" fmla="*/ 375216 h 627389"/>
                <a:gd name="connsiteX5" fmla="*/ 690031 w 772418"/>
                <a:gd name="connsiteY5" fmla="*/ 394491 h 627389"/>
                <a:gd name="connsiteX6" fmla="*/ 691959 w 772418"/>
                <a:gd name="connsiteY6" fmla="*/ 401558 h 627389"/>
                <a:gd name="connsiteX7" fmla="*/ 713161 w 772418"/>
                <a:gd name="connsiteY7" fmla="*/ 406698 h 627389"/>
                <a:gd name="connsiteX8" fmla="*/ 668187 w 772418"/>
                <a:gd name="connsiteY8" fmla="*/ 449745 h 627389"/>
                <a:gd name="connsiteX9" fmla="*/ 648270 w 772418"/>
                <a:gd name="connsiteY9" fmla="*/ 465164 h 627389"/>
                <a:gd name="connsiteX10" fmla="*/ 641202 w 772418"/>
                <a:gd name="connsiteY10" fmla="*/ 469662 h 627389"/>
                <a:gd name="connsiteX11" fmla="*/ 630280 w 772418"/>
                <a:gd name="connsiteY11" fmla="*/ 472232 h 627389"/>
                <a:gd name="connsiteX12" fmla="*/ 618715 w 772418"/>
                <a:gd name="connsiteY12" fmla="*/ 468377 h 627389"/>
                <a:gd name="connsiteX13" fmla="*/ 599441 w 772418"/>
                <a:gd name="connsiteY13" fmla="*/ 478014 h 627389"/>
                <a:gd name="connsiteX14" fmla="*/ 594301 w 772418"/>
                <a:gd name="connsiteY14" fmla="*/ 499216 h 627389"/>
                <a:gd name="connsiteX15" fmla="*/ 589803 w 772418"/>
                <a:gd name="connsiteY15" fmla="*/ 512709 h 627389"/>
                <a:gd name="connsiteX16" fmla="*/ 582736 w 772418"/>
                <a:gd name="connsiteY16" fmla="*/ 520418 h 627389"/>
                <a:gd name="connsiteX17" fmla="*/ 587876 w 772418"/>
                <a:gd name="connsiteY17" fmla="*/ 524916 h 627389"/>
                <a:gd name="connsiteX18" fmla="*/ 553182 w 772418"/>
                <a:gd name="connsiteY18" fmla="*/ 535196 h 627389"/>
                <a:gd name="connsiteX19" fmla="*/ 504353 w 772418"/>
                <a:gd name="connsiteY19" fmla="*/ 542263 h 627389"/>
                <a:gd name="connsiteX20" fmla="*/ 472871 w 772418"/>
                <a:gd name="connsiteY20" fmla="*/ 542263 h 627389"/>
                <a:gd name="connsiteX21" fmla="*/ 446529 w 772418"/>
                <a:gd name="connsiteY21" fmla="*/ 499216 h 627389"/>
                <a:gd name="connsiteX22" fmla="*/ 447171 w 772418"/>
                <a:gd name="connsiteY22" fmla="*/ 496004 h 627389"/>
                <a:gd name="connsiteX23" fmla="*/ 450384 w 772418"/>
                <a:gd name="connsiteY23" fmla="*/ 494076 h 627389"/>
                <a:gd name="connsiteX24" fmla="*/ 449741 w 772418"/>
                <a:gd name="connsiteY24" fmla="*/ 484439 h 627389"/>
                <a:gd name="connsiteX25" fmla="*/ 438819 w 772418"/>
                <a:gd name="connsiteY25" fmla="*/ 482512 h 627389"/>
                <a:gd name="connsiteX26" fmla="*/ 434321 w 772418"/>
                <a:gd name="connsiteY26" fmla="*/ 483797 h 627389"/>
                <a:gd name="connsiteX27" fmla="*/ 430467 w 772418"/>
                <a:gd name="connsiteY27" fmla="*/ 486367 h 627389"/>
                <a:gd name="connsiteX28" fmla="*/ 419544 w 772418"/>
                <a:gd name="connsiteY28" fmla="*/ 487009 h 627389"/>
                <a:gd name="connsiteX29" fmla="*/ 402840 w 772418"/>
                <a:gd name="connsiteY29" fmla="*/ 496647 h 627389"/>
                <a:gd name="connsiteX30" fmla="*/ 397700 w 772418"/>
                <a:gd name="connsiteY30" fmla="*/ 505641 h 627389"/>
                <a:gd name="connsiteX31" fmla="*/ 389990 w 772418"/>
                <a:gd name="connsiteY31" fmla="*/ 509496 h 627389"/>
                <a:gd name="connsiteX32" fmla="*/ 392560 w 772418"/>
                <a:gd name="connsiteY32" fmla="*/ 517206 h 627389"/>
                <a:gd name="connsiteX33" fmla="*/ 400270 w 772418"/>
                <a:gd name="connsiteY33" fmla="*/ 521703 h 627389"/>
                <a:gd name="connsiteX34" fmla="*/ 405410 w 772418"/>
                <a:gd name="connsiteY34" fmla="*/ 537766 h 627389"/>
                <a:gd name="connsiteX35" fmla="*/ 403482 w 772418"/>
                <a:gd name="connsiteY35" fmla="*/ 555113 h 627389"/>
                <a:gd name="connsiteX36" fmla="*/ 405410 w 772418"/>
                <a:gd name="connsiteY36" fmla="*/ 562823 h 627389"/>
                <a:gd name="connsiteX37" fmla="*/ 404767 w 772418"/>
                <a:gd name="connsiteY37" fmla="*/ 579527 h 627389"/>
                <a:gd name="connsiteX38" fmla="*/ 398342 w 772418"/>
                <a:gd name="connsiteY38" fmla="*/ 590450 h 627389"/>
                <a:gd name="connsiteX39" fmla="*/ 384850 w 772418"/>
                <a:gd name="connsiteY39" fmla="*/ 594304 h 627389"/>
                <a:gd name="connsiteX40" fmla="*/ 366218 w 772418"/>
                <a:gd name="connsiteY40" fmla="*/ 592377 h 627389"/>
                <a:gd name="connsiteX41" fmla="*/ 353368 w 772418"/>
                <a:gd name="connsiteY41" fmla="*/ 574387 h 627389"/>
                <a:gd name="connsiteX42" fmla="*/ 328311 w 772418"/>
                <a:gd name="connsiteY42" fmla="*/ 549973 h 627389"/>
                <a:gd name="connsiteX43" fmla="*/ 285264 w 772418"/>
                <a:gd name="connsiteY43" fmla="*/ 543548 h 627389"/>
                <a:gd name="connsiteX44" fmla="*/ 240933 w 772418"/>
                <a:gd name="connsiteY44" fmla="*/ 564108 h 627389"/>
                <a:gd name="connsiteX45" fmla="*/ 244788 w 772418"/>
                <a:gd name="connsiteY45" fmla="*/ 579527 h 627389"/>
                <a:gd name="connsiteX46" fmla="*/ 253782 w 772418"/>
                <a:gd name="connsiteY46" fmla="*/ 580170 h 627389"/>
                <a:gd name="connsiteX47" fmla="*/ 258280 w 772418"/>
                <a:gd name="connsiteY47" fmla="*/ 593662 h 627389"/>
                <a:gd name="connsiteX48" fmla="*/ 249928 w 772418"/>
                <a:gd name="connsiteY48" fmla="*/ 599445 h 627389"/>
                <a:gd name="connsiteX49" fmla="*/ 246073 w 772418"/>
                <a:gd name="connsiteY49" fmla="*/ 623859 h 627389"/>
                <a:gd name="connsiteX50" fmla="*/ 231295 w 772418"/>
                <a:gd name="connsiteY50" fmla="*/ 627071 h 627389"/>
                <a:gd name="connsiteX51" fmla="*/ 201741 w 772418"/>
                <a:gd name="connsiteY51" fmla="*/ 616149 h 627389"/>
                <a:gd name="connsiteX52" fmla="*/ 188891 w 772418"/>
                <a:gd name="connsiteY52" fmla="*/ 598159 h 627389"/>
                <a:gd name="connsiteX53" fmla="*/ 144560 w 772418"/>
                <a:gd name="connsiteY53" fmla="*/ 523631 h 627389"/>
                <a:gd name="connsiteX54" fmla="*/ 97016 w 772418"/>
                <a:gd name="connsiteY54" fmla="*/ 484439 h 627389"/>
                <a:gd name="connsiteX55" fmla="*/ 87378 w 772418"/>
                <a:gd name="connsiteY55" fmla="*/ 479299 h 627389"/>
                <a:gd name="connsiteX56" fmla="*/ 77098 w 772418"/>
                <a:gd name="connsiteY56" fmla="*/ 478014 h 627389"/>
                <a:gd name="connsiteX57" fmla="*/ 66176 w 772418"/>
                <a:gd name="connsiteY57" fmla="*/ 478014 h 627389"/>
                <a:gd name="connsiteX58" fmla="*/ 61036 w 772418"/>
                <a:gd name="connsiteY58" fmla="*/ 478657 h 627389"/>
                <a:gd name="connsiteX59" fmla="*/ 55896 w 772418"/>
                <a:gd name="connsiteY59" fmla="*/ 482512 h 627389"/>
                <a:gd name="connsiteX60" fmla="*/ 39192 w 772418"/>
                <a:gd name="connsiteY60" fmla="*/ 500501 h 627389"/>
                <a:gd name="connsiteX61" fmla="*/ 39192 w 772418"/>
                <a:gd name="connsiteY61" fmla="*/ 500501 h 627389"/>
                <a:gd name="connsiteX62" fmla="*/ 37264 w 772418"/>
                <a:gd name="connsiteY62" fmla="*/ 485082 h 627389"/>
                <a:gd name="connsiteX63" fmla="*/ 40477 w 772418"/>
                <a:gd name="connsiteY63" fmla="*/ 467735 h 627389"/>
                <a:gd name="connsiteX64" fmla="*/ 51399 w 772418"/>
                <a:gd name="connsiteY64" fmla="*/ 442035 h 627389"/>
                <a:gd name="connsiteX65" fmla="*/ 35337 w 772418"/>
                <a:gd name="connsiteY65" fmla="*/ 424045 h 627389"/>
                <a:gd name="connsiteX66" fmla="*/ 28269 w 772418"/>
                <a:gd name="connsiteY66" fmla="*/ 424045 h 627389"/>
                <a:gd name="connsiteX67" fmla="*/ 19275 w 772418"/>
                <a:gd name="connsiteY67" fmla="*/ 430470 h 627389"/>
                <a:gd name="connsiteX68" fmla="*/ 9637 w 772418"/>
                <a:gd name="connsiteY68" fmla="*/ 429185 h 627389"/>
                <a:gd name="connsiteX69" fmla="*/ 8995 w 772418"/>
                <a:gd name="connsiteY69" fmla="*/ 427258 h 627389"/>
                <a:gd name="connsiteX70" fmla="*/ 12850 w 772418"/>
                <a:gd name="connsiteY70" fmla="*/ 356584 h 627389"/>
                <a:gd name="connsiteX71" fmla="*/ 32767 w 772418"/>
                <a:gd name="connsiteY71" fmla="*/ 323175 h 627389"/>
                <a:gd name="connsiteX72" fmla="*/ 43047 w 772418"/>
                <a:gd name="connsiteY72" fmla="*/ 309040 h 627389"/>
                <a:gd name="connsiteX73" fmla="*/ 60394 w 772418"/>
                <a:gd name="connsiteY73" fmla="*/ 287838 h 627389"/>
                <a:gd name="connsiteX74" fmla="*/ 73886 w 772418"/>
                <a:gd name="connsiteY74" fmla="*/ 269206 h 627389"/>
                <a:gd name="connsiteX75" fmla="*/ 77741 w 772418"/>
                <a:gd name="connsiteY75" fmla="*/ 262139 h 627389"/>
                <a:gd name="connsiteX76" fmla="*/ 75171 w 772418"/>
                <a:gd name="connsiteY76" fmla="*/ 244149 h 627389"/>
                <a:gd name="connsiteX77" fmla="*/ 67461 w 772418"/>
                <a:gd name="connsiteY77" fmla="*/ 234512 h 627389"/>
                <a:gd name="connsiteX78" fmla="*/ 61679 w 772418"/>
                <a:gd name="connsiteY78" fmla="*/ 221662 h 627389"/>
                <a:gd name="connsiteX79" fmla="*/ 50114 w 772418"/>
                <a:gd name="connsiteY79" fmla="*/ 191465 h 627389"/>
                <a:gd name="connsiteX80" fmla="*/ 41762 w 772418"/>
                <a:gd name="connsiteY80" fmla="*/ 177330 h 627389"/>
                <a:gd name="connsiteX81" fmla="*/ 25699 w 772418"/>
                <a:gd name="connsiteY81" fmla="*/ 168978 h 627389"/>
                <a:gd name="connsiteX82" fmla="*/ 7710 w 772418"/>
                <a:gd name="connsiteY82" fmla="*/ 147133 h 627389"/>
                <a:gd name="connsiteX83" fmla="*/ 643 w 772418"/>
                <a:gd name="connsiteY83" fmla="*/ 120149 h 627389"/>
                <a:gd name="connsiteX84" fmla="*/ 0 w 772418"/>
                <a:gd name="connsiteY84" fmla="*/ 116936 h 627389"/>
                <a:gd name="connsiteX85" fmla="*/ 4497 w 772418"/>
                <a:gd name="connsiteY85" fmla="*/ 119506 h 627389"/>
                <a:gd name="connsiteX86" fmla="*/ 35337 w 772418"/>
                <a:gd name="connsiteY86" fmla="*/ 104729 h 627389"/>
                <a:gd name="connsiteX87" fmla="*/ 59109 w 772418"/>
                <a:gd name="connsiteY87" fmla="*/ 98947 h 627389"/>
                <a:gd name="connsiteX88" fmla="*/ 64249 w 772418"/>
                <a:gd name="connsiteY88" fmla="*/ 90594 h 627389"/>
                <a:gd name="connsiteX89" fmla="*/ 84166 w 772418"/>
                <a:gd name="connsiteY89" fmla="*/ 82885 h 627389"/>
                <a:gd name="connsiteX90" fmla="*/ 111793 w 772418"/>
                <a:gd name="connsiteY90" fmla="*/ 62968 h 627389"/>
                <a:gd name="connsiteX91" fmla="*/ 169617 w 772418"/>
                <a:gd name="connsiteY91" fmla="*/ 37268 h 627389"/>
                <a:gd name="connsiteX92" fmla="*/ 197886 w 772418"/>
                <a:gd name="connsiteY92" fmla="*/ 22491 h 627389"/>
                <a:gd name="connsiteX93" fmla="*/ 218446 w 772418"/>
                <a:gd name="connsiteY93" fmla="*/ 3216 h 627389"/>
                <a:gd name="connsiteX94" fmla="*/ 234508 w 772418"/>
                <a:gd name="connsiteY94" fmla="*/ 3859 h 627389"/>
                <a:gd name="connsiteX95" fmla="*/ 267917 w 772418"/>
                <a:gd name="connsiteY95" fmla="*/ 3859 h 627389"/>
                <a:gd name="connsiteX96" fmla="*/ 278197 w 772418"/>
                <a:gd name="connsiteY96" fmla="*/ 10926 h 627389"/>
                <a:gd name="connsiteX97" fmla="*/ 289762 w 772418"/>
                <a:gd name="connsiteY97" fmla="*/ 18636 h 627389"/>
                <a:gd name="connsiteX98" fmla="*/ 292974 w 772418"/>
                <a:gd name="connsiteY98" fmla="*/ 20563 h 627389"/>
                <a:gd name="connsiteX99" fmla="*/ 294259 w 772418"/>
                <a:gd name="connsiteY99" fmla="*/ 21848 h 627389"/>
                <a:gd name="connsiteX100" fmla="*/ 298114 w 772418"/>
                <a:gd name="connsiteY100" fmla="*/ 28273 h 627389"/>
                <a:gd name="connsiteX101" fmla="*/ 291047 w 772418"/>
                <a:gd name="connsiteY101" fmla="*/ 32128 h 627389"/>
                <a:gd name="connsiteX102" fmla="*/ 286549 w 772418"/>
                <a:gd name="connsiteY102" fmla="*/ 41123 h 627389"/>
                <a:gd name="connsiteX103" fmla="*/ 294902 w 772418"/>
                <a:gd name="connsiteY103" fmla="*/ 73247 h 627389"/>
                <a:gd name="connsiteX104" fmla="*/ 299399 w 772418"/>
                <a:gd name="connsiteY104" fmla="*/ 89952 h 627389"/>
                <a:gd name="connsiteX105" fmla="*/ 329596 w 772418"/>
                <a:gd name="connsiteY105" fmla="*/ 106657 h 627389"/>
                <a:gd name="connsiteX106" fmla="*/ 350156 w 772418"/>
                <a:gd name="connsiteY106" fmla="*/ 113724 h 627389"/>
                <a:gd name="connsiteX107" fmla="*/ 389347 w 772418"/>
                <a:gd name="connsiteY107" fmla="*/ 117579 h 627389"/>
                <a:gd name="connsiteX108" fmla="*/ 396415 w 772418"/>
                <a:gd name="connsiteY108" fmla="*/ 136211 h 627389"/>
                <a:gd name="connsiteX109" fmla="*/ 396415 w 772418"/>
                <a:gd name="connsiteY109" fmla="*/ 152916 h 627389"/>
                <a:gd name="connsiteX110" fmla="*/ 398342 w 772418"/>
                <a:gd name="connsiteY110" fmla="*/ 170905 h 627389"/>
                <a:gd name="connsiteX111" fmla="*/ 440104 w 772418"/>
                <a:gd name="connsiteY111" fmla="*/ 230657 h 627389"/>
                <a:gd name="connsiteX112" fmla="*/ 464518 w 772418"/>
                <a:gd name="connsiteY112" fmla="*/ 238367 h 627389"/>
                <a:gd name="connsiteX113" fmla="*/ 491503 w 772418"/>
                <a:gd name="connsiteY113" fmla="*/ 230657 h 627389"/>
                <a:gd name="connsiteX114" fmla="*/ 520415 w 772418"/>
                <a:gd name="connsiteY114" fmla="*/ 239652 h 627389"/>
                <a:gd name="connsiteX115" fmla="*/ 538404 w 772418"/>
                <a:gd name="connsiteY115" fmla="*/ 258926 h 627389"/>
                <a:gd name="connsiteX116" fmla="*/ 558964 w 772418"/>
                <a:gd name="connsiteY116" fmla="*/ 251216 h 627389"/>
                <a:gd name="connsiteX117" fmla="*/ 578239 w 772418"/>
                <a:gd name="connsiteY117" fmla="*/ 266636 h 627389"/>
                <a:gd name="connsiteX118" fmla="*/ 598798 w 772418"/>
                <a:gd name="connsiteY118" fmla="*/ 274346 h 627389"/>
                <a:gd name="connsiteX119" fmla="*/ 616788 w 772418"/>
                <a:gd name="connsiteY119" fmla="*/ 294905 h 627389"/>
                <a:gd name="connsiteX120" fmla="*/ 647627 w 772418"/>
                <a:gd name="connsiteY120" fmla="*/ 297475 h 627389"/>
                <a:gd name="connsiteX121" fmla="*/ 669472 w 772418"/>
                <a:gd name="connsiteY121" fmla="*/ 297475 h 627389"/>
                <a:gd name="connsiteX122" fmla="*/ 684249 w 772418"/>
                <a:gd name="connsiteY122" fmla="*/ 287838 h 627389"/>
                <a:gd name="connsiteX123" fmla="*/ 691959 w 772418"/>
                <a:gd name="connsiteY123" fmla="*/ 269848 h 627389"/>
                <a:gd name="connsiteX124" fmla="*/ 694529 w 772418"/>
                <a:gd name="connsiteY124" fmla="*/ 256999 h 627389"/>
                <a:gd name="connsiteX125" fmla="*/ 683606 w 772418"/>
                <a:gd name="connsiteY125" fmla="*/ 247361 h 627389"/>
                <a:gd name="connsiteX126" fmla="*/ 682322 w 772418"/>
                <a:gd name="connsiteY126" fmla="*/ 233227 h 627389"/>
                <a:gd name="connsiteX127" fmla="*/ 713161 w 772418"/>
                <a:gd name="connsiteY127" fmla="*/ 239009 h 627389"/>
                <a:gd name="connsiteX128" fmla="*/ 759420 w 772418"/>
                <a:gd name="connsiteY128" fmla="*/ 279486 h 627389"/>
                <a:gd name="connsiteX129" fmla="*/ 772270 w 772418"/>
                <a:gd name="connsiteY129" fmla="*/ 304543 h 627389"/>
                <a:gd name="connsiteX130" fmla="*/ 753638 w 772418"/>
                <a:gd name="connsiteY130" fmla="*/ 325102 h 62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772418" h="627389">
                  <a:moveTo>
                    <a:pt x="753638" y="325102"/>
                  </a:moveTo>
                  <a:cubicBezTo>
                    <a:pt x="750425" y="330242"/>
                    <a:pt x="732436" y="337310"/>
                    <a:pt x="725368" y="341165"/>
                  </a:cubicBezTo>
                  <a:cubicBezTo>
                    <a:pt x="717658" y="345019"/>
                    <a:pt x="700954" y="352087"/>
                    <a:pt x="700954" y="352087"/>
                  </a:cubicBezTo>
                  <a:cubicBezTo>
                    <a:pt x="695814" y="354014"/>
                    <a:pt x="691959" y="355299"/>
                    <a:pt x="689389" y="359797"/>
                  </a:cubicBezTo>
                  <a:cubicBezTo>
                    <a:pt x="686819" y="364294"/>
                    <a:pt x="687461" y="370076"/>
                    <a:pt x="688104" y="375216"/>
                  </a:cubicBezTo>
                  <a:cubicBezTo>
                    <a:pt x="688746" y="381641"/>
                    <a:pt x="689389" y="388066"/>
                    <a:pt x="690031" y="394491"/>
                  </a:cubicBezTo>
                  <a:cubicBezTo>
                    <a:pt x="690031" y="397061"/>
                    <a:pt x="690674" y="399631"/>
                    <a:pt x="691959" y="401558"/>
                  </a:cubicBezTo>
                  <a:cubicBezTo>
                    <a:pt x="696456" y="407341"/>
                    <a:pt x="706736" y="402843"/>
                    <a:pt x="713161" y="406698"/>
                  </a:cubicBezTo>
                  <a:cubicBezTo>
                    <a:pt x="701596" y="424045"/>
                    <a:pt x="684892" y="436895"/>
                    <a:pt x="668187" y="449745"/>
                  </a:cubicBezTo>
                  <a:cubicBezTo>
                    <a:pt x="661762" y="454885"/>
                    <a:pt x="655337" y="460025"/>
                    <a:pt x="648270" y="465164"/>
                  </a:cubicBezTo>
                  <a:cubicBezTo>
                    <a:pt x="646342" y="467092"/>
                    <a:pt x="643772" y="468377"/>
                    <a:pt x="641202" y="469662"/>
                  </a:cubicBezTo>
                  <a:cubicBezTo>
                    <a:pt x="637990" y="471589"/>
                    <a:pt x="634135" y="472874"/>
                    <a:pt x="630280" y="472232"/>
                  </a:cubicBezTo>
                  <a:cubicBezTo>
                    <a:pt x="626425" y="471589"/>
                    <a:pt x="622570" y="469662"/>
                    <a:pt x="618715" y="468377"/>
                  </a:cubicBezTo>
                  <a:cubicBezTo>
                    <a:pt x="611005" y="466450"/>
                    <a:pt x="603296" y="471589"/>
                    <a:pt x="599441" y="478014"/>
                  </a:cubicBezTo>
                  <a:cubicBezTo>
                    <a:pt x="595586" y="484439"/>
                    <a:pt x="594943" y="491507"/>
                    <a:pt x="594301" y="499216"/>
                  </a:cubicBezTo>
                  <a:cubicBezTo>
                    <a:pt x="593658" y="504356"/>
                    <a:pt x="593658" y="509496"/>
                    <a:pt x="589803" y="512709"/>
                  </a:cubicBezTo>
                  <a:cubicBezTo>
                    <a:pt x="587233" y="515279"/>
                    <a:pt x="582736" y="517206"/>
                    <a:pt x="582736" y="520418"/>
                  </a:cubicBezTo>
                  <a:cubicBezTo>
                    <a:pt x="582736" y="522988"/>
                    <a:pt x="585306" y="524273"/>
                    <a:pt x="587876" y="524916"/>
                  </a:cubicBezTo>
                  <a:cubicBezTo>
                    <a:pt x="587876" y="524916"/>
                    <a:pt x="586591" y="529413"/>
                    <a:pt x="553182" y="535196"/>
                  </a:cubicBezTo>
                  <a:cubicBezTo>
                    <a:pt x="519772" y="541621"/>
                    <a:pt x="513990" y="538408"/>
                    <a:pt x="504353" y="542263"/>
                  </a:cubicBezTo>
                  <a:cubicBezTo>
                    <a:pt x="495358" y="546118"/>
                    <a:pt x="481865" y="548688"/>
                    <a:pt x="472871" y="542263"/>
                  </a:cubicBezTo>
                  <a:cubicBezTo>
                    <a:pt x="457451" y="531983"/>
                    <a:pt x="448456" y="517206"/>
                    <a:pt x="446529" y="499216"/>
                  </a:cubicBezTo>
                  <a:cubicBezTo>
                    <a:pt x="446529" y="497931"/>
                    <a:pt x="446529" y="497289"/>
                    <a:pt x="447171" y="496004"/>
                  </a:cubicBezTo>
                  <a:cubicBezTo>
                    <a:pt x="447814" y="494719"/>
                    <a:pt x="449099" y="494719"/>
                    <a:pt x="450384" y="494076"/>
                  </a:cubicBezTo>
                  <a:cubicBezTo>
                    <a:pt x="453596" y="492149"/>
                    <a:pt x="452311" y="487009"/>
                    <a:pt x="449741" y="484439"/>
                  </a:cubicBezTo>
                  <a:cubicBezTo>
                    <a:pt x="446529" y="481869"/>
                    <a:pt x="442674" y="481869"/>
                    <a:pt x="438819" y="482512"/>
                  </a:cubicBezTo>
                  <a:cubicBezTo>
                    <a:pt x="436891" y="482512"/>
                    <a:pt x="435606" y="483154"/>
                    <a:pt x="434321" y="483797"/>
                  </a:cubicBezTo>
                  <a:cubicBezTo>
                    <a:pt x="433036" y="484439"/>
                    <a:pt x="432394" y="485724"/>
                    <a:pt x="430467" y="486367"/>
                  </a:cubicBezTo>
                  <a:cubicBezTo>
                    <a:pt x="427254" y="488294"/>
                    <a:pt x="423399" y="487009"/>
                    <a:pt x="419544" y="487009"/>
                  </a:cubicBezTo>
                  <a:cubicBezTo>
                    <a:pt x="412477" y="486367"/>
                    <a:pt x="405410" y="490864"/>
                    <a:pt x="402840" y="496647"/>
                  </a:cubicBezTo>
                  <a:cubicBezTo>
                    <a:pt x="401555" y="499859"/>
                    <a:pt x="400912" y="503714"/>
                    <a:pt x="397700" y="505641"/>
                  </a:cubicBezTo>
                  <a:cubicBezTo>
                    <a:pt x="395130" y="507569"/>
                    <a:pt x="391275" y="507569"/>
                    <a:pt x="389990" y="509496"/>
                  </a:cubicBezTo>
                  <a:cubicBezTo>
                    <a:pt x="388705" y="512066"/>
                    <a:pt x="389990" y="515279"/>
                    <a:pt x="392560" y="517206"/>
                  </a:cubicBezTo>
                  <a:cubicBezTo>
                    <a:pt x="395130" y="519134"/>
                    <a:pt x="397700" y="519776"/>
                    <a:pt x="400270" y="521703"/>
                  </a:cubicBezTo>
                  <a:cubicBezTo>
                    <a:pt x="404767" y="525558"/>
                    <a:pt x="406052" y="531983"/>
                    <a:pt x="405410" y="537766"/>
                  </a:cubicBezTo>
                  <a:cubicBezTo>
                    <a:pt x="404767" y="543548"/>
                    <a:pt x="402840" y="549330"/>
                    <a:pt x="403482" y="555113"/>
                  </a:cubicBezTo>
                  <a:cubicBezTo>
                    <a:pt x="403482" y="557683"/>
                    <a:pt x="404767" y="560253"/>
                    <a:pt x="405410" y="562823"/>
                  </a:cubicBezTo>
                  <a:cubicBezTo>
                    <a:pt x="406694" y="568605"/>
                    <a:pt x="406052" y="574387"/>
                    <a:pt x="404767" y="579527"/>
                  </a:cubicBezTo>
                  <a:cubicBezTo>
                    <a:pt x="403482" y="583382"/>
                    <a:pt x="401555" y="587880"/>
                    <a:pt x="398342" y="590450"/>
                  </a:cubicBezTo>
                  <a:cubicBezTo>
                    <a:pt x="394487" y="593020"/>
                    <a:pt x="389347" y="593662"/>
                    <a:pt x="384850" y="594304"/>
                  </a:cubicBezTo>
                  <a:cubicBezTo>
                    <a:pt x="378425" y="594947"/>
                    <a:pt x="372000" y="595590"/>
                    <a:pt x="366218" y="592377"/>
                  </a:cubicBezTo>
                  <a:cubicBezTo>
                    <a:pt x="359150" y="588522"/>
                    <a:pt x="356580" y="580812"/>
                    <a:pt x="353368" y="574387"/>
                  </a:cubicBezTo>
                  <a:cubicBezTo>
                    <a:pt x="347586" y="564108"/>
                    <a:pt x="339233" y="555755"/>
                    <a:pt x="328311" y="549973"/>
                  </a:cubicBezTo>
                  <a:cubicBezTo>
                    <a:pt x="315461" y="543548"/>
                    <a:pt x="299399" y="541621"/>
                    <a:pt x="285264" y="543548"/>
                  </a:cubicBezTo>
                  <a:cubicBezTo>
                    <a:pt x="270487" y="545475"/>
                    <a:pt x="247358" y="549330"/>
                    <a:pt x="240933" y="564108"/>
                  </a:cubicBezTo>
                  <a:cubicBezTo>
                    <a:pt x="238363" y="569248"/>
                    <a:pt x="239005" y="577600"/>
                    <a:pt x="244788" y="579527"/>
                  </a:cubicBezTo>
                  <a:cubicBezTo>
                    <a:pt x="247358" y="580170"/>
                    <a:pt x="251213" y="579527"/>
                    <a:pt x="253782" y="580170"/>
                  </a:cubicBezTo>
                  <a:cubicBezTo>
                    <a:pt x="259565" y="581455"/>
                    <a:pt x="262135" y="589165"/>
                    <a:pt x="258280" y="593662"/>
                  </a:cubicBezTo>
                  <a:cubicBezTo>
                    <a:pt x="255710" y="596232"/>
                    <a:pt x="251855" y="596874"/>
                    <a:pt x="249928" y="599445"/>
                  </a:cubicBezTo>
                  <a:cubicBezTo>
                    <a:pt x="244145" y="605869"/>
                    <a:pt x="251855" y="617434"/>
                    <a:pt x="246073" y="623859"/>
                  </a:cubicBezTo>
                  <a:cubicBezTo>
                    <a:pt x="242860" y="627714"/>
                    <a:pt x="236435" y="627714"/>
                    <a:pt x="231295" y="627071"/>
                  </a:cubicBezTo>
                  <a:cubicBezTo>
                    <a:pt x="220373" y="625786"/>
                    <a:pt x="209451" y="623216"/>
                    <a:pt x="201741" y="616149"/>
                  </a:cubicBezTo>
                  <a:cubicBezTo>
                    <a:pt x="195959" y="611652"/>
                    <a:pt x="192104" y="605227"/>
                    <a:pt x="188891" y="598159"/>
                  </a:cubicBezTo>
                  <a:cubicBezTo>
                    <a:pt x="174757" y="573102"/>
                    <a:pt x="163834" y="545475"/>
                    <a:pt x="144560" y="523631"/>
                  </a:cubicBezTo>
                  <a:cubicBezTo>
                    <a:pt x="131067" y="508211"/>
                    <a:pt x="113720" y="496004"/>
                    <a:pt x="97016" y="484439"/>
                  </a:cubicBezTo>
                  <a:cubicBezTo>
                    <a:pt x="93803" y="482512"/>
                    <a:pt x="91233" y="479942"/>
                    <a:pt x="87378" y="479299"/>
                  </a:cubicBezTo>
                  <a:cubicBezTo>
                    <a:pt x="84166" y="478014"/>
                    <a:pt x="80311" y="478014"/>
                    <a:pt x="77098" y="478014"/>
                  </a:cubicBezTo>
                  <a:cubicBezTo>
                    <a:pt x="73244" y="478014"/>
                    <a:pt x="69389" y="478014"/>
                    <a:pt x="66176" y="478014"/>
                  </a:cubicBezTo>
                  <a:cubicBezTo>
                    <a:pt x="64249" y="478014"/>
                    <a:pt x="62964" y="478014"/>
                    <a:pt x="61036" y="478657"/>
                  </a:cubicBezTo>
                  <a:cubicBezTo>
                    <a:pt x="59109" y="479299"/>
                    <a:pt x="57181" y="481227"/>
                    <a:pt x="55896" y="482512"/>
                  </a:cubicBezTo>
                  <a:cubicBezTo>
                    <a:pt x="50114" y="488294"/>
                    <a:pt x="44974" y="494719"/>
                    <a:pt x="39192" y="500501"/>
                  </a:cubicBezTo>
                  <a:lnTo>
                    <a:pt x="39192" y="500501"/>
                  </a:lnTo>
                  <a:cubicBezTo>
                    <a:pt x="39834" y="498574"/>
                    <a:pt x="37264" y="487009"/>
                    <a:pt x="37264" y="485082"/>
                  </a:cubicBezTo>
                  <a:cubicBezTo>
                    <a:pt x="37264" y="479299"/>
                    <a:pt x="38549" y="473517"/>
                    <a:pt x="40477" y="467735"/>
                  </a:cubicBezTo>
                  <a:cubicBezTo>
                    <a:pt x="44332" y="458097"/>
                    <a:pt x="52684" y="453600"/>
                    <a:pt x="51399" y="442035"/>
                  </a:cubicBezTo>
                  <a:cubicBezTo>
                    <a:pt x="50756" y="433683"/>
                    <a:pt x="43689" y="425973"/>
                    <a:pt x="35337" y="424045"/>
                  </a:cubicBezTo>
                  <a:cubicBezTo>
                    <a:pt x="33409" y="423403"/>
                    <a:pt x="30839" y="423403"/>
                    <a:pt x="28269" y="424045"/>
                  </a:cubicBezTo>
                  <a:cubicBezTo>
                    <a:pt x="24414" y="425330"/>
                    <a:pt x="21845" y="428543"/>
                    <a:pt x="19275" y="430470"/>
                  </a:cubicBezTo>
                  <a:cubicBezTo>
                    <a:pt x="16062" y="432398"/>
                    <a:pt x="10922" y="433040"/>
                    <a:pt x="9637" y="429185"/>
                  </a:cubicBezTo>
                  <a:cubicBezTo>
                    <a:pt x="9637" y="428543"/>
                    <a:pt x="9637" y="427900"/>
                    <a:pt x="8995" y="427258"/>
                  </a:cubicBezTo>
                  <a:cubicBezTo>
                    <a:pt x="7067" y="403486"/>
                    <a:pt x="4497" y="379071"/>
                    <a:pt x="12850" y="356584"/>
                  </a:cubicBezTo>
                  <a:cubicBezTo>
                    <a:pt x="17347" y="344377"/>
                    <a:pt x="25057" y="333455"/>
                    <a:pt x="32767" y="323175"/>
                  </a:cubicBezTo>
                  <a:cubicBezTo>
                    <a:pt x="35979" y="318677"/>
                    <a:pt x="39834" y="313538"/>
                    <a:pt x="43047" y="309040"/>
                  </a:cubicBezTo>
                  <a:cubicBezTo>
                    <a:pt x="48829" y="301973"/>
                    <a:pt x="54611" y="294905"/>
                    <a:pt x="60394" y="287838"/>
                  </a:cubicBezTo>
                  <a:cubicBezTo>
                    <a:pt x="65534" y="282056"/>
                    <a:pt x="70031" y="275631"/>
                    <a:pt x="73886" y="269206"/>
                  </a:cubicBezTo>
                  <a:cubicBezTo>
                    <a:pt x="75171" y="267278"/>
                    <a:pt x="76456" y="264709"/>
                    <a:pt x="77741" y="262139"/>
                  </a:cubicBezTo>
                  <a:cubicBezTo>
                    <a:pt x="79668" y="256356"/>
                    <a:pt x="78384" y="249931"/>
                    <a:pt x="75171" y="244149"/>
                  </a:cubicBezTo>
                  <a:cubicBezTo>
                    <a:pt x="73244" y="240294"/>
                    <a:pt x="70031" y="237724"/>
                    <a:pt x="67461" y="234512"/>
                  </a:cubicBezTo>
                  <a:cubicBezTo>
                    <a:pt x="64249" y="230657"/>
                    <a:pt x="62964" y="226159"/>
                    <a:pt x="61679" y="221662"/>
                  </a:cubicBezTo>
                  <a:cubicBezTo>
                    <a:pt x="57824" y="211382"/>
                    <a:pt x="53969" y="201745"/>
                    <a:pt x="50114" y="191465"/>
                  </a:cubicBezTo>
                  <a:cubicBezTo>
                    <a:pt x="48187" y="186325"/>
                    <a:pt x="46259" y="181185"/>
                    <a:pt x="41762" y="177330"/>
                  </a:cubicBezTo>
                  <a:cubicBezTo>
                    <a:pt x="37264" y="173475"/>
                    <a:pt x="31482" y="171548"/>
                    <a:pt x="25699" y="168978"/>
                  </a:cubicBezTo>
                  <a:cubicBezTo>
                    <a:pt x="17347" y="164481"/>
                    <a:pt x="10922" y="156128"/>
                    <a:pt x="7710" y="147133"/>
                  </a:cubicBezTo>
                  <a:cubicBezTo>
                    <a:pt x="3855" y="138138"/>
                    <a:pt x="2570" y="129144"/>
                    <a:pt x="643" y="120149"/>
                  </a:cubicBezTo>
                  <a:cubicBezTo>
                    <a:pt x="643" y="118864"/>
                    <a:pt x="0" y="118221"/>
                    <a:pt x="0" y="116936"/>
                  </a:cubicBezTo>
                  <a:cubicBezTo>
                    <a:pt x="1285" y="117579"/>
                    <a:pt x="3212" y="118221"/>
                    <a:pt x="4497" y="119506"/>
                  </a:cubicBezTo>
                  <a:cubicBezTo>
                    <a:pt x="12207" y="111154"/>
                    <a:pt x="23772" y="106014"/>
                    <a:pt x="35337" y="104729"/>
                  </a:cubicBezTo>
                  <a:cubicBezTo>
                    <a:pt x="43689" y="104087"/>
                    <a:pt x="53969" y="104729"/>
                    <a:pt x="59109" y="98947"/>
                  </a:cubicBezTo>
                  <a:cubicBezTo>
                    <a:pt x="61036" y="96377"/>
                    <a:pt x="62321" y="93164"/>
                    <a:pt x="64249" y="90594"/>
                  </a:cubicBezTo>
                  <a:cubicBezTo>
                    <a:pt x="68746" y="85455"/>
                    <a:pt x="77098" y="84812"/>
                    <a:pt x="84166" y="82885"/>
                  </a:cubicBezTo>
                  <a:cubicBezTo>
                    <a:pt x="95088" y="79030"/>
                    <a:pt x="102798" y="70035"/>
                    <a:pt x="111793" y="62968"/>
                  </a:cubicBezTo>
                  <a:cubicBezTo>
                    <a:pt x="128497" y="50118"/>
                    <a:pt x="150342" y="45620"/>
                    <a:pt x="169617" y="37268"/>
                  </a:cubicBezTo>
                  <a:cubicBezTo>
                    <a:pt x="179254" y="32771"/>
                    <a:pt x="188891" y="27631"/>
                    <a:pt x="197886" y="22491"/>
                  </a:cubicBezTo>
                  <a:cubicBezTo>
                    <a:pt x="205596" y="17993"/>
                    <a:pt x="215876" y="11569"/>
                    <a:pt x="218446" y="3216"/>
                  </a:cubicBezTo>
                  <a:cubicBezTo>
                    <a:pt x="224871" y="3216"/>
                    <a:pt x="231938" y="3216"/>
                    <a:pt x="234508" y="3859"/>
                  </a:cubicBezTo>
                  <a:cubicBezTo>
                    <a:pt x="240290" y="4501"/>
                    <a:pt x="258280" y="-5136"/>
                    <a:pt x="267917" y="3859"/>
                  </a:cubicBezTo>
                  <a:cubicBezTo>
                    <a:pt x="271130" y="6429"/>
                    <a:pt x="274985" y="8356"/>
                    <a:pt x="278197" y="10926"/>
                  </a:cubicBezTo>
                  <a:cubicBezTo>
                    <a:pt x="282052" y="13496"/>
                    <a:pt x="285264" y="16708"/>
                    <a:pt x="289762" y="18636"/>
                  </a:cubicBezTo>
                  <a:cubicBezTo>
                    <a:pt x="291047" y="19278"/>
                    <a:pt x="292332" y="19921"/>
                    <a:pt x="292974" y="20563"/>
                  </a:cubicBezTo>
                  <a:cubicBezTo>
                    <a:pt x="293617" y="21206"/>
                    <a:pt x="293617" y="21206"/>
                    <a:pt x="294259" y="21848"/>
                  </a:cubicBezTo>
                  <a:cubicBezTo>
                    <a:pt x="295544" y="23776"/>
                    <a:pt x="299399" y="25703"/>
                    <a:pt x="298114" y="28273"/>
                  </a:cubicBezTo>
                  <a:cubicBezTo>
                    <a:pt x="297472" y="30201"/>
                    <a:pt x="292974" y="30843"/>
                    <a:pt x="291047" y="32128"/>
                  </a:cubicBezTo>
                  <a:cubicBezTo>
                    <a:pt x="287192" y="34698"/>
                    <a:pt x="286549" y="37268"/>
                    <a:pt x="286549" y="41123"/>
                  </a:cubicBezTo>
                  <a:cubicBezTo>
                    <a:pt x="287192" y="52045"/>
                    <a:pt x="293617" y="62325"/>
                    <a:pt x="294902" y="73247"/>
                  </a:cubicBezTo>
                  <a:cubicBezTo>
                    <a:pt x="295544" y="79030"/>
                    <a:pt x="296187" y="84812"/>
                    <a:pt x="299399" y="89952"/>
                  </a:cubicBezTo>
                  <a:cubicBezTo>
                    <a:pt x="305824" y="99589"/>
                    <a:pt x="321244" y="105372"/>
                    <a:pt x="329596" y="106657"/>
                  </a:cubicBezTo>
                  <a:cubicBezTo>
                    <a:pt x="337948" y="107942"/>
                    <a:pt x="336663" y="109227"/>
                    <a:pt x="350156" y="113724"/>
                  </a:cubicBezTo>
                  <a:cubicBezTo>
                    <a:pt x="363648" y="117579"/>
                    <a:pt x="387420" y="117579"/>
                    <a:pt x="389347" y="117579"/>
                  </a:cubicBezTo>
                  <a:cubicBezTo>
                    <a:pt x="391275" y="117579"/>
                    <a:pt x="395130" y="132999"/>
                    <a:pt x="396415" y="136211"/>
                  </a:cubicBezTo>
                  <a:cubicBezTo>
                    <a:pt x="398342" y="139424"/>
                    <a:pt x="399627" y="149061"/>
                    <a:pt x="396415" y="152916"/>
                  </a:cubicBezTo>
                  <a:cubicBezTo>
                    <a:pt x="393202" y="156771"/>
                    <a:pt x="393845" y="165766"/>
                    <a:pt x="398342" y="170905"/>
                  </a:cubicBezTo>
                  <a:cubicBezTo>
                    <a:pt x="402840" y="176045"/>
                    <a:pt x="427897" y="222947"/>
                    <a:pt x="440104" y="230657"/>
                  </a:cubicBezTo>
                  <a:cubicBezTo>
                    <a:pt x="451669" y="238367"/>
                    <a:pt x="459378" y="242222"/>
                    <a:pt x="464518" y="238367"/>
                  </a:cubicBezTo>
                  <a:cubicBezTo>
                    <a:pt x="469658" y="234512"/>
                    <a:pt x="483151" y="230657"/>
                    <a:pt x="491503" y="230657"/>
                  </a:cubicBezTo>
                  <a:cubicBezTo>
                    <a:pt x="499855" y="230657"/>
                    <a:pt x="516560" y="235797"/>
                    <a:pt x="520415" y="239652"/>
                  </a:cubicBezTo>
                  <a:cubicBezTo>
                    <a:pt x="524270" y="243506"/>
                    <a:pt x="528767" y="258284"/>
                    <a:pt x="538404" y="258926"/>
                  </a:cubicBezTo>
                  <a:cubicBezTo>
                    <a:pt x="548042" y="259569"/>
                    <a:pt x="554466" y="250574"/>
                    <a:pt x="558964" y="251216"/>
                  </a:cubicBezTo>
                  <a:cubicBezTo>
                    <a:pt x="563461" y="251859"/>
                    <a:pt x="578239" y="266636"/>
                    <a:pt x="578239" y="266636"/>
                  </a:cubicBezTo>
                  <a:cubicBezTo>
                    <a:pt x="578239" y="266636"/>
                    <a:pt x="594943" y="269206"/>
                    <a:pt x="598798" y="274346"/>
                  </a:cubicBezTo>
                  <a:cubicBezTo>
                    <a:pt x="602653" y="279486"/>
                    <a:pt x="606508" y="294263"/>
                    <a:pt x="616788" y="294905"/>
                  </a:cubicBezTo>
                  <a:cubicBezTo>
                    <a:pt x="627068" y="295548"/>
                    <a:pt x="639275" y="294905"/>
                    <a:pt x="647627" y="297475"/>
                  </a:cubicBezTo>
                  <a:cubicBezTo>
                    <a:pt x="655337" y="300045"/>
                    <a:pt x="663689" y="297475"/>
                    <a:pt x="669472" y="297475"/>
                  </a:cubicBezTo>
                  <a:cubicBezTo>
                    <a:pt x="675254" y="297475"/>
                    <a:pt x="684249" y="295548"/>
                    <a:pt x="684249" y="287838"/>
                  </a:cubicBezTo>
                  <a:cubicBezTo>
                    <a:pt x="684249" y="280128"/>
                    <a:pt x="688104" y="274346"/>
                    <a:pt x="691959" y="269848"/>
                  </a:cubicBezTo>
                  <a:cubicBezTo>
                    <a:pt x="695814" y="265351"/>
                    <a:pt x="697099" y="258926"/>
                    <a:pt x="694529" y="256999"/>
                  </a:cubicBezTo>
                  <a:cubicBezTo>
                    <a:pt x="692601" y="255071"/>
                    <a:pt x="684249" y="251216"/>
                    <a:pt x="683606" y="247361"/>
                  </a:cubicBezTo>
                  <a:cubicBezTo>
                    <a:pt x="682964" y="244149"/>
                    <a:pt x="682322" y="239652"/>
                    <a:pt x="682322" y="233227"/>
                  </a:cubicBezTo>
                  <a:cubicBezTo>
                    <a:pt x="691959" y="235154"/>
                    <a:pt x="703524" y="235797"/>
                    <a:pt x="713161" y="239009"/>
                  </a:cubicBezTo>
                  <a:cubicBezTo>
                    <a:pt x="733721" y="245434"/>
                    <a:pt x="742715" y="262781"/>
                    <a:pt x="759420" y="279486"/>
                  </a:cubicBezTo>
                  <a:cubicBezTo>
                    <a:pt x="776125" y="296190"/>
                    <a:pt x="770342" y="292978"/>
                    <a:pt x="772270" y="304543"/>
                  </a:cubicBezTo>
                  <a:cubicBezTo>
                    <a:pt x="774197" y="316108"/>
                    <a:pt x="756850" y="319963"/>
                    <a:pt x="753638" y="325102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 61">
              <a:extLst>
                <a:ext uri="{FF2B5EF4-FFF2-40B4-BE49-F238E27FC236}">
                  <a16:creationId xmlns:a16="http://schemas.microsoft.com/office/drawing/2014/main" id="{8C850BFE-BB1D-7A3E-E144-A2CD450FB3C0}"/>
                </a:ext>
              </a:extLst>
            </p:cNvPr>
            <p:cNvSpPr/>
            <p:nvPr/>
          </p:nvSpPr>
          <p:spPr>
            <a:xfrm>
              <a:off x="2929197" y="3685363"/>
              <a:ext cx="772418" cy="627389"/>
            </a:xfrm>
            <a:custGeom>
              <a:avLst/>
              <a:gdLst>
                <a:gd name="connsiteX0" fmla="*/ 753638 w 772418"/>
                <a:gd name="connsiteY0" fmla="*/ 325102 h 627389"/>
                <a:gd name="connsiteX1" fmla="*/ 725368 w 772418"/>
                <a:gd name="connsiteY1" fmla="*/ 341165 h 627389"/>
                <a:gd name="connsiteX2" fmla="*/ 700954 w 772418"/>
                <a:gd name="connsiteY2" fmla="*/ 352087 h 627389"/>
                <a:gd name="connsiteX3" fmla="*/ 689389 w 772418"/>
                <a:gd name="connsiteY3" fmla="*/ 359797 h 627389"/>
                <a:gd name="connsiteX4" fmla="*/ 688104 w 772418"/>
                <a:gd name="connsiteY4" fmla="*/ 375216 h 627389"/>
                <a:gd name="connsiteX5" fmla="*/ 690031 w 772418"/>
                <a:gd name="connsiteY5" fmla="*/ 394491 h 627389"/>
                <a:gd name="connsiteX6" fmla="*/ 691959 w 772418"/>
                <a:gd name="connsiteY6" fmla="*/ 401558 h 627389"/>
                <a:gd name="connsiteX7" fmla="*/ 713161 w 772418"/>
                <a:gd name="connsiteY7" fmla="*/ 406698 h 627389"/>
                <a:gd name="connsiteX8" fmla="*/ 668187 w 772418"/>
                <a:gd name="connsiteY8" fmla="*/ 449745 h 627389"/>
                <a:gd name="connsiteX9" fmla="*/ 648270 w 772418"/>
                <a:gd name="connsiteY9" fmla="*/ 465164 h 627389"/>
                <a:gd name="connsiteX10" fmla="*/ 641202 w 772418"/>
                <a:gd name="connsiteY10" fmla="*/ 469662 h 627389"/>
                <a:gd name="connsiteX11" fmla="*/ 630280 w 772418"/>
                <a:gd name="connsiteY11" fmla="*/ 472232 h 627389"/>
                <a:gd name="connsiteX12" fmla="*/ 618715 w 772418"/>
                <a:gd name="connsiteY12" fmla="*/ 468377 h 627389"/>
                <a:gd name="connsiteX13" fmla="*/ 599441 w 772418"/>
                <a:gd name="connsiteY13" fmla="*/ 478014 h 627389"/>
                <a:gd name="connsiteX14" fmla="*/ 594301 w 772418"/>
                <a:gd name="connsiteY14" fmla="*/ 499216 h 627389"/>
                <a:gd name="connsiteX15" fmla="*/ 589803 w 772418"/>
                <a:gd name="connsiteY15" fmla="*/ 512709 h 627389"/>
                <a:gd name="connsiteX16" fmla="*/ 582736 w 772418"/>
                <a:gd name="connsiteY16" fmla="*/ 520418 h 627389"/>
                <a:gd name="connsiteX17" fmla="*/ 587876 w 772418"/>
                <a:gd name="connsiteY17" fmla="*/ 524916 h 627389"/>
                <a:gd name="connsiteX18" fmla="*/ 553182 w 772418"/>
                <a:gd name="connsiteY18" fmla="*/ 535196 h 627389"/>
                <a:gd name="connsiteX19" fmla="*/ 504353 w 772418"/>
                <a:gd name="connsiteY19" fmla="*/ 542263 h 627389"/>
                <a:gd name="connsiteX20" fmla="*/ 472871 w 772418"/>
                <a:gd name="connsiteY20" fmla="*/ 542263 h 627389"/>
                <a:gd name="connsiteX21" fmla="*/ 446529 w 772418"/>
                <a:gd name="connsiteY21" fmla="*/ 499216 h 627389"/>
                <a:gd name="connsiteX22" fmla="*/ 447171 w 772418"/>
                <a:gd name="connsiteY22" fmla="*/ 496004 h 627389"/>
                <a:gd name="connsiteX23" fmla="*/ 450384 w 772418"/>
                <a:gd name="connsiteY23" fmla="*/ 494076 h 627389"/>
                <a:gd name="connsiteX24" fmla="*/ 449741 w 772418"/>
                <a:gd name="connsiteY24" fmla="*/ 484439 h 627389"/>
                <a:gd name="connsiteX25" fmla="*/ 438819 w 772418"/>
                <a:gd name="connsiteY25" fmla="*/ 482512 h 627389"/>
                <a:gd name="connsiteX26" fmla="*/ 434321 w 772418"/>
                <a:gd name="connsiteY26" fmla="*/ 483797 h 627389"/>
                <a:gd name="connsiteX27" fmla="*/ 430467 w 772418"/>
                <a:gd name="connsiteY27" fmla="*/ 486367 h 627389"/>
                <a:gd name="connsiteX28" fmla="*/ 419544 w 772418"/>
                <a:gd name="connsiteY28" fmla="*/ 487009 h 627389"/>
                <a:gd name="connsiteX29" fmla="*/ 402840 w 772418"/>
                <a:gd name="connsiteY29" fmla="*/ 496647 h 627389"/>
                <a:gd name="connsiteX30" fmla="*/ 397700 w 772418"/>
                <a:gd name="connsiteY30" fmla="*/ 505641 h 627389"/>
                <a:gd name="connsiteX31" fmla="*/ 389990 w 772418"/>
                <a:gd name="connsiteY31" fmla="*/ 509496 h 627389"/>
                <a:gd name="connsiteX32" fmla="*/ 392560 w 772418"/>
                <a:gd name="connsiteY32" fmla="*/ 517206 h 627389"/>
                <a:gd name="connsiteX33" fmla="*/ 400270 w 772418"/>
                <a:gd name="connsiteY33" fmla="*/ 521703 h 627389"/>
                <a:gd name="connsiteX34" fmla="*/ 405410 w 772418"/>
                <a:gd name="connsiteY34" fmla="*/ 537766 h 627389"/>
                <a:gd name="connsiteX35" fmla="*/ 403482 w 772418"/>
                <a:gd name="connsiteY35" fmla="*/ 555113 h 627389"/>
                <a:gd name="connsiteX36" fmla="*/ 405410 w 772418"/>
                <a:gd name="connsiteY36" fmla="*/ 562823 h 627389"/>
                <a:gd name="connsiteX37" fmla="*/ 404767 w 772418"/>
                <a:gd name="connsiteY37" fmla="*/ 579527 h 627389"/>
                <a:gd name="connsiteX38" fmla="*/ 398342 w 772418"/>
                <a:gd name="connsiteY38" fmla="*/ 590450 h 627389"/>
                <a:gd name="connsiteX39" fmla="*/ 384850 w 772418"/>
                <a:gd name="connsiteY39" fmla="*/ 594304 h 627389"/>
                <a:gd name="connsiteX40" fmla="*/ 366218 w 772418"/>
                <a:gd name="connsiteY40" fmla="*/ 592377 h 627389"/>
                <a:gd name="connsiteX41" fmla="*/ 353368 w 772418"/>
                <a:gd name="connsiteY41" fmla="*/ 574387 h 627389"/>
                <a:gd name="connsiteX42" fmla="*/ 328311 w 772418"/>
                <a:gd name="connsiteY42" fmla="*/ 549973 h 627389"/>
                <a:gd name="connsiteX43" fmla="*/ 285264 w 772418"/>
                <a:gd name="connsiteY43" fmla="*/ 543548 h 627389"/>
                <a:gd name="connsiteX44" fmla="*/ 240933 w 772418"/>
                <a:gd name="connsiteY44" fmla="*/ 564108 h 627389"/>
                <a:gd name="connsiteX45" fmla="*/ 244788 w 772418"/>
                <a:gd name="connsiteY45" fmla="*/ 579527 h 627389"/>
                <a:gd name="connsiteX46" fmla="*/ 253782 w 772418"/>
                <a:gd name="connsiteY46" fmla="*/ 580170 h 627389"/>
                <a:gd name="connsiteX47" fmla="*/ 258280 w 772418"/>
                <a:gd name="connsiteY47" fmla="*/ 593662 h 627389"/>
                <a:gd name="connsiteX48" fmla="*/ 249928 w 772418"/>
                <a:gd name="connsiteY48" fmla="*/ 599445 h 627389"/>
                <a:gd name="connsiteX49" fmla="*/ 246073 w 772418"/>
                <a:gd name="connsiteY49" fmla="*/ 623859 h 627389"/>
                <a:gd name="connsiteX50" fmla="*/ 231295 w 772418"/>
                <a:gd name="connsiteY50" fmla="*/ 627071 h 627389"/>
                <a:gd name="connsiteX51" fmla="*/ 201741 w 772418"/>
                <a:gd name="connsiteY51" fmla="*/ 616149 h 627389"/>
                <a:gd name="connsiteX52" fmla="*/ 188891 w 772418"/>
                <a:gd name="connsiteY52" fmla="*/ 598159 h 627389"/>
                <a:gd name="connsiteX53" fmla="*/ 144560 w 772418"/>
                <a:gd name="connsiteY53" fmla="*/ 523631 h 627389"/>
                <a:gd name="connsiteX54" fmla="*/ 97016 w 772418"/>
                <a:gd name="connsiteY54" fmla="*/ 484439 h 627389"/>
                <a:gd name="connsiteX55" fmla="*/ 87378 w 772418"/>
                <a:gd name="connsiteY55" fmla="*/ 479299 h 627389"/>
                <a:gd name="connsiteX56" fmla="*/ 77098 w 772418"/>
                <a:gd name="connsiteY56" fmla="*/ 478014 h 627389"/>
                <a:gd name="connsiteX57" fmla="*/ 66176 w 772418"/>
                <a:gd name="connsiteY57" fmla="*/ 478014 h 627389"/>
                <a:gd name="connsiteX58" fmla="*/ 61036 w 772418"/>
                <a:gd name="connsiteY58" fmla="*/ 478657 h 627389"/>
                <a:gd name="connsiteX59" fmla="*/ 55896 w 772418"/>
                <a:gd name="connsiteY59" fmla="*/ 482512 h 627389"/>
                <a:gd name="connsiteX60" fmla="*/ 39192 w 772418"/>
                <a:gd name="connsiteY60" fmla="*/ 500501 h 627389"/>
                <a:gd name="connsiteX61" fmla="*/ 39192 w 772418"/>
                <a:gd name="connsiteY61" fmla="*/ 500501 h 627389"/>
                <a:gd name="connsiteX62" fmla="*/ 37264 w 772418"/>
                <a:gd name="connsiteY62" fmla="*/ 485082 h 627389"/>
                <a:gd name="connsiteX63" fmla="*/ 40477 w 772418"/>
                <a:gd name="connsiteY63" fmla="*/ 467735 h 627389"/>
                <a:gd name="connsiteX64" fmla="*/ 51399 w 772418"/>
                <a:gd name="connsiteY64" fmla="*/ 442035 h 627389"/>
                <a:gd name="connsiteX65" fmla="*/ 35337 w 772418"/>
                <a:gd name="connsiteY65" fmla="*/ 424045 h 627389"/>
                <a:gd name="connsiteX66" fmla="*/ 28269 w 772418"/>
                <a:gd name="connsiteY66" fmla="*/ 424045 h 627389"/>
                <a:gd name="connsiteX67" fmla="*/ 19275 w 772418"/>
                <a:gd name="connsiteY67" fmla="*/ 430470 h 627389"/>
                <a:gd name="connsiteX68" fmla="*/ 9637 w 772418"/>
                <a:gd name="connsiteY68" fmla="*/ 429185 h 627389"/>
                <a:gd name="connsiteX69" fmla="*/ 8995 w 772418"/>
                <a:gd name="connsiteY69" fmla="*/ 427258 h 627389"/>
                <a:gd name="connsiteX70" fmla="*/ 12850 w 772418"/>
                <a:gd name="connsiteY70" fmla="*/ 356584 h 627389"/>
                <a:gd name="connsiteX71" fmla="*/ 32767 w 772418"/>
                <a:gd name="connsiteY71" fmla="*/ 323175 h 627389"/>
                <a:gd name="connsiteX72" fmla="*/ 43047 w 772418"/>
                <a:gd name="connsiteY72" fmla="*/ 309040 h 627389"/>
                <a:gd name="connsiteX73" fmla="*/ 60394 w 772418"/>
                <a:gd name="connsiteY73" fmla="*/ 287838 h 627389"/>
                <a:gd name="connsiteX74" fmla="*/ 73886 w 772418"/>
                <a:gd name="connsiteY74" fmla="*/ 269206 h 627389"/>
                <a:gd name="connsiteX75" fmla="*/ 77741 w 772418"/>
                <a:gd name="connsiteY75" fmla="*/ 262139 h 627389"/>
                <a:gd name="connsiteX76" fmla="*/ 75171 w 772418"/>
                <a:gd name="connsiteY76" fmla="*/ 244149 h 627389"/>
                <a:gd name="connsiteX77" fmla="*/ 67461 w 772418"/>
                <a:gd name="connsiteY77" fmla="*/ 234512 h 627389"/>
                <a:gd name="connsiteX78" fmla="*/ 61679 w 772418"/>
                <a:gd name="connsiteY78" fmla="*/ 221662 h 627389"/>
                <a:gd name="connsiteX79" fmla="*/ 50114 w 772418"/>
                <a:gd name="connsiteY79" fmla="*/ 191465 h 627389"/>
                <a:gd name="connsiteX80" fmla="*/ 41762 w 772418"/>
                <a:gd name="connsiteY80" fmla="*/ 177330 h 627389"/>
                <a:gd name="connsiteX81" fmla="*/ 25699 w 772418"/>
                <a:gd name="connsiteY81" fmla="*/ 168978 h 627389"/>
                <a:gd name="connsiteX82" fmla="*/ 7710 w 772418"/>
                <a:gd name="connsiteY82" fmla="*/ 147133 h 627389"/>
                <a:gd name="connsiteX83" fmla="*/ 643 w 772418"/>
                <a:gd name="connsiteY83" fmla="*/ 120149 h 627389"/>
                <a:gd name="connsiteX84" fmla="*/ 0 w 772418"/>
                <a:gd name="connsiteY84" fmla="*/ 116936 h 627389"/>
                <a:gd name="connsiteX85" fmla="*/ 4497 w 772418"/>
                <a:gd name="connsiteY85" fmla="*/ 119506 h 627389"/>
                <a:gd name="connsiteX86" fmla="*/ 35337 w 772418"/>
                <a:gd name="connsiteY86" fmla="*/ 104729 h 627389"/>
                <a:gd name="connsiteX87" fmla="*/ 59109 w 772418"/>
                <a:gd name="connsiteY87" fmla="*/ 98947 h 627389"/>
                <a:gd name="connsiteX88" fmla="*/ 64249 w 772418"/>
                <a:gd name="connsiteY88" fmla="*/ 90594 h 627389"/>
                <a:gd name="connsiteX89" fmla="*/ 84166 w 772418"/>
                <a:gd name="connsiteY89" fmla="*/ 82885 h 627389"/>
                <a:gd name="connsiteX90" fmla="*/ 111793 w 772418"/>
                <a:gd name="connsiteY90" fmla="*/ 62968 h 627389"/>
                <a:gd name="connsiteX91" fmla="*/ 169617 w 772418"/>
                <a:gd name="connsiteY91" fmla="*/ 37268 h 627389"/>
                <a:gd name="connsiteX92" fmla="*/ 197886 w 772418"/>
                <a:gd name="connsiteY92" fmla="*/ 22491 h 627389"/>
                <a:gd name="connsiteX93" fmla="*/ 218446 w 772418"/>
                <a:gd name="connsiteY93" fmla="*/ 3216 h 627389"/>
                <a:gd name="connsiteX94" fmla="*/ 234508 w 772418"/>
                <a:gd name="connsiteY94" fmla="*/ 3859 h 627389"/>
                <a:gd name="connsiteX95" fmla="*/ 267917 w 772418"/>
                <a:gd name="connsiteY95" fmla="*/ 3859 h 627389"/>
                <a:gd name="connsiteX96" fmla="*/ 278197 w 772418"/>
                <a:gd name="connsiteY96" fmla="*/ 10926 h 627389"/>
                <a:gd name="connsiteX97" fmla="*/ 289762 w 772418"/>
                <a:gd name="connsiteY97" fmla="*/ 18636 h 627389"/>
                <a:gd name="connsiteX98" fmla="*/ 292974 w 772418"/>
                <a:gd name="connsiteY98" fmla="*/ 20563 h 627389"/>
                <a:gd name="connsiteX99" fmla="*/ 294259 w 772418"/>
                <a:gd name="connsiteY99" fmla="*/ 21848 h 627389"/>
                <a:gd name="connsiteX100" fmla="*/ 298114 w 772418"/>
                <a:gd name="connsiteY100" fmla="*/ 28273 h 627389"/>
                <a:gd name="connsiteX101" fmla="*/ 291047 w 772418"/>
                <a:gd name="connsiteY101" fmla="*/ 32128 h 627389"/>
                <a:gd name="connsiteX102" fmla="*/ 286549 w 772418"/>
                <a:gd name="connsiteY102" fmla="*/ 41123 h 627389"/>
                <a:gd name="connsiteX103" fmla="*/ 294902 w 772418"/>
                <a:gd name="connsiteY103" fmla="*/ 73247 h 627389"/>
                <a:gd name="connsiteX104" fmla="*/ 299399 w 772418"/>
                <a:gd name="connsiteY104" fmla="*/ 89952 h 627389"/>
                <a:gd name="connsiteX105" fmla="*/ 329596 w 772418"/>
                <a:gd name="connsiteY105" fmla="*/ 106657 h 627389"/>
                <a:gd name="connsiteX106" fmla="*/ 350156 w 772418"/>
                <a:gd name="connsiteY106" fmla="*/ 113724 h 627389"/>
                <a:gd name="connsiteX107" fmla="*/ 389347 w 772418"/>
                <a:gd name="connsiteY107" fmla="*/ 117579 h 627389"/>
                <a:gd name="connsiteX108" fmla="*/ 396415 w 772418"/>
                <a:gd name="connsiteY108" fmla="*/ 136211 h 627389"/>
                <a:gd name="connsiteX109" fmla="*/ 396415 w 772418"/>
                <a:gd name="connsiteY109" fmla="*/ 152916 h 627389"/>
                <a:gd name="connsiteX110" fmla="*/ 398342 w 772418"/>
                <a:gd name="connsiteY110" fmla="*/ 170905 h 627389"/>
                <a:gd name="connsiteX111" fmla="*/ 440104 w 772418"/>
                <a:gd name="connsiteY111" fmla="*/ 230657 h 627389"/>
                <a:gd name="connsiteX112" fmla="*/ 464518 w 772418"/>
                <a:gd name="connsiteY112" fmla="*/ 238367 h 627389"/>
                <a:gd name="connsiteX113" fmla="*/ 491503 w 772418"/>
                <a:gd name="connsiteY113" fmla="*/ 230657 h 627389"/>
                <a:gd name="connsiteX114" fmla="*/ 520415 w 772418"/>
                <a:gd name="connsiteY114" fmla="*/ 239652 h 627389"/>
                <a:gd name="connsiteX115" fmla="*/ 538404 w 772418"/>
                <a:gd name="connsiteY115" fmla="*/ 258926 h 627389"/>
                <a:gd name="connsiteX116" fmla="*/ 558964 w 772418"/>
                <a:gd name="connsiteY116" fmla="*/ 251216 h 627389"/>
                <a:gd name="connsiteX117" fmla="*/ 578239 w 772418"/>
                <a:gd name="connsiteY117" fmla="*/ 266636 h 627389"/>
                <a:gd name="connsiteX118" fmla="*/ 598798 w 772418"/>
                <a:gd name="connsiteY118" fmla="*/ 274346 h 627389"/>
                <a:gd name="connsiteX119" fmla="*/ 616788 w 772418"/>
                <a:gd name="connsiteY119" fmla="*/ 294905 h 627389"/>
                <a:gd name="connsiteX120" fmla="*/ 647627 w 772418"/>
                <a:gd name="connsiteY120" fmla="*/ 297475 h 627389"/>
                <a:gd name="connsiteX121" fmla="*/ 669472 w 772418"/>
                <a:gd name="connsiteY121" fmla="*/ 297475 h 627389"/>
                <a:gd name="connsiteX122" fmla="*/ 684249 w 772418"/>
                <a:gd name="connsiteY122" fmla="*/ 287838 h 627389"/>
                <a:gd name="connsiteX123" fmla="*/ 691959 w 772418"/>
                <a:gd name="connsiteY123" fmla="*/ 269848 h 627389"/>
                <a:gd name="connsiteX124" fmla="*/ 694529 w 772418"/>
                <a:gd name="connsiteY124" fmla="*/ 256999 h 627389"/>
                <a:gd name="connsiteX125" fmla="*/ 683606 w 772418"/>
                <a:gd name="connsiteY125" fmla="*/ 247361 h 627389"/>
                <a:gd name="connsiteX126" fmla="*/ 682322 w 772418"/>
                <a:gd name="connsiteY126" fmla="*/ 233227 h 627389"/>
                <a:gd name="connsiteX127" fmla="*/ 713161 w 772418"/>
                <a:gd name="connsiteY127" fmla="*/ 239009 h 627389"/>
                <a:gd name="connsiteX128" fmla="*/ 759420 w 772418"/>
                <a:gd name="connsiteY128" fmla="*/ 279486 h 627389"/>
                <a:gd name="connsiteX129" fmla="*/ 772270 w 772418"/>
                <a:gd name="connsiteY129" fmla="*/ 304543 h 627389"/>
                <a:gd name="connsiteX130" fmla="*/ 753638 w 772418"/>
                <a:gd name="connsiteY130" fmla="*/ 325102 h 62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772418" h="627389">
                  <a:moveTo>
                    <a:pt x="753638" y="325102"/>
                  </a:moveTo>
                  <a:cubicBezTo>
                    <a:pt x="750425" y="330242"/>
                    <a:pt x="732436" y="337310"/>
                    <a:pt x="725368" y="341165"/>
                  </a:cubicBezTo>
                  <a:cubicBezTo>
                    <a:pt x="717658" y="345019"/>
                    <a:pt x="700954" y="352087"/>
                    <a:pt x="700954" y="352087"/>
                  </a:cubicBezTo>
                  <a:cubicBezTo>
                    <a:pt x="695814" y="354014"/>
                    <a:pt x="691959" y="355299"/>
                    <a:pt x="689389" y="359797"/>
                  </a:cubicBezTo>
                  <a:cubicBezTo>
                    <a:pt x="686819" y="364294"/>
                    <a:pt x="687461" y="370076"/>
                    <a:pt x="688104" y="375216"/>
                  </a:cubicBezTo>
                  <a:cubicBezTo>
                    <a:pt x="688746" y="381641"/>
                    <a:pt x="689389" y="388066"/>
                    <a:pt x="690031" y="394491"/>
                  </a:cubicBezTo>
                  <a:cubicBezTo>
                    <a:pt x="690031" y="397061"/>
                    <a:pt x="690674" y="399631"/>
                    <a:pt x="691959" y="401558"/>
                  </a:cubicBezTo>
                  <a:cubicBezTo>
                    <a:pt x="696456" y="407341"/>
                    <a:pt x="706736" y="402843"/>
                    <a:pt x="713161" y="406698"/>
                  </a:cubicBezTo>
                  <a:cubicBezTo>
                    <a:pt x="701596" y="424045"/>
                    <a:pt x="684892" y="436895"/>
                    <a:pt x="668187" y="449745"/>
                  </a:cubicBezTo>
                  <a:cubicBezTo>
                    <a:pt x="661762" y="454885"/>
                    <a:pt x="655337" y="460025"/>
                    <a:pt x="648270" y="465164"/>
                  </a:cubicBezTo>
                  <a:cubicBezTo>
                    <a:pt x="646342" y="467092"/>
                    <a:pt x="643772" y="468377"/>
                    <a:pt x="641202" y="469662"/>
                  </a:cubicBezTo>
                  <a:cubicBezTo>
                    <a:pt x="637990" y="471589"/>
                    <a:pt x="634135" y="472874"/>
                    <a:pt x="630280" y="472232"/>
                  </a:cubicBezTo>
                  <a:cubicBezTo>
                    <a:pt x="626425" y="471589"/>
                    <a:pt x="622570" y="469662"/>
                    <a:pt x="618715" y="468377"/>
                  </a:cubicBezTo>
                  <a:cubicBezTo>
                    <a:pt x="611005" y="466450"/>
                    <a:pt x="603296" y="471589"/>
                    <a:pt x="599441" y="478014"/>
                  </a:cubicBezTo>
                  <a:cubicBezTo>
                    <a:pt x="595586" y="484439"/>
                    <a:pt x="594943" y="491507"/>
                    <a:pt x="594301" y="499216"/>
                  </a:cubicBezTo>
                  <a:cubicBezTo>
                    <a:pt x="593658" y="504356"/>
                    <a:pt x="593658" y="509496"/>
                    <a:pt x="589803" y="512709"/>
                  </a:cubicBezTo>
                  <a:cubicBezTo>
                    <a:pt x="587233" y="515279"/>
                    <a:pt x="582736" y="517206"/>
                    <a:pt x="582736" y="520418"/>
                  </a:cubicBezTo>
                  <a:cubicBezTo>
                    <a:pt x="582736" y="522988"/>
                    <a:pt x="585306" y="524273"/>
                    <a:pt x="587876" y="524916"/>
                  </a:cubicBezTo>
                  <a:cubicBezTo>
                    <a:pt x="587876" y="524916"/>
                    <a:pt x="586591" y="529413"/>
                    <a:pt x="553182" y="535196"/>
                  </a:cubicBezTo>
                  <a:cubicBezTo>
                    <a:pt x="519772" y="541621"/>
                    <a:pt x="513990" y="538408"/>
                    <a:pt x="504353" y="542263"/>
                  </a:cubicBezTo>
                  <a:cubicBezTo>
                    <a:pt x="495358" y="546118"/>
                    <a:pt x="481865" y="548688"/>
                    <a:pt x="472871" y="542263"/>
                  </a:cubicBezTo>
                  <a:cubicBezTo>
                    <a:pt x="457451" y="531983"/>
                    <a:pt x="448456" y="517206"/>
                    <a:pt x="446529" y="499216"/>
                  </a:cubicBezTo>
                  <a:cubicBezTo>
                    <a:pt x="446529" y="497931"/>
                    <a:pt x="446529" y="497289"/>
                    <a:pt x="447171" y="496004"/>
                  </a:cubicBezTo>
                  <a:cubicBezTo>
                    <a:pt x="447814" y="494719"/>
                    <a:pt x="449099" y="494719"/>
                    <a:pt x="450384" y="494076"/>
                  </a:cubicBezTo>
                  <a:cubicBezTo>
                    <a:pt x="453596" y="492149"/>
                    <a:pt x="452311" y="487009"/>
                    <a:pt x="449741" y="484439"/>
                  </a:cubicBezTo>
                  <a:cubicBezTo>
                    <a:pt x="446529" y="481869"/>
                    <a:pt x="442674" y="481869"/>
                    <a:pt x="438819" y="482512"/>
                  </a:cubicBezTo>
                  <a:cubicBezTo>
                    <a:pt x="436891" y="482512"/>
                    <a:pt x="435606" y="483154"/>
                    <a:pt x="434321" y="483797"/>
                  </a:cubicBezTo>
                  <a:cubicBezTo>
                    <a:pt x="433036" y="484439"/>
                    <a:pt x="432394" y="485724"/>
                    <a:pt x="430467" y="486367"/>
                  </a:cubicBezTo>
                  <a:cubicBezTo>
                    <a:pt x="427254" y="488294"/>
                    <a:pt x="423399" y="487009"/>
                    <a:pt x="419544" y="487009"/>
                  </a:cubicBezTo>
                  <a:cubicBezTo>
                    <a:pt x="412477" y="486367"/>
                    <a:pt x="405410" y="490864"/>
                    <a:pt x="402840" y="496647"/>
                  </a:cubicBezTo>
                  <a:cubicBezTo>
                    <a:pt x="401555" y="499859"/>
                    <a:pt x="400912" y="503714"/>
                    <a:pt x="397700" y="505641"/>
                  </a:cubicBezTo>
                  <a:cubicBezTo>
                    <a:pt x="395130" y="507569"/>
                    <a:pt x="391275" y="507569"/>
                    <a:pt x="389990" y="509496"/>
                  </a:cubicBezTo>
                  <a:cubicBezTo>
                    <a:pt x="388705" y="512066"/>
                    <a:pt x="389990" y="515279"/>
                    <a:pt x="392560" y="517206"/>
                  </a:cubicBezTo>
                  <a:cubicBezTo>
                    <a:pt x="395130" y="519134"/>
                    <a:pt x="397700" y="519776"/>
                    <a:pt x="400270" y="521703"/>
                  </a:cubicBezTo>
                  <a:cubicBezTo>
                    <a:pt x="404767" y="525558"/>
                    <a:pt x="406052" y="531983"/>
                    <a:pt x="405410" y="537766"/>
                  </a:cubicBezTo>
                  <a:cubicBezTo>
                    <a:pt x="404767" y="543548"/>
                    <a:pt x="402840" y="549330"/>
                    <a:pt x="403482" y="555113"/>
                  </a:cubicBezTo>
                  <a:cubicBezTo>
                    <a:pt x="403482" y="557683"/>
                    <a:pt x="404767" y="560253"/>
                    <a:pt x="405410" y="562823"/>
                  </a:cubicBezTo>
                  <a:cubicBezTo>
                    <a:pt x="406694" y="568605"/>
                    <a:pt x="406052" y="574387"/>
                    <a:pt x="404767" y="579527"/>
                  </a:cubicBezTo>
                  <a:cubicBezTo>
                    <a:pt x="403482" y="583382"/>
                    <a:pt x="401555" y="587880"/>
                    <a:pt x="398342" y="590450"/>
                  </a:cubicBezTo>
                  <a:cubicBezTo>
                    <a:pt x="394487" y="593020"/>
                    <a:pt x="389347" y="593662"/>
                    <a:pt x="384850" y="594304"/>
                  </a:cubicBezTo>
                  <a:cubicBezTo>
                    <a:pt x="378425" y="594947"/>
                    <a:pt x="372000" y="595590"/>
                    <a:pt x="366218" y="592377"/>
                  </a:cubicBezTo>
                  <a:cubicBezTo>
                    <a:pt x="359150" y="588522"/>
                    <a:pt x="356580" y="580812"/>
                    <a:pt x="353368" y="574387"/>
                  </a:cubicBezTo>
                  <a:cubicBezTo>
                    <a:pt x="347586" y="564108"/>
                    <a:pt x="339233" y="555755"/>
                    <a:pt x="328311" y="549973"/>
                  </a:cubicBezTo>
                  <a:cubicBezTo>
                    <a:pt x="315461" y="543548"/>
                    <a:pt x="299399" y="541621"/>
                    <a:pt x="285264" y="543548"/>
                  </a:cubicBezTo>
                  <a:cubicBezTo>
                    <a:pt x="270487" y="545475"/>
                    <a:pt x="247358" y="549330"/>
                    <a:pt x="240933" y="564108"/>
                  </a:cubicBezTo>
                  <a:cubicBezTo>
                    <a:pt x="238363" y="569248"/>
                    <a:pt x="239005" y="577600"/>
                    <a:pt x="244788" y="579527"/>
                  </a:cubicBezTo>
                  <a:cubicBezTo>
                    <a:pt x="247358" y="580170"/>
                    <a:pt x="251213" y="579527"/>
                    <a:pt x="253782" y="580170"/>
                  </a:cubicBezTo>
                  <a:cubicBezTo>
                    <a:pt x="259565" y="581455"/>
                    <a:pt x="262135" y="589165"/>
                    <a:pt x="258280" y="593662"/>
                  </a:cubicBezTo>
                  <a:cubicBezTo>
                    <a:pt x="255710" y="596232"/>
                    <a:pt x="251855" y="596874"/>
                    <a:pt x="249928" y="599445"/>
                  </a:cubicBezTo>
                  <a:cubicBezTo>
                    <a:pt x="244145" y="605869"/>
                    <a:pt x="251855" y="617434"/>
                    <a:pt x="246073" y="623859"/>
                  </a:cubicBezTo>
                  <a:cubicBezTo>
                    <a:pt x="242860" y="627714"/>
                    <a:pt x="236435" y="627714"/>
                    <a:pt x="231295" y="627071"/>
                  </a:cubicBezTo>
                  <a:cubicBezTo>
                    <a:pt x="220373" y="625786"/>
                    <a:pt x="209451" y="623216"/>
                    <a:pt x="201741" y="616149"/>
                  </a:cubicBezTo>
                  <a:cubicBezTo>
                    <a:pt x="195959" y="611652"/>
                    <a:pt x="192104" y="605227"/>
                    <a:pt x="188891" y="598159"/>
                  </a:cubicBezTo>
                  <a:cubicBezTo>
                    <a:pt x="174757" y="573102"/>
                    <a:pt x="163834" y="545475"/>
                    <a:pt x="144560" y="523631"/>
                  </a:cubicBezTo>
                  <a:cubicBezTo>
                    <a:pt x="131067" y="508211"/>
                    <a:pt x="113720" y="496004"/>
                    <a:pt x="97016" y="484439"/>
                  </a:cubicBezTo>
                  <a:cubicBezTo>
                    <a:pt x="93803" y="482512"/>
                    <a:pt x="91233" y="479942"/>
                    <a:pt x="87378" y="479299"/>
                  </a:cubicBezTo>
                  <a:cubicBezTo>
                    <a:pt x="84166" y="478014"/>
                    <a:pt x="80311" y="478014"/>
                    <a:pt x="77098" y="478014"/>
                  </a:cubicBezTo>
                  <a:cubicBezTo>
                    <a:pt x="73244" y="478014"/>
                    <a:pt x="69389" y="478014"/>
                    <a:pt x="66176" y="478014"/>
                  </a:cubicBezTo>
                  <a:cubicBezTo>
                    <a:pt x="64249" y="478014"/>
                    <a:pt x="62964" y="478014"/>
                    <a:pt x="61036" y="478657"/>
                  </a:cubicBezTo>
                  <a:cubicBezTo>
                    <a:pt x="59109" y="479299"/>
                    <a:pt x="57181" y="481227"/>
                    <a:pt x="55896" y="482512"/>
                  </a:cubicBezTo>
                  <a:cubicBezTo>
                    <a:pt x="50114" y="488294"/>
                    <a:pt x="44974" y="494719"/>
                    <a:pt x="39192" y="500501"/>
                  </a:cubicBezTo>
                  <a:lnTo>
                    <a:pt x="39192" y="500501"/>
                  </a:lnTo>
                  <a:cubicBezTo>
                    <a:pt x="39834" y="498574"/>
                    <a:pt x="37264" y="487009"/>
                    <a:pt x="37264" y="485082"/>
                  </a:cubicBezTo>
                  <a:cubicBezTo>
                    <a:pt x="37264" y="479299"/>
                    <a:pt x="38549" y="473517"/>
                    <a:pt x="40477" y="467735"/>
                  </a:cubicBezTo>
                  <a:cubicBezTo>
                    <a:pt x="44332" y="458097"/>
                    <a:pt x="52684" y="453600"/>
                    <a:pt x="51399" y="442035"/>
                  </a:cubicBezTo>
                  <a:cubicBezTo>
                    <a:pt x="50756" y="433683"/>
                    <a:pt x="43689" y="425973"/>
                    <a:pt x="35337" y="424045"/>
                  </a:cubicBezTo>
                  <a:cubicBezTo>
                    <a:pt x="33409" y="423403"/>
                    <a:pt x="30839" y="423403"/>
                    <a:pt x="28269" y="424045"/>
                  </a:cubicBezTo>
                  <a:cubicBezTo>
                    <a:pt x="24414" y="425330"/>
                    <a:pt x="21845" y="428543"/>
                    <a:pt x="19275" y="430470"/>
                  </a:cubicBezTo>
                  <a:cubicBezTo>
                    <a:pt x="16062" y="432398"/>
                    <a:pt x="10922" y="433040"/>
                    <a:pt x="9637" y="429185"/>
                  </a:cubicBezTo>
                  <a:cubicBezTo>
                    <a:pt x="9637" y="428543"/>
                    <a:pt x="9637" y="427900"/>
                    <a:pt x="8995" y="427258"/>
                  </a:cubicBezTo>
                  <a:cubicBezTo>
                    <a:pt x="7067" y="403486"/>
                    <a:pt x="4497" y="379071"/>
                    <a:pt x="12850" y="356584"/>
                  </a:cubicBezTo>
                  <a:cubicBezTo>
                    <a:pt x="17347" y="344377"/>
                    <a:pt x="25057" y="333455"/>
                    <a:pt x="32767" y="323175"/>
                  </a:cubicBezTo>
                  <a:cubicBezTo>
                    <a:pt x="35979" y="318677"/>
                    <a:pt x="39834" y="313538"/>
                    <a:pt x="43047" y="309040"/>
                  </a:cubicBezTo>
                  <a:cubicBezTo>
                    <a:pt x="48829" y="301973"/>
                    <a:pt x="54611" y="294905"/>
                    <a:pt x="60394" y="287838"/>
                  </a:cubicBezTo>
                  <a:cubicBezTo>
                    <a:pt x="65534" y="282056"/>
                    <a:pt x="70031" y="275631"/>
                    <a:pt x="73886" y="269206"/>
                  </a:cubicBezTo>
                  <a:cubicBezTo>
                    <a:pt x="75171" y="267278"/>
                    <a:pt x="76456" y="264709"/>
                    <a:pt x="77741" y="262139"/>
                  </a:cubicBezTo>
                  <a:cubicBezTo>
                    <a:pt x="79668" y="256356"/>
                    <a:pt x="78384" y="249931"/>
                    <a:pt x="75171" y="244149"/>
                  </a:cubicBezTo>
                  <a:cubicBezTo>
                    <a:pt x="73244" y="240294"/>
                    <a:pt x="70031" y="237724"/>
                    <a:pt x="67461" y="234512"/>
                  </a:cubicBezTo>
                  <a:cubicBezTo>
                    <a:pt x="64249" y="230657"/>
                    <a:pt x="62964" y="226159"/>
                    <a:pt x="61679" y="221662"/>
                  </a:cubicBezTo>
                  <a:cubicBezTo>
                    <a:pt x="57824" y="211382"/>
                    <a:pt x="53969" y="201745"/>
                    <a:pt x="50114" y="191465"/>
                  </a:cubicBezTo>
                  <a:cubicBezTo>
                    <a:pt x="48187" y="186325"/>
                    <a:pt x="46259" y="181185"/>
                    <a:pt x="41762" y="177330"/>
                  </a:cubicBezTo>
                  <a:cubicBezTo>
                    <a:pt x="37264" y="173475"/>
                    <a:pt x="31482" y="171548"/>
                    <a:pt x="25699" y="168978"/>
                  </a:cubicBezTo>
                  <a:cubicBezTo>
                    <a:pt x="17347" y="164481"/>
                    <a:pt x="10922" y="156128"/>
                    <a:pt x="7710" y="147133"/>
                  </a:cubicBezTo>
                  <a:cubicBezTo>
                    <a:pt x="3855" y="138138"/>
                    <a:pt x="2570" y="129144"/>
                    <a:pt x="643" y="120149"/>
                  </a:cubicBezTo>
                  <a:cubicBezTo>
                    <a:pt x="643" y="118864"/>
                    <a:pt x="0" y="118221"/>
                    <a:pt x="0" y="116936"/>
                  </a:cubicBezTo>
                  <a:cubicBezTo>
                    <a:pt x="1285" y="117579"/>
                    <a:pt x="3212" y="118221"/>
                    <a:pt x="4497" y="119506"/>
                  </a:cubicBezTo>
                  <a:cubicBezTo>
                    <a:pt x="12207" y="111154"/>
                    <a:pt x="23772" y="106014"/>
                    <a:pt x="35337" y="104729"/>
                  </a:cubicBezTo>
                  <a:cubicBezTo>
                    <a:pt x="43689" y="104087"/>
                    <a:pt x="53969" y="104729"/>
                    <a:pt x="59109" y="98947"/>
                  </a:cubicBezTo>
                  <a:cubicBezTo>
                    <a:pt x="61036" y="96377"/>
                    <a:pt x="62321" y="93164"/>
                    <a:pt x="64249" y="90594"/>
                  </a:cubicBezTo>
                  <a:cubicBezTo>
                    <a:pt x="68746" y="85455"/>
                    <a:pt x="77098" y="84812"/>
                    <a:pt x="84166" y="82885"/>
                  </a:cubicBezTo>
                  <a:cubicBezTo>
                    <a:pt x="95088" y="79030"/>
                    <a:pt x="102798" y="70035"/>
                    <a:pt x="111793" y="62968"/>
                  </a:cubicBezTo>
                  <a:cubicBezTo>
                    <a:pt x="128497" y="50118"/>
                    <a:pt x="150342" y="45620"/>
                    <a:pt x="169617" y="37268"/>
                  </a:cubicBezTo>
                  <a:cubicBezTo>
                    <a:pt x="179254" y="32771"/>
                    <a:pt x="188891" y="27631"/>
                    <a:pt x="197886" y="22491"/>
                  </a:cubicBezTo>
                  <a:cubicBezTo>
                    <a:pt x="205596" y="17993"/>
                    <a:pt x="215876" y="11569"/>
                    <a:pt x="218446" y="3216"/>
                  </a:cubicBezTo>
                  <a:cubicBezTo>
                    <a:pt x="224871" y="3216"/>
                    <a:pt x="231938" y="3216"/>
                    <a:pt x="234508" y="3859"/>
                  </a:cubicBezTo>
                  <a:cubicBezTo>
                    <a:pt x="240290" y="4501"/>
                    <a:pt x="258280" y="-5136"/>
                    <a:pt x="267917" y="3859"/>
                  </a:cubicBezTo>
                  <a:cubicBezTo>
                    <a:pt x="271130" y="6429"/>
                    <a:pt x="274985" y="8356"/>
                    <a:pt x="278197" y="10926"/>
                  </a:cubicBezTo>
                  <a:cubicBezTo>
                    <a:pt x="282052" y="13496"/>
                    <a:pt x="285264" y="16708"/>
                    <a:pt x="289762" y="18636"/>
                  </a:cubicBezTo>
                  <a:cubicBezTo>
                    <a:pt x="291047" y="19278"/>
                    <a:pt x="292332" y="19921"/>
                    <a:pt x="292974" y="20563"/>
                  </a:cubicBezTo>
                  <a:cubicBezTo>
                    <a:pt x="293617" y="21206"/>
                    <a:pt x="293617" y="21206"/>
                    <a:pt x="294259" y="21848"/>
                  </a:cubicBezTo>
                  <a:cubicBezTo>
                    <a:pt x="295544" y="23776"/>
                    <a:pt x="299399" y="25703"/>
                    <a:pt x="298114" y="28273"/>
                  </a:cubicBezTo>
                  <a:cubicBezTo>
                    <a:pt x="297472" y="30201"/>
                    <a:pt x="292974" y="30843"/>
                    <a:pt x="291047" y="32128"/>
                  </a:cubicBezTo>
                  <a:cubicBezTo>
                    <a:pt x="287192" y="34698"/>
                    <a:pt x="286549" y="37268"/>
                    <a:pt x="286549" y="41123"/>
                  </a:cubicBezTo>
                  <a:cubicBezTo>
                    <a:pt x="287192" y="52045"/>
                    <a:pt x="293617" y="62325"/>
                    <a:pt x="294902" y="73247"/>
                  </a:cubicBezTo>
                  <a:cubicBezTo>
                    <a:pt x="295544" y="79030"/>
                    <a:pt x="296187" y="84812"/>
                    <a:pt x="299399" y="89952"/>
                  </a:cubicBezTo>
                  <a:cubicBezTo>
                    <a:pt x="305824" y="99589"/>
                    <a:pt x="321244" y="105372"/>
                    <a:pt x="329596" y="106657"/>
                  </a:cubicBezTo>
                  <a:cubicBezTo>
                    <a:pt x="337948" y="107942"/>
                    <a:pt x="336663" y="109227"/>
                    <a:pt x="350156" y="113724"/>
                  </a:cubicBezTo>
                  <a:cubicBezTo>
                    <a:pt x="363648" y="117579"/>
                    <a:pt x="387420" y="117579"/>
                    <a:pt x="389347" y="117579"/>
                  </a:cubicBezTo>
                  <a:cubicBezTo>
                    <a:pt x="391275" y="117579"/>
                    <a:pt x="395130" y="132999"/>
                    <a:pt x="396415" y="136211"/>
                  </a:cubicBezTo>
                  <a:cubicBezTo>
                    <a:pt x="398342" y="139424"/>
                    <a:pt x="399627" y="149061"/>
                    <a:pt x="396415" y="152916"/>
                  </a:cubicBezTo>
                  <a:cubicBezTo>
                    <a:pt x="393202" y="156771"/>
                    <a:pt x="393845" y="165766"/>
                    <a:pt x="398342" y="170905"/>
                  </a:cubicBezTo>
                  <a:cubicBezTo>
                    <a:pt x="402840" y="176045"/>
                    <a:pt x="427897" y="222947"/>
                    <a:pt x="440104" y="230657"/>
                  </a:cubicBezTo>
                  <a:cubicBezTo>
                    <a:pt x="451669" y="238367"/>
                    <a:pt x="459378" y="242222"/>
                    <a:pt x="464518" y="238367"/>
                  </a:cubicBezTo>
                  <a:cubicBezTo>
                    <a:pt x="469658" y="234512"/>
                    <a:pt x="483151" y="230657"/>
                    <a:pt x="491503" y="230657"/>
                  </a:cubicBezTo>
                  <a:cubicBezTo>
                    <a:pt x="499855" y="230657"/>
                    <a:pt x="516560" y="235797"/>
                    <a:pt x="520415" y="239652"/>
                  </a:cubicBezTo>
                  <a:cubicBezTo>
                    <a:pt x="524270" y="243506"/>
                    <a:pt x="528767" y="258284"/>
                    <a:pt x="538404" y="258926"/>
                  </a:cubicBezTo>
                  <a:cubicBezTo>
                    <a:pt x="548042" y="259569"/>
                    <a:pt x="554466" y="250574"/>
                    <a:pt x="558964" y="251216"/>
                  </a:cubicBezTo>
                  <a:cubicBezTo>
                    <a:pt x="563461" y="251859"/>
                    <a:pt x="578239" y="266636"/>
                    <a:pt x="578239" y="266636"/>
                  </a:cubicBezTo>
                  <a:cubicBezTo>
                    <a:pt x="578239" y="266636"/>
                    <a:pt x="594943" y="269206"/>
                    <a:pt x="598798" y="274346"/>
                  </a:cubicBezTo>
                  <a:cubicBezTo>
                    <a:pt x="602653" y="279486"/>
                    <a:pt x="606508" y="294263"/>
                    <a:pt x="616788" y="294905"/>
                  </a:cubicBezTo>
                  <a:cubicBezTo>
                    <a:pt x="627068" y="295548"/>
                    <a:pt x="639275" y="294905"/>
                    <a:pt x="647627" y="297475"/>
                  </a:cubicBezTo>
                  <a:cubicBezTo>
                    <a:pt x="655337" y="300045"/>
                    <a:pt x="663689" y="297475"/>
                    <a:pt x="669472" y="297475"/>
                  </a:cubicBezTo>
                  <a:cubicBezTo>
                    <a:pt x="675254" y="297475"/>
                    <a:pt x="684249" y="295548"/>
                    <a:pt x="684249" y="287838"/>
                  </a:cubicBezTo>
                  <a:cubicBezTo>
                    <a:pt x="684249" y="280128"/>
                    <a:pt x="688104" y="274346"/>
                    <a:pt x="691959" y="269848"/>
                  </a:cubicBezTo>
                  <a:cubicBezTo>
                    <a:pt x="695814" y="265351"/>
                    <a:pt x="697099" y="258926"/>
                    <a:pt x="694529" y="256999"/>
                  </a:cubicBezTo>
                  <a:cubicBezTo>
                    <a:pt x="692601" y="255071"/>
                    <a:pt x="684249" y="251216"/>
                    <a:pt x="683606" y="247361"/>
                  </a:cubicBezTo>
                  <a:cubicBezTo>
                    <a:pt x="682964" y="244149"/>
                    <a:pt x="682322" y="239652"/>
                    <a:pt x="682322" y="233227"/>
                  </a:cubicBezTo>
                  <a:cubicBezTo>
                    <a:pt x="691959" y="235154"/>
                    <a:pt x="703524" y="235797"/>
                    <a:pt x="713161" y="239009"/>
                  </a:cubicBezTo>
                  <a:cubicBezTo>
                    <a:pt x="733721" y="245434"/>
                    <a:pt x="742715" y="262781"/>
                    <a:pt x="759420" y="279486"/>
                  </a:cubicBezTo>
                  <a:cubicBezTo>
                    <a:pt x="776125" y="296190"/>
                    <a:pt x="770342" y="292978"/>
                    <a:pt x="772270" y="304543"/>
                  </a:cubicBezTo>
                  <a:cubicBezTo>
                    <a:pt x="774197" y="316108"/>
                    <a:pt x="756850" y="319963"/>
                    <a:pt x="753638" y="325102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 62">
              <a:extLst>
                <a:ext uri="{FF2B5EF4-FFF2-40B4-BE49-F238E27FC236}">
                  <a16:creationId xmlns:a16="http://schemas.microsoft.com/office/drawing/2014/main" id="{2D1ECC15-3C53-CE7B-756A-7C212645839D}"/>
                </a:ext>
              </a:extLst>
            </p:cNvPr>
            <p:cNvSpPr/>
            <p:nvPr/>
          </p:nvSpPr>
          <p:spPr>
            <a:xfrm>
              <a:off x="2661704" y="4164662"/>
              <a:ext cx="1487698" cy="1424851"/>
            </a:xfrm>
            <a:custGeom>
              <a:avLst/>
              <a:gdLst>
                <a:gd name="connsiteX0" fmla="*/ 1486934 w 1487698"/>
                <a:gd name="connsiteY0" fmla="*/ 738860 h 1424851"/>
                <a:gd name="connsiteX1" fmla="*/ 1479224 w 1487698"/>
                <a:gd name="connsiteY1" fmla="*/ 753638 h 1424851"/>
                <a:gd name="connsiteX2" fmla="*/ 1483079 w 1487698"/>
                <a:gd name="connsiteY2" fmla="*/ 769057 h 1424851"/>
                <a:gd name="connsiteX3" fmla="*/ 1481794 w 1487698"/>
                <a:gd name="connsiteY3" fmla="*/ 792829 h 1424851"/>
                <a:gd name="connsiteX4" fmla="*/ 1474084 w 1487698"/>
                <a:gd name="connsiteY4" fmla="*/ 821099 h 1424851"/>
                <a:gd name="connsiteX5" fmla="*/ 1464447 w 1487698"/>
                <a:gd name="connsiteY5" fmla="*/ 835876 h 1424851"/>
                <a:gd name="connsiteX6" fmla="*/ 1451597 w 1487698"/>
                <a:gd name="connsiteY6" fmla="*/ 842943 h 1424851"/>
                <a:gd name="connsiteX7" fmla="*/ 1434892 w 1487698"/>
                <a:gd name="connsiteY7" fmla="*/ 834591 h 1424851"/>
                <a:gd name="connsiteX8" fmla="*/ 1423327 w 1487698"/>
                <a:gd name="connsiteY8" fmla="*/ 826881 h 1424851"/>
                <a:gd name="connsiteX9" fmla="*/ 1403410 w 1487698"/>
                <a:gd name="connsiteY9" fmla="*/ 823026 h 1424851"/>
                <a:gd name="connsiteX10" fmla="*/ 1391203 w 1487698"/>
                <a:gd name="connsiteY10" fmla="*/ 818529 h 1424851"/>
                <a:gd name="connsiteX11" fmla="*/ 1371286 w 1487698"/>
                <a:gd name="connsiteY11" fmla="*/ 826881 h 1424851"/>
                <a:gd name="connsiteX12" fmla="*/ 1373214 w 1487698"/>
                <a:gd name="connsiteY12" fmla="*/ 839731 h 1424851"/>
                <a:gd name="connsiteX13" fmla="*/ 1373856 w 1487698"/>
                <a:gd name="connsiteY13" fmla="*/ 865431 h 1424851"/>
                <a:gd name="connsiteX14" fmla="*/ 1363576 w 1487698"/>
                <a:gd name="connsiteY14" fmla="*/ 908477 h 1424851"/>
                <a:gd name="connsiteX15" fmla="*/ 1339162 w 1487698"/>
                <a:gd name="connsiteY15" fmla="*/ 928394 h 1424851"/>
                <a:gd name="connsiteX16" fmla="*/ 1312820 w 1487698"/>
                <a:gd name="connsiteY16" fmla="*/ 951524 h 1424851"/>
                <a:gd name="connsiteX17" fmla="*/ 1281980 w 1487698"/>
                <a:gd name="connsiteY17" fmla="*/ 952809 h 1424851"/>
                <a:gd name="connsiteX18" fmla="*/ 1247286 w 1487698"/>
                <a:gd name="connsiteY18" fmla="*/ 967586 h 1424851"/>
                <a:gd name="connsiteX19" fmla="*/ 1229939 w 1487698"/>
                <a:gd name="connsiteY19" fmla="*/ 984291 h 1424851"/>
                <a:gd name="connsiteX20" fmla="*/ 1204882 w 1487698"/>
                <a:gd name="connsiteY20" fmla="*/ 994570 h 1424851"/>
                <a:gd name="connsiteX21" fmla="*/ 1183037 w 1487698"/>
                <a:gd name="connsiteY21" fmla="*/ 1012560 h 1424851"/>
                <a:gd name="connsiteX22" fmla="*/ 1165690 w 1487698"/>
                <a:gd name="connsiteY22" fmla="*/ 1038260 h 1424851"/>
                <a:gd name="connsiteX23" fmla="*/ 1177255 w 1487698"/>
                <a:gd name="connsiteY23" fmla="*/ 1058819 h 1424851"/>
                <a:gd name="connsiteX24" fmla="*/ 1205524 w 1487698"/>
                <a:gd name="connsiteY24" fmla="*/ 1085804 h 1424851"/>
                <a:gd name="connsiteX25" fmla="*/ 1229939 w 1487698"/>
                <a:gd name="connsiteY25" fmla="*/ 1106363 h 1424851"/>
                <a:gd name="connsiteX26" fmla="*/ 1242788 w 1487698"/>
                <a:gd name="connsiteY26" fmla="*/ 1129493 h 1424851"/>
                <a:gd name="connsiteX27" fmla="*/ 1247928 w 1487698"/>
                <a:gd name="connsiteY27" fmla="*/ 1148125 h 1424851"/>
                <a:gd name="connsiteX28" fmla="*/ 1238291 w 1487698"/>
                <a:gd name="connsiteY28" fmla="*/ 1170612 h 1424851"/>
                <a:gd name="connsiteX29" fmla="*/ 1227369 w 1487698"/>
                <a:gd name="connsiteY29" fmla="*/ 1188602 h 1424851"/>
                <a:gd name="connsiteX30" fmla="*/ 1226726 w 1487698"/>
                <a:gd name="connsiteY30" fmla="*/ 1202736 h 1424851"/>
                <a:gd name="connsiteX31" fmla="*/ 1252426 w 1487698"/>
                <a:gd name="connsiteY31" fmla="*/ 1202094 h 1424851"/>
                <a:gd name="connsiteX32" fmla="*/ 1262706 w 1487698"/>
                <a:gd name="connsiteY32" fmla="*/ 1195669 h 1424851"/>
                <a:gd name="connsiteX33" fmla="*/ 1280695 w 1487698"/>
                <a:gd name="connsiteY33" fmla="*/ 1219441 h 1424851"/>
                <a:gd name="connsiteX34" fmla="*/ 1287120 w 1487698"/>
                <a:gd name="connsiteY34" fmla="*/ 1235503 h 1424851"/>
                <a:gd name="connsiteX35" fmla="*/ 1282623 w 1487698"/>
                <a:gd name="connsiteY35" fmla="*/ 1257990 h 1424851"/>
                <a:gd name="connsiteX36" fmla="*/ 1281338 w 1487698"/>
                <a:gd name="connsiteY36" fmla="*/ 1272767 h 1424851"/>
                <a:gd name="connsiteX37" fmla="*/ 1276198 w 1487698"/>
                <a:gd name="connsiteY37" fmla="*/ 1289472 h 1424851"/>
                <a:gd name="connsiteX38" fmla="*/ 1267846 w 1487698"/>
                <a:gd name="connsiteY38" fmla="*/ 1304892 h 1424851"/>
                <a:gd name="connsiteX39" fmla="*/ 1253068 w 1487698"/>
                <a:gd name="connsiteY39" fmla="*/ 1316457 h 1424851"/>
                <a:gd name="connsiteX40" fmla="*/ 1240861 w 1487698"/>
                <a:gd name="connsiteY40" fmla="*/ 1306819 h 1424851"/>
                <a:gd name="connsiteX41" fmla="*/ 1226084 w 1487698"/>
                <a:gd name="connsiteY41" fmla="*/ 1299752 h 1424851"/>
                <a:gd name="connsiteX42" fmla="*/ 1211307 w 1487698"/>
                <a:gd name="connsiteY42" fmla="*/ 1287545 h 1424851"/>
                <a:gd name="connsiteX43" fmla="*/ 1190747 w 1487698"/>
                <a:gd name="connsiteY43" fmla="*/ 1274695 h 1424851"/>
                <a:gd name="connsiteX44" fmla="*/ 1188177 w 1487698"/>
                <a:gd name="connsiteY44" fmla="*/ 1258633 h 1424851"/>
                <a:gd name="connsiteX45" fmla="*/ 1195244 w 1487698"/>
                <a:gd name="connsiteY45" fmla="*/ 1245783 h 1424851"/>
                <a:gd name="connsiteX46" fmla="*/ 1188820 w 1487698"/>
                <a:gd name="connsiteY46" fmla="*/ 1232933 h 1424851"/>
                <a:gd name="connsiteX47" fmla="*/ 1171473 w 1487698"/>
                <a:gd name="connsiteY47" fmla="*/ 1221368 h 1424851"/>
                <a:gd name="connsiteX48" fmla="*/ 1141918 w 1487698"/>
                <a:gd name="connsiteY48" fmla="*/ 1219441 h 1424851"/>
                <a:gd name="connsiteX49" fmla="*/ 1125856 w 1487698"/>
                <a:gd name="connsiteY49" fmla="*/ 1232933 h 1424851"/>
                <a:gd name="connsiteX50" fmla="*/ 1118146 w 1487698"/>
                <a:gd name="connsiteY50" fmla="*/ 1245140 h 1424851"/>
                <a:gd name="connsiteX51" fmla="*/ 1097587 w 1487698"/>
                <a:gd name="connsiteY51" fmla="*/ 1250280 h 1424851"/>
                <a:gd name="connsiteX52" fmla="*/ 1092446 w 1487698"/>
                <a:gd name="connsiteY52" fmla="*/ 1240001 h 1424851"/>
                <a:gd name="connsiteX53" fmla="*/ 1079597 w 1487698"/>
                <a:gd name="connsiteY53" fmla="*/ 1231648 h 1424851"/>
                <a:gd name="connsiteX54" fmla="*/ 1064177 w 1487698"/>
                <a:gd name="connsiteY54" fmla="*/ 1231006 h 1424851"/>
                <a:gd name="connsiteX55" fmla="*/ 1054540 w 1487698"/>
                <a:gd name="connsiteY55" fmla="*/ 1237430 h 1424851"/>
                <a:gd name="connsiteX56" fmla="*/ 1023700 w 1487698"/>
                <a:gd name="connsiteY56" fmla="*/ 1236146 h 1424851"/>
                <a:gd name="connsiteX57" fmla="*/ 1014705 w 1487698"/>
                <a:gd name="connsiteY57" fmla="*/ 1241928 h 1424851"/>
                <a:gd name="connsiteX58" fmla="*/ 1008281 w 1487698"/>
                <a:gd name="connsiteY58" fmla="*/ 1250280 h 1424851"/>
                <a:gd name="connsiteX59" fmla="*/ 1005711 w 1487698"/>
                <a:gd name="connsiteY59" fmla="*/ 1260560 h 1424851"/>
                <a:gd name="connsiteX60" fmla="*/ 992861 w 1487698"/>
                <a:gd name="connsiteY60" fmla="*/ 1263130 h 1424851"/>
                <a:gd name="connsiteX61" fmla="*/ 977441 w 1487698"/>
                <a:gd name="connsiteY61" fmla="*/ 1261203 h 1424851"/>
                <a:gd name="connsiteX62" fmla="*/ 924115 w 1487698"/>
                <a:gd name="connsiteY62" fmla="*/ 1260560 h 1424851"/>
                <a:gd name="connsiteX63" fmla="*/ 906768 w 1487698"/>
                <a:gd name="connsiteY63" fmla="*/ 1265058 h 1424851"/>
                <a:gd name="connsiteX64" fmla="*/ 883638 w 1487698"/>
                <a:gd name="connsiteY64" fmla="*/ 1274052 h 1424851"/>
                <a:gd name="connsiteX65" fmla="*/ 862436 w 1487698"/>
                <a:gd name="connsiteY65" fmla="*/ 1273410 h 1424851"/>
                <a:gd name="connsiteX66" fmla="*/ 833524 w 1487698"/>
                <a:gd name="connsiteY66" fmla="*/ 1282405 h 1424851"/>
                <a:gd name="connsiteX67" fmla="*/ 811680 w 1487698"/>
                <a:gd name="connsiteY67" fmla="*/ 1299752 h 1424851"/>
                <a:gd name="connsiteX68" fmla="*/ 798830 w 1487698"/>
                <a:gd name="connsiteY68" fmla="*/ 1309389 h 1424851"/>
                <a:gd name="connsiteX69" fmla="*/ 770560 w 1487698"/>
                <a:gd name="connsiteY69" fmla="*/ 1315814 h 1424851"/>
                <a:gd name="connsiteX70" fmla="*/ 747431 w 1487698"/>
                <a:gd name="connsiteY70" fmla="*/ 1326736 h 1424851"/>
                <a:gd name="connsiteX71" fmla="*/ 739078 w 1487698"/>
                <a:gd name="connsiteY71" fmla="*/ 1336374 h 1424851"/>
                <a:gd name="connsiteX72" fmla="*/ 717876 w 1487698"/>
                <a:gd name="connsiteY72" fmla="*/ 1348581 h 1424851"/>
                <a:gd name="connsiteX73" fmla="*/ 697959 w 1487698"/>
                <a:gd name="connsiteY73" fmla="*/ 1356291 h 1424851"/>
                <a:gd name="connsiteX74" fmla="*/ 672260 w 1487698"/>
                <a:gd name="connsiteY74" fmla="*/ 1363358 h 1424851"/>
                <a:gd name="connsiteX75" fmla="*/ 638850 w 1487698"/>
                <a:gd name="connsiteY75" fmla="*/ 1364643 h 1424851"/>
                <a:gd name="connsiteX76" fmla="*/ 624716 w 1487698"/>
                <a:gd name="connsiteY76" fmla="*/ 1362715 h 1424851"/>
                <a:gd name="connsiteX77" fmla="*/ 611866 w 1487698"/>
                <a:gd name="connsiteY77" fmla="*/ 1343441 h 1424851"/>
                <a:gd name="connsiteX78" fmla="*/ 607369 w 1487698"/>
                <a:gd name="connsiteY78" fmla="*/ 1324166 h 1424851"/>
                <a:gd name="connsiteX79" fmla="*/ 597089 w 1487698"/>
                <a:gd name="connsiteY79" fmla="*/ 1312602 h 1424851"/>
                <a:gd name="connsiteX80" fmla="*/ 583597 w 1487698"/>
                <a:gd name="connsiteY80" fmla="*/ 1313244 h 1424851"/>
                <a:gd name="connsiteX81" fmla="*/ 579099 w 1487698"/>
                <a:gd name="connsiteY81" fmla="*/ 1305534 h 1424851"/>
                <a:gd name="connsiteX82" fmla="*/ 566249 w 1487698"/>
                <a:gd name="connsiteY82" fmla="*/ 1305534 h 1424851"/>
                <a:gd name="connsiteX83" fmla="*/ 546975 w 1487698"/>
                <a:gd name="connsiteY83" fmla="*/ 1304249 h 1424851"/>
                <a:gd name="connsiteX84" fmla="*/ 530913 w 1487698"/>
                <a:gd name="connsiteY84" fmla="*/ 1297824 h 1424851"/>
                <a:gd name="connsiteX85" fmla="*/ 517420 w 1487698"/>
                <a:gd name="connsiteY85" fmla="*/ 1302322 h 1424851"/>
                <a:gd name="connsiteX86" fmla="*/ 487866 w 1487698"/>
                <a:gd name="connsiteY86" fmla="*/ 1307462 h 1424851"/>
                <a:gd name="connsiteX87" fmla="*/ 476944 w 1487698"/>
                <a:gd name="connsiteY87" fmla="*/ 1297182 h 1424851"/>
                <a:gd name="connsiteX88" fmla="*/ 467949 w 1487698"/>
                <a:gd name="connsiteY88" fmla="*/ 1285617 h 1424851"/>
                <a:gd name="connsiteX89" fmla="*/ 458954 w 1487698"/>
                <a:gd name="connsiteY89" fmla="*/ 1289472 h 1424851"/>
                <a:gd name="connsiteX90" fmla="*/ 456384 w 1487698"/>
                <a:gd name="connsiteY90" fmla="*/ 1310674 h 1424851"/>
                <a:gd name="connsiteX91" fmla="*/ 462809 w 1487698"/>
                <a:gd name="connsiteY91" fmla="*/ 1323524 h 1424851"/>
                <a:gd name="connsiteX92" fmla="*/ 462809 w 1487698"/>
                <a:gd name="connsiteY92" fmla="*/ 1357576 h 1424851"/>
                <a:gd name="connsiteX93" fmla="*/ 437752 w 1487698"/>
                <a:gd name="connsiteY93" fmla="*/ 1391627 h 1424851"/>
                <a:gd name="connsiteX94" fmla="*/ 416550 w 1487698"/>
                <a:gd name="connsiteY94" fmla="*/ 1408332 h 1424851"/>
                <a:gd name="connsiteX95" fmla="*/ 378001 w 1487698"/>
                <a:gd name="connsiteY95" fmla="*/ 1424394 h 1424851"/>
                <a:gd name="connsiteX96" fmla="*/ 371576 w 1487698"/>
                <a:gd name="connsiteY96" fmla="*/ 1417327 h 1424851"/>
                <a:gd name="connsiteX97" fmla="*/ 378643 w 1487698"/>
                <a:gd name="connsiteY97" fmla="*/ 1394840 h 1424851"/>
                <a:gd name="connsiteX98" fmla="*/ 385068 w 1487698"/>
                <a:gd name="connsiteY98" fmla="*/ 1381990 h 1424851"/>
                <a:gd name="connsiteX99" fmla="*/ 377358 w 1487698"/>
                <a:gd name="connsiteY99" fmla="*/ 1369140 h 1424851"/>
                <a:gd name="connsiteX100" fmla="*/ 368363 w 1487698"/>
                <a:gd name="connsiteY100" fmla="*/ 1358861 h 1424851"/>
                <a:gd name="connsiteX101" fmla="*/ 350374 w 1487698"/>
                <a:gd name="connsiteY101" fmla="*/ 1345369 h 1424851"/>
                <a:gd name="connsiteX102" fmla="*/ 330456 w 1487698"/>
                <a:gd name="connsiteY102" fmla="*/ 1333804 h 1424851"/>
                <a:gd name="connsiteX103" fmla="*/ 316964 w 1487698"/>
                <a:gd name="connsiteY103" fmla="*/ 1320311 h 1424851"/>
                <a:gd name="connsiteX104" fmla="*/ 304757 w 1487698"/>
                <a:gd name="connsiteY104" fmla="*/ 1305534 h 1424851"/>
                <a:gd name="connsiteX105" fmla="*/ 280343 w 1487698"/>
                <a:gd name="connsiteY105" fmla="*/ 1299752 h 1424851"/>
                <a:gd name="connsiteX106" fmla="*/ 259141 w 1487698"/>
                <a:gd name="connsiteY106" fmla="*/ 1289472 h 1424851"/>
                <a:gd name="connsiteX107" fmla="*/ 243721 w 1487698"/>
                <a:gd name="connsiteY107" fmla="*/ 1294612 h 1424851"/>
                <a:gd name="connsiteX108" fmla="*/ 231513 w 1487698"/>
                <a:gd name="connsiteY108" fmla="*/ 1312602 h 1424851"/>
                <a:gd name="connsiteX109" fmla="*/ 200674 w 1487698"/>
                <a:gd name="connsiteY109" fmla="*/ 1315814 h 1424851"/>
                <a:gd name="connsiteX110" fmla="*/ 200674 w 1487698"/>
                <a:gd name="connsiteY110" fmla="*/ 1315814 h 1424851"/>
                <a:gd name="connsiteX111" fmla="*/ 200674 w 1487698"/>
                <a:gd name="connsiteY111" fmla="*/ 1315814 h 1424851"/>
                <a:gd name="connsiteX112" fmla="*/ 200674 w 1487698"/>
                <a:gd name="connsiteY112" fmla="*/ 1315814 h 1424851"/>
                <a:gd name="connsiteX113" fmla="*/ 190394 w 1487698"/>
                <a:gd name="connsiteY113" fmla="*/ 1313244 h 1424851"/>
                <a:gd name="connsiteX114" fmla="*/ 183327 w 1487698"/>
                <a:gd name="connsiteY114" fmla="*/ 1311959 h 1424851"/>
                <a:gd name="connsiteX115" fmla="*/ 183327 w 1487698"/>
                <a:gd name="connsiteY115" fmla="*/ 1311959 h 1424851"/>
                <a:gd name="connsiteX116" fmla="*/ 224446 w 1487698"/>
                <a:gd name="connsiteY116" fmla="*/ 1270198 h 1424851"/>
                <a:gd name="connsiteX117" fmla="*/ 274560 w 1487698"/>
                <a:gd name="connsiteY117" fmla="*/ 1255420 h 1424851"/>
                <a:gd name="connsiteX118" fmla="*/ 318249 w 1487698"/>
                <a:gd name="connsiteY118" fmla="*/ 1255420 h 1424851"/>
                <a:gd name="connsiteX119" fmla="*/ 356798 w 1487698"/>
                <a:gd name="connsiteY119" fmla="*/ 1234861 h 1424851"/>
                <a:gd name="connsiteX120" fmla="*/ 345234 w 1487698"/>
                <a:gd name="connsiteY120" fmla="*/ 1171897 h 1424851"/>
                <a:gd name="connsiteX121" fmla="*/ 360011 w 1487698"/>
                <a:gd name="connsiteY121" fmla="*/ 1117928 h 1424851"/>
                <a:gd name="connsiteX122" fmla="*/ 357441 w 1487698"/>
                <a:gd name="connsiteY122" fmla="*/ 1053679 h 1424851"/>
                <a:gd name="connsiteX123" fmla="*/ 340736 w 1487698"/>
                <a:gd name="connsiteY123" fmla="*/ 999068 h 1424851"/>
                <a:gd name="connsiteX124" fmla="*/ 311182 w 1487698"/>
                <a:gd name="connsiteY124" fmla="*/ 950881 h 1424851"/>
                <a:gd name="connsiteX125" fmla="*/ 316964 w 1487698"/>
                <a:gd name="connsiteY125" fmla="*/ 918757 h 1424851"/>
                <a:gd name="connsiteX126" fmla="*/ 349089 w 1487698"/>
                <a:gd name="connsiteY126" fmla="*/ 891772 h 1424851"/>
                <a:gd name="connsiteX127" fmla="*/ 351016 w 1487698"/>
                <a:gd name="connsiteY127" fmla="*/ 905265 h 1424851"/>
                <a:gd name="connsiteX128" fmla="*/ 368363 w 1487698"/>
                <a:gd name="connsiteY128" fmla="*/ 905265 h 1424851"/>
                <a:gd name="connsiteX129" fmla="*/ 404985 w 1487698"/>
                <a:gd name="connsiteY129" fmla="*/ 880850 h 1424851"/>
                <a:gd name="connsiteX130" fmla="*/ 412695 w 1487698"/>
                <a:gd name="connsiteY130" fmla="*/ 841658 h 1424851"/>
                <a:gd name="connsiteX131" fmla="*/ 439679 w 1487698"/>
                <a:gd name="connsiteY131" fmla="*/ 808892 h 1424851"/>
                <a:gd name="connsiteX132" fmla="*/ 456384 w 1487698"/>
                <a:gd name="connsiteY132" fmla="*/ 776767 h 1424851"/>
                <a:gd name="connsiteX133" fmla="*/ 452529 w 1487698"/>
                <a:gd name="connsiteY133" fmla="*/ 750425 h 1424851"/>
                <a:gd name="connsiteX134" fmla="*/ 456384 w 1487698"/>
                <a:gd name="connsiteY134" fmla="*/ 708663 h 1424851"/>
                <a:gd name="connsiteX135" fmla="*/ 435825 w 1487698"/>
                <a:gd name="connsiteY135" fmla="*/ 679752 h 1424851"/>
                <a:gd name="connsiteX136" fmla="*/ 412695 w 1487698"/>
                <a:gd name="connsiteY136" fmla="*/ 658550 h 1424851"/>
                <a:gd name="connsiteX137" fmla="*/ 393420 w 1487698"/>
                <a:gd name="connsiteY137" fmla="*/ 640560 h 1424851"/>
                <a:gd name="connsiteX138" fmla="*/ 348446 w 1487698"/>
                <a:gd name="connsiteY138" fmla="*/ 569244 h 1424851"/>
                <a:gd name="connsiteX139" fmla="*/ 340094 w 1487698"/>
                <a:gd name="connsiteY139" fmla="*/ 524912 h 1424851"/>
                <a:gd name="connsiteX140" fmla="*/ 351016 w 1487698"/>
                <a:gd name="connsiteY140" fmla="*/ 495358 h 1424851"/>
                <a:gd name="connsiteX141" fmla="*/ 351016 w 1487698"/>
                <a:gd name="connsiteY141" fmla="*/ 454881 h 1424851"/>
                <a:gd name="connsiteX142" fmla="*/ 334311 w 1487698"/>
                <a:gd name="connsiteY142" fmla="*/ 431752 h 1424851"/>
                <a:gd name="connsiteX143" fmla="*/ 323389 w 1487698"/>
                <a:gd name="connsiteY143" fmla="*/ 443316 h 1424851"/>
                <a:gd name="connsiteX144" fmla="*/ 320177 w 1487698"/>
                <a:gd name="connsiteY144" fmla="*/ 467088 h 1424851"/>
                <a:gd name="connsiteX145" fmla="*/ 288695 w 1487698"/>
                <a:gd name="connsiteY145" fmla="*/ 463876 h 1424851"/>
                <a:gd name="connsiteX146" fmla="*/ 286125 w 1487698"/>
                <a:gd name="connsiteY146" fmla="*/ 429824 h 1424851"/>
                <a:gd name="connsiteX147" fmla="*/ 254001 w 1487698"/>
                <a:gd name="connsiteY147" fmla="*/ 368788 h 1424851"/>
                <a:gd name="connsiteX148" fmla="*/ 236011 w 1487698"/>
                <a:gd name="connsiteY148" fmla="*/ 357223 h 1424851"/>
                <a:gd name="connsiteX149" fmla="*/ 212881 w 1487698"/>
                <a:gd name="connsiteY149" fmla="*/ 359150 h 1424851"/>
                <a:gd name="connsiteX150" fmla="*/ 197462 w 1487698"/>
                <a:gd name="connsiteY150" fmla="*/ 337306 h 1424851"/>
                <a:gd name="connsiteX151" fmla="*/ 168550 w 1487698"/>
                <a:gd name="connsiteY151" fmla="*/ 337948 h 1424851"/>
                <a:gd name="connsiteX152" fmla="*/ 148633 w 1487698"/>
                <a:gd name="connsiteY152" fmla="*/ 338591 h 1424851"/>
                <a:gd name="connsiteX153" fmla="*/ 143493 w 1487698"/>
                <a:gd name="connsiteY153" fmla="*/ 328954 h 1424851"/>
                <a:gd name="connsiteX154" fmla="*/ 131928 w 1487698"/>
                <a:gd name="connsiteY154" fmla="*/ 328954 h 1424851"/>
                <a:gd name="connsiteX155" fmla="*/ 128715 w 1487698"/>
                <a:gd name="connsiteY155" fmla="*/ 336021 h 1424851"/>
                <a:gd name="connsiteX156" fmla="*/ 113296 w 1487698"/>
                <a:gd name="connsiteY156" fmla="*/ 336021 h 1424851"/>
                <a:gd name="connsiteX157" fmla="*/ 94664 w 1487698"/>
                <a:gd name="connsiteY157" fmla="*/ 353368 h 1424851"/>
                <a:gd name="connsiteX158" fmla="*/ 111368 w 1487698"/>
                <a:gd name="connsiteY158" fmla="*/ 360435 h 1424851"/>
                <a:gd name="connsiteX159" fmla="*/ 127431 w 1487698"/>
                <a:gd name="connsiteY159" fmla="*/ 363005 h 1424851"/>
                <a:gd name="connsiteX160" fmla="*/ 132570 w 1487698"/>
                <a:gd name="connsiteY160" fmla="*/ 389347 h 1424851"/>
                <a:gd name="connsiteX161" fmla="*/ 112011 w 1487698"/>
                <a:gd name="connsiteY161" fmla="*/ 407337 h 1424851"/>
                <a:gd name="connsiteX162" fmla="*/ 63824 w 1487698"/>
                <a:gd name="connsiteY162" fmla="*/ 422757 h 1424851"/>
                <a:gd name="connsiteX163" fmla="*/ 43265 w 1487698"/>
                <a:gd name="connsiteY163" fmla="*/ 428539 h 1424851"/>
                <a:gd name="connsiteX164" fmla="*/ 34270 w 1487698"/>
                <a:gd name="connsiteY164" fmla="*/ 418259 h 1424851"/>
                <a:gd name="connsiteX165" fmla="*/ 32342 w 1487698"/>
                <a:gd name="connsiteY165" fmla="*/ 397057 h 1424851"/>
                <a:gd name="connsiteX166" fmla="*/ 43265 w 1487698"/>
                <a:gd name="connsiteY166" fmla="*/ 357866 h 1424851"/>
                <a:gd name="connsiteX167" fmla="*/ 28488 w 1487698"/>
                <a:gd name="connsiteY167" fmla="*/ 323171 h 1424851"/>
                <a:gd name="connsiteX168" fmla="*/ 2145 w 1487698"/>
                <a:gd name="connsiteY168" fmla="*/ 236435 h 1424851"/>
                <a:gd name="connsiteX169" fmla="*/ 6643 w 1487698"/>
                <a:gd name="connsiteY169" fmla="*/ 199171 h 1424851"/>
                <a:gd name="connsiteX170" fmla="*/ 67037 w 1487698"/>
                <a:gd name="connsiteY170" fmla="*/ 178611 h 1424851"/>
                <a:gd name="connsiteX171" fmla="*/ 111368 w 1487698"/>
                <a:gd name="connsiteY171" fmla="*/ 187606 h 1424851"/>
                <a:gd name="connsiteX172" fmla="*/ 138353 w 1487698"/>
                <a:gd name="connsiteY172" fmla="*/ 199171 h 1424851"/>
                <a:gd name="connsiteX173" fmla="*/ 162125 w 1487698"/>
                <a:gd name="connsiteY173" fmla="*/ 192104 h 1424851"/>
                <a:gd name="connsiteX174" fmla="*/ 153130 w 1487698"/>
                <a:gd name="connsiteY174" fmla="*/ 167689 h 1424851"/>
                <a:gd name="connsiteX175" fmla="*/ 153130 w 1487698"/>
                <a:gd name="connsiteY175" fmla="*/ 142632 h 1424851"/>
                <a:gd name="connsiteX176" fmla="*/ 172405 w 1487698"/>
                <a:gd name="connsiteY176" fmla="*/ 141990 h 1424851"/>
                <a:gd name="connsiteX177" fmla="*/ 192964 w 1487698"/>
                <a:gd name="connsiteY177" fmla="*/ 141990 h 1424851"/>
                <a:gd name="connsiteX178" fmla="*/ 261068 w 1487698"/>
                <a:gd name="connsiteY178" fmla="*/ 72601 h 1424851"/>
                <a:gd name="connsiteX179" fmla="*/ 293835 w 1487698"/>
                <a:gd name="connsiteY179" fmla="*/ 53326 h 1424851"/>
                <a:gd name="connsiteX180" fmla="*/ 311824 w 1487698"/>
                <a:gd name="connsiteY180" fmla="*/ 22487 h 1424851"/>
                <a:gd name="connsiteX181" fmla="*/ 328529 w 1487698"/>
                <a:gd name="connsiteY181" fmla="*/ 4497 h 1424851"/>
                <a:gd name="connsiteX182" fmla="*/ 333669 w 1487698"/>
                <a:gd name="connsiteY182" fmla="*/ 643 h 1424851"/>
                <a:gd name="connsiteX183" fmla="*/ 338809 w 1487698"/>
                <a:gd name="connsiteY183" fmla="*/ 0 h 1424851"/>
                <a:gd name="connsiteX184" fmla="*/ 349731 w 1487698"/>
                <a:gd name="connsiteY184" fmla="*/ 0 h 1424851"/>
                <a:gd name="connsiteX185" fmla="*/ 360011 w 1487698"/>
                <a:gd name="connsiteY185" fmla="*/ 1285 h 1424851"/>
                <a:gd name="connsiteX186" fmla="*/ 369648 w 1487698"/>
                <a:gd name="connsiteY186" fmla="*/ 6425 h 1424851"/>
                <a:gd name="connsiteX187" fmla="*/ 417192 w 1487698"/>
                <a:gd name="connsiteY187" fmla="*/ 45617 h 1424851"/>
                <a:gd name="connsiteX188" fmla="*/ 461524 w 1487698"/>
                <a:gd name="connsiteY188" fmla="*/ 120145 h 1424851"/>
                <a:gd name="connsiteX189" fmla="*/ 474374 w 1487698"/>
                <a:gd name="connsiteY189" fmla="*/ 138135 h 1424851"/>
                <a:gd name="connsiteX190" fmla="*/ 503928 w 1487698"/>
                <a:gd name="connsiteY190" fmla="*/ 149057 h 1424851"/>
                <a:gd name="connsiteX191" fmla="*/ 518705 w 1487698"/>
                <a:gd name="connsiteY191" fmla="*/ 145845 h 1424851"/>
                <a:gd name="connsiteX192" fmla="*/ 522560 w 1487698"/>
                <a:gd name="connsiteY192" fmla="*/ 121430 h 1424851"/>
                <a:gd name="connsiteX193" fmla="*/ 530913 w 1487698"/>
                <a:gd name="connsiteY193" fmla="*/ 115648 h 1424851"/>
                <a:gd name="connsiteX194" fmla="*/ 526415 w 1487698"/>
                <a:gd name="connsiteY194" fmla="*/ 102155 h 1424851"/>
                <a:gd name="connsiteX195" fmla="*/ 517420 w 1487698"/>
                <a:gd name="connsiteY195" fmla="*/ 101513 h 1424851"/>
                <a:gd name="connsiteX196" fmla="*/ 513565 w 1487698"/>
                <a:gd name="connsiteY196" fmla="*/ 86093 h 1424851"/>
                <a:gd name="connsiteX197" fmla="*/ 557897 w 1487698"/>
                <a:gd name="connsiteY197" fmla="*/ 65534 h 1424851"/>
                <a:gd name="connsiteX198" fmla="*/ 600944 w 1487698"/>
                <a:gd name="connsiteY198" fmla="*/ 71959 h 1424851"/>
                <a:gd name="connsiteX199" fmla="*/ 626001 w 1487698"/>
                <a:gd name="connsiteY199" fmla="*/ 96373 h 1424851"/>
                <a:gd name="connsiteX200" fmla="*/ 638850 w 1487698"/>
                <a:gd name="connsiteY200" fmla="*/ 114363 h 1424851"/>
                <a:gd name="connsiteX201" fmla="*/ 657483 w 1487698"/>
                <a:gd name="connsiteY201" fmla="*/ 116290 h 1424851"/>
                <a:gd name="connsiteX202" fmla="*/ 670975 w 1487698"/>
                <a:gd name="connsiteY202" fmla="*/ 112435 h 1424851"/>
                <a:gd name="connsiteX203" fmla="*/ 677400 w 1487698"/>
                <a:gd name="connsiteY203" fmla="*/ 101513 h 1424851"/>
                <a:gd name="connsiteX204" fmla="*/ 678042 w 1487698"/>
                <a:gd name="connsiteY204" fmla="*/ 84808 h 1424851"/>
                <a:gd name="connsiteX205" fmla="*/ 676115 w 1487698"/>
                <a:gd name="connsiteY205" fmla="*/ 77098 h 1424851"/>
                <a:gd name="connsiteX206" fmla="*/ 678042 w 1487698"/>
                <a:gd name="connsiteY206" fmla="*/ 59751 h 1424851"/>
                <a:gd name="connsiteX207" fmla="*/ 672902 w 1487698"/>
                <a:gd name="connsiteY207" fmla="*/ 43689 h 1424851"/>
                <a:gd name="connsiteX208" fmla="*/ 665192 w 1487698"/>
                <a:gd name="connsiteY208" fmla="*/ 39192 h 1424851"/>
                <a:gd name="connsiteX209" fmla="*/ 662622 w 1487698"/>
                <a:gd name="connsiteY209" fmla="*/ 31482 h 1424851"/>
                <a:gd name="connsiteX210" fmla="*/ 670332 w 1487698"/>
                <a:gd name="connsiteY210" fmla="*/ 27627 h 1424851"/>
                <a:gd name="connsiteX211" fmla="*/ 675472 w 1487698"/>
                <a:gd name="connsiteY211" fmla="*/ 18632 h 1424851"/>
                <a:gd name="connsiteX212" fmla="*/ 692177 w 1487698"/>
                <a:gd name="connsiteY212" fmla="*/ 8995 h 1424851"/>
                <a:gd name="connsiteX213" fmla="*/ 703099 w 1487698"/>
                <a:gd name="connsiteY213" fmla="*/ 8352 h 1424851"/>
                <a:gd name="connsiteX214" fmla="*/ 706954 w 1487698"/>
                <a:gd name="connsiteY214" fmla="*/ 5782 h 1424851"/>
                <a:gd name="connsiteX215" fmla="*/ 711452 w 1487698"/>
                <a:gd name="connsiteY215" fmla="*/ 4497 h 1424851"/>
                <a:gd name="connsiteX216" fmla="*/ 722374 w 1487698"/>
                <a:gd name="connsiteY216" fmla="*/ 6425 h 1424851"/>
                <a:gd name="connsiteX217" fmla="*/ 723016 w 1487698"/>
                <a:gd name="connsiteY217" fmla="*/ 16062 h 1424851"/>
                <a:gd name="connsiteX218" fmla="*/ 719804 w 1487698"/>
                <a:gd name="connsiteY218" fmla="*/ 17990 h 1424851"/>
                <a:gd name="connsiteX219" fmla="*/ 719161 w 1487698"/>
                <a:gd name="connsiteY219" fmla="*/ 21202 h 1424851"/>
                <a:gd name="connsiteX220" fmla="*/ 745503 w 1487698"/>
                <a:gd name="connsiteY220" fmla="*/ 64249 h 1424851"/>
                <a:gd name="connsiteX221" fmla="*/ 776985 w 1487698"/>
                <a:gd name="connsiteY221" fmla="*/ 64249 h 1424851"/>
                <a:gd name="connsiteX222" fmla="*/ 825814 w 1487698"/>
                <a:gd name="connsiteY222" fmla="*/ 57181 h 1424851"/>
                <a:gd name="connsiteX223" fmla="*/ 860508 w 1487698"/>
                <a:gd name="connsiteY223" fmla="*/ 46901 h 1424851"/>
                <a:gd name="connsiteX224" fmla="*/ 867576 w 1487698"/>
                <a:gd name="connsiteY224" fmla="*/ 46901 h 1424851"/>
                <a:gd name="connsiteX225" fmla="*/ 882996 w 1487698"/>
                <a:gd name="connsiteY225" fmla="*/ 50756 h 1424851"/>
                <a:gd name="connsiteX226" fmla="*/ 888136 w 1487698"/>
                <a:gd name="connsiteY226" fmla="*/ 64249 h 1424851"/>
                <a:gd name="connsiteX227" fmla="*/ 886851 w 1487698"/>
                <a:gd name="connsiteY227" fmla="*/ 71316 h 1424851"/>
                <a:gd name="connsiteX228" fmla="*/ 894560 w 1487698"/>
                <a:gd name="connsiteY228" fmla="*/ 78384 h 1424851"/>
                <a:gd name="connsiteX229" fmla="*/ 931825 w 1487698"/>
                <a:gd name="connsiteY229" fmla="*/ 89306 h 1424851"/>
                <a:gd name="connsiteX230" fmla="*/ 931825 w 1487698"/>
                <a:gd name="connsiteY230" fmla="*/ 92518 h 1424851"/>
                <a:gd name="connsiteX231" fmla="*/ 940177 w 1487698"/>
                <a:gd name="connsiteY231" fmla="*/ 108580 h 1424851"/>
                <a:gd name="connsiteX232" fmla="*/ 956239 w 1487698"/>
                <a:gd name="connsiteY232" fmla="*/ 137492 h 1424851"/>
                <a:gd name="connsiteX233" fmla="*/ 963949 w 1487698"/>
                <a:gd name="connsiteY233" fmla="*/ 149057 h 1424851"/>
                <a:gd name="connsiteX234" fmla="*/ 957524 w 1487698"/>
                <a:gd name="connsiteY234" fmla="*/ 160622 h 1424851"/>
                <a:gd name="connsiteX235" fmla="*/ 960737 w 1487698"/>
                <a:gd name="connsiteY235" fmla="*/ 172829 h 1424851"/>
                <a:gd name="connsiteX236" fmla="*/ 971659 w 1487698"/>
                <a:gd name="connsiteY236" fmla="*/ 183109 h 1424851"/>
                <a:gd name="connsiteX237" fmla="*/ 980654 w 1487698"/>
                <a:gd name="connsiteY237" fmla="*/ 186321 h 1424851"/>
                <a:gd name="connsiteX238" fmla="*/ 992861 w 1487698"/>
                <a:gd name="connsiteY238" fmla="*/ 195316 h 1424851"/>
                <a:gd name="connsiteX239" fmla="*/ 1005711 w 1487698"/>
                <a:gd name="connsiteY239" fmla="*/ 208808 h 1424851"/>
                <a:gd name="connsiteX240" fmla="*/ 1024985 w 1487698"/>
                <a:gd name="connsiteY240" fmla="*/ 215876 h 1424851"/>
                <a:gd name="connsiteX241" fmla="*/ 1046187 w 1487698"/>
                <a:gd name="connsiteY241" fmla="*/ 232580 h 1424851"/>
                <a:gd name="connsiteX242" fmla="*/ 1058395 w 1487698"/>
                <a:gd name="connsiteY242" fmla="*/ 244788 h 1424851"/>
                <a:gd name="connsiteX243" fmla="*/ 1067390 w 1487698"/>
                <a:gd name="connsiteY243" fmla="*/ 254425 h 1424851"/>
                <a:gd name="connsiteX244" fmla="*/ 1068032 w 1487698"/>
                <a:gd name="connsiteY244" fmla="*/ 274342 h 1424851"/>
                <a:gd name="connsiteX245" fmla="*/ 1060322 w 1487698"/>
                <a:gd name="connsiteY245" fmla="*/ 290404 h 1424851"/>
                <a:gd name="connsiteX246" fmla="*/ 1050042 w 1487698"/>
                <a:gd name="connsiteY246" fmla="*/ 310321 h 1424851"/>
                <a:gd name="connsiteX247" fmla="*/ 1042333 w 1487698"/>
                <a:gd name="connsiteY247" fmla="*/ 338591 h 1424851"/>
                <a:gd name="connsiteX248" fmla="*/ 1057752 w 1487698"/>
                <a:gd name="connsiteY248" fmla="*/ 355938 h 1424851"/>
                <a:gd name="connsiteX249" fmla="*/ 1062892 w 1487698"/>
                <a:gd name="connsiteY249" fmla="*/ 364933 h 1424851"/>
                <a:gd name="connsiteX250" fmla="*/ 1084094 w 1487698"/>
                <a:gd name="connsiteY250" fmla="*/ 397700 h 1424851"/>
                <a:gd name="connsiteX251" fmla="*/ 1087307 w 1487698"/>
                <a:gd name="connsiteY251" fmla="*/ 421472 h 1424851"/>
                <a:gd name="connsiteX252" fmla="*/ 1106581 w 1487698"/>
                <a:gd name="connsiteY252" fmla="*/ 454239 h 1424851"/>
                <a:gd name="connsiteX253" fmla="*/ 1135493 w 1487698"/>
                <a:gd name="connsiteY253" fmla="*/ 485720 h 1424851"/>
                <a:gd name="connsiteX254" fmla="*/ 1153483 w 1487698"/>
                <a:gd name="connsiteY254" fmla="*/ 494073 h 1424851"/>
                <a:gd name="connsiteX255" fmla="*/ 1170187 w 1487698"/>
                <a:gd name="connsiteY255" fmla="*/ 503067 h 1424851"/>
                <a:gd name="connsiteX256" fmla="*/ 1182395 w 1487698"/>
                <a:gd name="connsiteY256" fmla="*/ 495358 h 1424851"/>
                <a:gd name="connsiteX257" fmla="*/ 1200384 w 1487698"/>
                <a:gd name="connsiteY257" fmla="*/ 494073 h 1424851"/>
                <a:gd name="connsiteX258" fmla="*/ 1215804 w 1487698"/>
                <a:gd name="connsiteY258" fmla="*/ 511420 h 1424851"/>
                <a:gd name="connsiteX259" fmla="*/ 1248571 w 1487698"/>
                <a:gd name="connsiteY259" fmla="*/ 539689 h 1424851"/>
                <a:gd name="connsiteX260" fmla="*/ 1271700 w 1487698"/>
                <a:gd name="connsiteY260" fmla="*/ 569886 h 1424851"/>
                <a:gd name="connsiteX261" fmla="*/ 1308322 w 1487698"/>
                <a:gd name="connsiteY261" fmla="*/ 593016 h 1424851"/>
                <a:gd name="connsiteX262" fmla="*/ 1326954 w 1487698"/>
                <a:gd name="connsiteY262" fmla="*/ 605223 h 1424851"/>
                <a:gd name="connsiteX263" fmla="*/ 1341089 w 1487698"/>
                <a:gd name="connsiteY263" fmla="*/ 623213 h 1424851"/>
                <a:gd name="connsiteX264" fmla="*/ 1359721 w 1487698"/>
                <a:gd name="connsiteY264" fmla="*/ 641845 h 1424851"/>
                <a:gd name="connsiteX265" fmla="*/ 1398270 w 1487698"/>
                <a:gd name="connsiteY265" fmla="*/ 645700 h 1424851"/>
                <a:gd name="connsiteX266" fmla="*/ 1413048 w 1487698"/>
                <a:gd name="connsiteY266" fmla="*/ 658550 h 1424851"/>
                <a:gd name="connsiteX267" fmla="*/ 1429110 w 1487698"/>
                <a:gd name="connsiteY267" fmla="*/ 679752 h 1424851"/>
                <a:gd name="connsiteX268" fmla="*/ 1452882 w 1487698"/>
                <a:gd name="connsiteY268" fmla="*/ 686819 h 1424851"/>
                <a:gd name="connsiteX269" fmla="*/ 1462519 w 1487698"/>
                <a:gd name="connsiteY269" fmla="*/ 696456 h 1424851"/>
                <a:gd name="connsiteX270" fmla="*/ 1478581 w 1487698"/>
                <a:gd name="connsiteY270" fmla="*/ 722156 h 1424851"/>
                <a:gd name="connsiteX271" fmla="*/ 1486934 w 1487698"/>
                <a:gd name="connsiteY271" fmla="*/ 738860 h 142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</a:cxnLst>
              <a:rect l="l" t="t" r="r" b="b"/>
              <a:pathLst>
                <a:path w="1487698" h="1424851">
                  <a:moveTo>
                    <a:pt x="1486934" y="738860"/>
                  </a:moveTo>
                  <a:cubicBezTo>
                    <a:pt x="1483721" y="743358"/>
                    <a:pt x="1478581" y="746570"/>
                    <a:pt x="1479224" y="753638"/>
                  </a:cubicBezTo>
                  <a:cubicBezTo>
                    <a:pt x="1479866" y="760705"/>
                    <a:pt x="1482436" y="765202"/>
                    <a:pt x="1483079" y="769057"/>
                  </a:cubicBezTo>
                  <a:cubicBezTo>
                    <a:pt x="1484364" y="772912"/>
                    <a:pt x="1484364" y="777410"/>
                    <a:pt x="1481794" y="792829"/>
                  </a:cubicBezTo>
                  <a:cubicBezTo>
                    <a:pt x="1479224" y="808249"/>
                    <a:pt x="1478581" y="815959"/>
                    <a:pt x="1474084" y="821099"/>
                  </a:cubicBezTo>
                  <a:cubicBezTo>
                    <a:pt x="1469587" y="826239"/>
                    <a:pt x="1468944" y="831379"/>
                    <a:pt x="1464447" y="835876"/>
                  </a:cubicBezTo>
                  <a:cubicBezTo>
                    <a:pt x="1459307" y="841016"/>
                    <a:pt x="1458664" y="844228"/>
                    <a:pt x="1451597" y="842943"/>
                  </a:cubicBezTo>
                  <a:cubicBezTo>
                    <a:pt x="1444530" y="842301"/>
                    <a:pt x="1438747" y="836519"/>
                    <a:pt x="1434892" y="834591"/>
                  </a:cubicBezTo>
                  <a:cubicBezTo>
                    <a:pt x="1431037" y="832021"/>
                    <a:pt x="1429110" y="829451"/>
                    <a:pt x="1423327" y="826881"/>
                  </a:cubicBezTo>
                  <a:cubicBezTo>
                    <a:pt x="1416903" y="824954"/>
                    <a:pt x="1403410" y="823026"/>
                    <a:pt x="1403410" y="823026"/>
                  </a:cubicBezTo>
                  <a:cubicBezTo>
                    <a:pt x="1403410" y="823026"/>
                    <a:pt x="1400198" y="815959"/>
                    <a:pt x="1391203" y="818529"/>
                  </a:cubicBezTo>
                  <a:cubicBezTo>
                    <a:pt x="1381566" y="821099"/>
                    <a:pt x="1373214" y="820456"/>
                    <a:pt x="1371286" y="826881"/>
                  </a:cubicBezTo>
                  <a:cubicBezTo>
                    <a:pt x="1369359" y="833306"/>
                    <a:pt x="1371928" y="838446"/>
                    <a:pt x="1373214" y="839731"/>
                  </a:cubicBezTo>
                  <a:cubicBezTo>
                    <a:pt x="1373856" y="841016"/>
                    <a:pt x="1376426" y="859006"/>
                    <a:pt x="1373856" y="865431"/>
                  </a:cubicBezTo>
                  <a:cubicBezTo>
                    <a:pt x="1370644" y="871855"/>
                    <a:pt x="1368716" y="902052"/>
                    <a:pt x="1363576" y="908477"/>
                  </a:cubicBezTo>
                  <a:cubicBezTo>
                    <a:pt x="1358436" y="914902"/>
                    <a:pt x="1347514" y="919399"/>
                    <a:pt x="1339162" y="928394"/>
                  </a:cubicBezTo>
                  <a:cubicBezTo>
                    <a:pt x="1330809" y="937389"/>
                    <a:pt x="1318602" y="948311"/>
                    <a:pt x="1312820" y="951524"/>
                  </a:cubicBezTo>
                  <a:cubicBezTo>
                    <a:pt x="1307037" y="954094"/>
                    <a:pt x="1289690" y="950881"/>
                    <a:pt x="1281980" y="952809"/>
                  </a:cubicBezTo>
                  <a:cubicBezTo>
                    <a:pt x="1273628" y="955379"/>
                    <a:pt x="1257566" y="958591"/>
                    <a:pt x="1247286" y="967586"/>
                  </a:cubicBezTo>
                  <a:cubicBezTo>
                    <a:pt x="1236364" y="976581"/>
                    <a:pt x="1237649" y="980436"/>
                    <a:pt x="1229939" y="984291"/>
                  </a:cubicBezTo>
                  <a:cubicBezTo>
                    <a:pt x="1221586" y="988788"/>
                    <a:pt x="1209379" y="991358"/>
                    <a:pt x="1204882" y="994570"/>
                  </a:cubicBezTo>
                  <a:cubicBezTo>
                    <a:pt x="1200384" y="997140"/>
                    <a:pt x="1191389" y="1002280"/>
                    <a:pt x="1183037" y="1012560"/>
                  </a:cubicBezTo>
                  <a:cubicBezTo>
                    <a:pt x="1174685" y="1022840"/>
                    <a:pt x="1165690" y="1031192"/>
                    <a:pt x="1165690" y="1038260"/>
                  </a:cubicBezTo>
                  <a:cubicBezTo>
                    <a:pt x="1166333" y="1045327"/>
                    <a:pt x="1168902" y="1053037"/>
                    <a:pt x="1177255" y="1058819"/>
                  </a:cubicBezTo>
                  <a:cubicBezTo>
                    <a:pt x="1185607" y="1064602"/>
                    <a:pt x="1192032" y="1073596"/>
                    <a:pt x="1205524" y="1085804"/>
                  </a:cubicBezTo>
                  <a:cubicBezTo>
                    <a:pt x="1219659" y="1097368"/>
                    <a:pt x="1222229" y="1093514"/>
                    <a:pt x="1229939" y="1106363"/>
                  </a:cubicBezTo>
                  <a:cubicBezTo>
                    <a:pt x="1237649" y="1119855"/>
                    <a:pt x="1239576" y="1124995"/>
                    <a:pt x="1242788" y="1129493"/>
                  </a:cubicBezTo>
                  <a:cubicBezTo>
                    <a:pt x="1245359" y="1133348"/>
                    <a:pt x="1249213" y="1141700"/>
                    <a:pt x="1247928" y="1148125"/>
                  </a:cubicBezTo>
                  <a:cubicBezTo>
                    <a:pt x="1246643" y="1154550"/>
                    <a:pt x="1241504" y="1164829"/>
                    <a:pt x="1238291" y="1170612"/>
                  </a:cubicBezTo>
                  <a:cubicBezTo>
                    <a:pt x="1235079" y="1176394"/>
                    <a:pt x="1228654" y="1183462"/>
                    <a:pt x="1227369" y="1188602"/>
                  </a:cubicBezTo>
                  <a:cubicBezTo>
                    <a:pt x="1226084" y="1193741"/>
                    <a:pt x="1219017" y="1201451"/>
                    <a:pt x="1226726" y="1202736"/>
                  </a:cubicBezTo>
                  <a:cubicBezTo>
                    <a:pt x="1234436" y="1204021"/>
                    <a:pt x="1249856" y="1204664"/>
                    <a:pt x="1252426" y="1202094"/>
                  </a:cubicBezTo>
                  <a:cubicBezTo>
                    <a:pt x="1254996" y="1198881"/>
                    <a:pt x="1258851" y="1194384"/>
                    <a:pt x="1262706" y="1195669"/>
                  </a:cubicBezTo>
                  <a:cubicBezTo>
                    <a:pt x="1266561" y="1196954"/>
                    <a:pt x="1275555" y="1212374"/>
                    <a:pt x="1280695" y="1219441"/>
                  </a:cubicBezTo>
                  <a:cubicBezTo>
                    <a:pt x="1285193" y="1226508"/>
                    <a:pt x="1287120" y="1227793"/>
                    <a:pt x="1287120" y="1235503"/>
                  </a:cubicBezTo>
                  <a:cubicBezTo>
                    <a:pt x="1287120" y="1243213"/>
                    <a:pt x="1283908" y="1252208"/>
                    <a:pt x="1282623" y="1257990"/>
                  </a:cubicBezTo>
                  <a:cubicBezTo>
                    <a:pt x="1281338" y="1263773"/>
                    <a:pt x="1281338" y="1270198"/>
                    <a:pt x="1281338" y="1272767"/>
                  </a:cubicBezTo>
                  <a:cubicBezTo>
                    <a:pt x="1281338" y="1275337"/>
                    <a:pt x="1275555" y="1280477"/>
                    <a:pt x="1276198" y="1289472"/>
                  </a:cubicBezTo>
                  <a:cubicBezTo>
                    <a:pt x="1276198" y="1298467"/>
                    <a:pt x="1270416" y="1300395"/>
                    <a:pt x="1267846" y="1304892"/>
                  </a:cubicBezTo>
                  <a:cubicBezTo>
                    <a:pt x="1265276" y="1308747"/>
                    <a:pt x="1258208" y="1319669"/>
                    <a:pt x="1253068" y="1316457"/>
                  </a:cubicBezTo>
                  <a:cubicBezTo>
                    <a:pt x="1247286" y="1313244"/>
                    <a:pt x="1243431" y="1308104"/>
                    <a:pt x="1240861" y="1306819"/>
                  </a:cubicBezTo>
                  <a:cubicBezTo>
                    <a:pt x="1238291" y="1305534"/>
                    <a:pt x="1226084" y="1299752"/>
                    <a:pt x="1226084" y="1299752"/>
                  </a:cubicBezTo>
                  <a:cubicBezTo>
                    <a:pt x="1226084" y="1299752"/>
                    <a:pt x="1219659" y="1292042"/>
                    <a:pt x="1211307" y="1287545"/>
                  </a:cubicBezTo>
                  <a:cubicBezTo>
                    <a:pt x="1202954" y="1283047"/>
                    <a:pt x="1193317" y="1281120"/>
                    <a:pt x="1190747" y="1274695"/>
                  </a:cubicBezTo>
                  <a:cubicBezTo>
                    <a:pt x="1188177" y="1268912"/>
                    <a:pt x="1184965" y="1265700"/>
                    <a:pt x="1188177" y="1258633"/>
                  </a:cubicBezTo>
                  <a:cubicBezTo>
                    <a:pt x="1192032" y="1251565"/>
                    <a:pt x="1195887" y="1250923"/>
                    <a:pt x="1195244" y="1245783"/>
                  </a:cubicBezTo>
                  <a:cubicBezTo>
                    <a:pt x="1194602" y="1240643"/>
                    <a:pt x="1189462" y="1233576"/>
                    <a:pt x="1188820" y="1232933"/>
                  </a:cubicBezTo>
                  <a:cubicBezTo>
                    <a:pt x="1188177" y="1232291"/>
                    <a:pt x="1181110" y="1223938"/>
                    <a:pt x="1171473" y="1221368"/>
                  </a:cubicBezTo>
                  <a:cubicBezTo>
                    <a:pt x="1161835" y="1218799"/>
                    <a:pt x="1143203" y="1217513"/>
                    <a:pt x="1141918" y="1219441"/>
                  </a:cubicBezTo>
                  <a:cubicBezTo>
                    <a:pt x="1140633" y="1221368"/>
                    <a:pt x="1128426" y="1227151"/>
                    <a:pt x="1125856" y="1232933"/>
                  </a:cubicBezTo>
                  <a:cubicBezTo>
                    <a:pt x="1123286" y="1239358"/>
                    <a:pt x="1122643" y="1243213"/>
                    <a:pt x="1118146" y="1245140"/>
                  </a:cubicBezTo>
                  <a:cubicBezTo>
                    <a:pt x="1113649" y="1247068"/>
                    <a:pt x="1099514" y="1254135"/>
                    <a:pt x="1097587" y="1250280"/>
                  </a:cubicBezTo>
                  <a:cubicBezTo>
                    <a:pt x="1095659" y="1245783"/>
                    <a:pt x="1093089" y="1242571"/>
                    <a:pt x="1092446" y="1240001"/>
                  </a:cubicBezTo>
                  <a:cubicBezTo>
                    <a:pt x="1091162" y="1237430"/>
                    <a:pt x="1081524" y="1232291"/>
                    <a:pt x="1079597" y="1231648"/>
                  </a:cubicBezTo>
                  <a:cubicBezTo>
                    <a:pt x="1077669" y="1231006"/>
                    <a:pt x="1068032" y="1227151"/>
                    <a:pt x="1064177" y="1231006"/>
                  </a:cubicBezTo>
                  <a:cubicBezTo>
                    <a:pt x="1060322" y="1234218"/>
                    <a:pt x="1062250" y="1236788"/>
                    <a:pt x="1054540" y="1237430"/>
                  </a:cubicBezTo>
                  <a:cubicBezTo>
                    <a:pt x="1046187" y="1237430"/>
                    <a:pt x="1028840" y="1234218"/>
                    <a:pt x="1023700" y="1236146"/>
                  </a:cubicBezTo>
                  <a:cubicBezTo>
                    <a:pt x="1018560" y="1238073"/>
                    <a:pt x="1016633" y="1240001"/>
                    <a:pt x="1014705" y="1241928"/>
                  </a:cubicBezTo>
                  <a:cubicBezTo>
                    <a:pt x="1013421" y="1243855"/>
                    <a:pt x="1008923" y="1244498"/>
                    <a:pt x="1008281" y="1250280"/>
                  </a:cubicBezTo>
                  <a:cubicBezTo>
                    <a:pt x="1006996" y="1256063"/>
                    <a:pt x="1008923" y="1258633"/>
                    <a:pt x="1005711" y="1260560"/>
                  </a:cubicBezTo>
                  <a:cubicBezTo>
                    <a:pt x="1002498" y="1262488"/>
                    <a:pt x="996716" y="1264415"/>
                    <a:pt x="992861" y="1263130"/>
                  </a:cubicBezTo>
                  <a:cubicBezTo>
                    <a:pt x="989648" y="1262488"/>
                    <a:pt x="981939" y="1259918"/>
                    <a:pt x="977441" y="1261203"/>
                  </a:cubicBezTo>
                  <a:cubicBezTo>
                    <a:pt x="972944" y="1262488"/>
                    <a:pt x="926685" y="1259918"/>
                    <a:pt x="924115" y="1260560"/>
                  </a:cubicBezTo>
                  <a:cubicBezTo>
                    <a:pt x="921545" y="1261203"/>
                    <a:pt x="917047" y="1260560"/>
                    <a:pt x="906768" y="1265058"/>
                  </a:cubicBezTo>
                  <a:cubicBezTo>
                    <a:pt x="896488" y="1269555"/>
                    <a:pt x="885566" y="1274052"/>
                    <a:pt x="883638" y="1274052"/>
                  </a:cubicBezTo>
                  <a:cubicBezTo>
                    <a:pt x="881711" y="1274052"/>
                    <a:pt x="870146" y="1270840"/>
                    <a:pt x="862436" y="1273410"/>
                  </a:cubicBezTo>
                  <a:cubicBezTo>
                    <a:pt x="854726" y="1275980"/>
                    <a:pt x="844446" y="1274695"/>
                    <a:pt x="833524" y="1282405"/>
                  </a:cubicBezTo>
                  <a:cubicBezTo>
                    <a:pt x="823244" y="1289472"/>
                    <a:pt x="811680" y="1299752"/>
                    <a:pt x="811680" y="1299752"/>
                  </a:cubicBezTo>
                  <a:cubicBezTo>
                    <a:pt x="811680" y="1299752"/>
                    <a:pt x="802685" y="1308747"/>
                    <a:pt x="798830" y="1309389"/>
                  </a:cubicBezTo>
                  <a:cubicBezTo>
                    <a:pt x="794975" y="1310032"/>
                    <a:pt x="779555" y="1311316"/>
                    <a:pt x="770560" y="1315814"/>
                  </a:cubicBezTo>
                  <a:cubicBezTo>
                    <a:pt x="760923" y="1320311"/>
                    <a:pt x="748716" y="1324809"/>
                    <a:pt x="747431" y="1326736"/>
                  </a:cubicBezTo>
                  <a:cubicBezTo>
                    <a:pt x="746146" y="1328664"/>
                    <a:pt x="746146" y="1331234"/>
                    <a:pt x="739078" y="1336374"/>
                  </a:cubicBezTo>
                  <a:cubicBezTo>
                    <a:pt x="732011" y="1341513"/>
                    <a:pt x="718519" y="1347938"/>
                    <a:pt x="717876" y="1348581"/>
                  </a:cubicBezTo>
                  <a:cubicBezTo>
                    <a:pt x="717234" y="1348581"/>
                    <a:pt x="705027" y="1353721"/>
                    <a:pt x="697959" y="1356291"/>
                  </a:cubicBezTo>
                  <a:cubicBezTo>
                    <a:pt x="690892" y="1358861"/>
                    <a:pt x="684467" y="1361431"/>
                    <a:pt x="672260" y="1363358"/>
                  </a:cubicBezTo>
                  <a:cubicBezTo>
                    <a:pt x="660053" y="1365286"/>
                    <a:pt x="638850" y="1364643"/>
                    <a:pt x="638850" y="1364643"/>
                  </a:cubicBezTo>
                  <a:cubicBezTo>
                    <a:pt x="638850" y="1364643"/>
                    <a:pt x="628571" y="1365928"/>
                    <a:pt x="624716" y="1362715"/>
                  </a:cubicBezTo>
                  <a:cubicBezTo>
                    <a:pt x="620861" y="1359503"/>
                    <a:pt x="614436" y="1353078"/>
                    <a:pt x="611866" y="1343441"/>
                  </a:cubicBezTo>
                  <a:cubicBezTo>
                    <a:pt x="609296" y="1334446"/>
                    <a:pt x="611866" y="1329949"/>
                    <a:pt x="607369" y="1324166"/>
                  </a:cubicBezTo>
                  <a:cubicBezTo>
                    <a:pt x="602871" y="1318384"/>
                    <a:pt x="600301" y="1311959"/>
                    <a:pt x="597089" y="1312602"/>
                  </a:cubicBezTo>
                  <a:cubicBezTo>
                    <a:pt x="593876" y="1313244"/>
                    <a:pt x="584881" y="1315814"/>
                    <a:pt x="583597" y="1313244"/>
                  </a:cubicBezTo>
                  <a:cubicBezTo>
                    <a:pt x="582312" y="1310674"/>
                    <a:pt x="581669" y="1306819"/>
                    <a:pt x="579099" y="1305534"/>
                  </a:cubicBezTo>
                  <a:cubicBezTo>
                    <a:pt x="575887" y="1304249"/>
                    <a:pt x="572032" y="1305534"/>
                    <a:pt x="566249" y="1305534"/>
                  </a:cubicBezTo>
                  <a:cubicBezTo>
                    <a:pt x="560467" y="1305534"/>
                    <a:pt x="550830" y="1304892"/>
                    <a:pt x="546975" y="1304249"/>
                  </a:cubicBezTo>
                  <a:cubicBezTo>
                    <a:pt x="543120" y="1303607"/>
                    <a:pt x="532198" y="1297824"/>
                    <a:pt x="530913" y="1297824"/>
                  </a:cubicBezTo>
                  <a:cubicBezTo>
                    <a:pt x="528985" y="1297824"/>
                    <a:pt x="527700" y="1299109"/>
                    <a:pt x="517420" y="1302322"/>
                  </a:cubicBezTo>
                  <a:cubicBezTo>
                    <a:pt x="507783" y="1305534"/>
                    <a:pt x="494291" y="1310032"/>
                    <a:pt x="487866" y="1307462"/>
                  </a:cubicBezTo>
                  <a:cubicBezTo>
                    <a:pt x="481441" y="1304892"/>
                    <a:pt x="480156" y="1301679"/>
                    <a:pt x="476944" y="1297182"/>
                  </a:cubicBezTo>
                  <a:cubicBezTo>
                    <a:pt x="473089" y="1292042"/>
                    <a:pt x="470519" y="1286260"/>
                    <a:pt x="467949" y="1285617"/>
                  </a:cubicBezTo>
                  <a:cubicBezTo>
                    <a:pt x="465379" y="1285617"/>
                    <a:pt x="460881" y="1284332"/>
                    <a:pt x="458954" y="1289472"/>
                  </a:cubicBezTo>
                  <a:cubicBezTo>
                    <a:pt x="457027" y="1294612"/>
                    <a:pt x="455741" y="1302322"/>
                    <a:pt x="456384" y="1310674"/>
                  </a:cubicBezTo>
                  <a:cubicBezTo>
                    <a:pt x="457027" y="1319026"/>
                    <a:pt x="460239" y="1317741"/>
                    <a:pt x="462809" y="1323524"/>
                  </a:cubicBezTo>
                  <a:cubicBezTo>
                    <a:pt x="466021" y="1329949"/>
                    <a:pt x="469876" y="1344726"/>
                    <a:pt x="462809" y="1357576"/>
                  </a:cubicBezTo>
                  <a:cubicBezTo>
                    <a:pt x="455741" y="1370425"/>
                    <a:pt x="446747" y="1383275"/>
                    <a:pt x="437752" y="1391627"/>
                  </a:cubicBezTo>
                  <a:cubicBezTo>
                    <a:pt x="429400" y="1399337"/>
                    <a:pt x="426187" y="1401265"/>
                    <a:pt x="416550" y="1408332"/>
                  </a:cubicBezTo>
                  <a:cubicBezTo>
                    <a:pt x="406913" y="1415400"/>
                    <a:pt x="381213" y="1423752"/>
                    <a:pt x="378001" y="1424394"/>
                  </a:cubicBezTo>
                  <a:cubicBezTo>
                    <a:pt x="374788" y="1425037"/>
                    <a:pt x="367721" y="1426322"/>
                    <a:pt x="371576" y="1417327"/>
                  </a:cubicBezTo>
                  <a:cubicBezTo>
                    <a:pt x="375431" y="1408332"/>
                    <a:pt x="376073" y="1399337"/>
                    <a:pt x="378643" y="1394840"/>
                  </a:cubicBezTo>
                  <a:cubicBezTo>
                    <a:pt x="381213" y="1389700"/>
                    <a:pt x="385710" y="1387130"/>
                    <a:pt x="385068" y="1381990"/>
                  </a:cubicBezTo>
                  <a:cubicBezTo>
                    <a:pt x="384426" y="1376850"/>
                    <a:pt x="383783" y="1374281"/>
                    <a:pt x="377358" y="1369140"/>
                  </a:cubicBezTo>
                  <a:cubicBezTo>
                    <a:pt x="371576" y="1363358"/>
                    <a:pt x="368363" y="1358861"/>
                    <a:pt x="368363" y="1358861"/>
                  </a:cubicBezTo>
                  <a:cubicBezTo>
                    <a:pt x="368363" y="1358861"/>
                    <a:pt x="354229" y="1349866"/>
                    <a:pt x="350374" y="1345369"/>
                  </a:cubicBezTo>
                  <a:cubicBezTo>
                    <a:pt x="345876" y="1340871"/>
                    <a:pt x="339451" y="1341513"/>
                    <a:pt x="330456" y="1333804"/>
                  </a:cubicBezTo>
                  <a:cubicBezTo>
                    <a:pt x="321462" y="1326094"/>
                    <a:pt x="321462" y="1328021"/>
                    <a:pt x="316964" y="1320311"/>
                  </a:cubicBezTo>
                  <a:cubicBezTo>
                    <a:pt x="312467" y="1312602"/>
                    <a:pt x="307969" y="1308104"/>
                    <a:pt x="304757" y="1305534"/>
                  </a:cubicBezTo>
                  <a:cubicBezTo>
                    <a:pt x="300902" y="1302964"/>
                    <a:pt x="288695" y="1302322"/>
                    <a:pt x="280343" y="1299752"/>
                  </a:cubicBezTo>
                  <a:cubicBezTo>
                    <a:pt x="271990" y="1297182"/>
                    <a:pt x="263638" y="1289472"/>
                    <a:pt x="259141" y="1289472"/>
                  </a:cubicBezTo>
                  <a:cubicBezTo>
                    <a:pt x="254643" y="1289472"/>
                    <a:pt x="246933" y="1289472"/>
                    <a:pt x="243721" y="1294612"/>
                  </a:cubicBezTo>
                  <a:cubicBezTo>
                    <a:pt x="240508" y="1299109"/>
                    <a:pt x="239866" y="1308747"/>
                    <a:pt x="231513" y="1312602"/>
                  </a:cubicBezTo>
                  <a:cubicBezTo>
                    <a:pt x="223161" y="1317099"/>
                    <a:pt x="203244" y="1315814"/>
                    <a:pt x="200674" y="1315814"/>
                  </a:cubicBezTo>
                  <a:cubicBezTo>
                    <a:pt x="200674" y="1315814"/>
                    <a:pt x="200674" y="1315814"/>
                    <a:pt x="200674" y="1315814"/>
                  </a:cubicBezTo>
                  <a:cubicBezTo>
                    <a:pt x="200674" y="1315814"/>
                    <a:pt x="200674" y="1315814"/>
                    <a:pt x="200674" y="1315814"/>
                  </a:cubicBezTo>
                  <a:lnTo>
                    <a:pt x="200674" y="1315814"/>
                  </a:lnTo>
                  <a:cubicBezTo>
                    <a:pt x="200032" y="1315814"/>
                    <a:pt x="198104" y="1315172"/>
                    <a:pt x="190394" y="1313244"/>
                  </a:cubicBezTo>
                  <a:cubicBezTo>
                    <a:pt x="187824" y="1312602"/>
                    <a:pt x="185897" y="1311959"/>
                    <a:pt x="183327" y="1311959"/>
                  </a:cubicBezTo>
                  <a:lnTo>
                    <a:pt x="183327" y="1311959"/>
                  </a:lnTo>
                  <a:cubicBezTo>
                    <a:pt x="180757" y="1288829"/>
                    <a:pt x="210954" y="1282405"/>
                    <a:pt x="224446" y="1270198"/>
                  </a:cubicBezTo>
                  <a:cubicBezTo>
                    <a:pt x="237938" y="1257990"/>
                    <a:pt x="255286" y="1252850"/>
                    <a:pt x="274560" y="1255420"/>
                  </a:cubicBezTo>
                  <a:cubicBezTo>
                    <a:pt x="293192" y="1257990"/>
                    <a:pt x="295762" y="1259275"/>
                    <a:pt x="318249" y="1255420"/>
                  </a:cubicBezTo>
                  <a:cubicBezTo>
                    <a:pt x="341379" y="1250923"/>
                    <a:pt x="352301" y="1245140"/>
                    <a:pt x="356798" y="1234861"/>
                  </a:cubicBezTo>
                  <a:cubicBezTo>
                    <a:pt x="361296" y="1225223"/>
                    <a:pt x="357441" y="1189244"/>
                    <a:pt x="345234" y="1171897"/>
                  </a:cubicBezTo>
                  <a:cubicBezTo>
                    <a:pt x="333027" y="1153907"/>
                    <a:pt x="354229" y="1137845"/>
                    <a:pt x="360011" y="1117928"/>
                  </a:cubicBezTo>
                  <a:cubicBezTo>
                    <a:pt x="365793" y="1098011"/>
                    <a:pt x="361296" y="1076166"/>
                    <a:pt x="357441" y="1053679"/>
                  </a:cubicBezTo>
                  <a:cubicBezTo>
                    <a:pt x="353586" y="1031192"/>
                    <a:pt x="346519" y="1023482"/>
                    <a:pt x="340736" y="999068"/>
                  </a:cubicBezTo>
                  <a:cubicBezTo>
                    <a:pt x="334954" y="975296"/>
                    <a:pt x="321462" y="964374"/>
                    <a:pt x="311182" y="950881"/>
                  </a:cubicBezTo>
                  <a:cubicBezTo>
                    <a:pt x="300902" y="938031"/>
                    <a:pt x="312467" y="927752"/>
                    <a:pt x="316964" y="918757"/>
                  </a:cubicBezTo>
                  <a:cubicBezTo>
                    <a:pt x="321462" y="909120"/>
                    <a:pt x="342021" y="892415"/>
                    <a:pt x="349089" y="891772"/>
                  </a:cubicBezTo>
                  <a:cubicBezTo>
                    <a:pt x="356156" y="891130"/>
                    <a:pt x="350374" y="898840"/>
                    <a:pt x="351016" y="905265"/>
                  </a:cubicBezTo>
                  <a:cubicBezTo>
                    <a:pt x="351659" y="911689"/>
                    <a:pt x="357441" y="911047"/>
                    <a:pt x="368363" y="905265"/>
                  </a:cubicBezTo>
                  <a:cubicBezTo>
                    <a:pt x="379286" y="899482"/>
                    <a:pt x="387638" y="894342"/>
                    <a:pt x="404985" y="880850"/>
                  </a:cubicBezTo>
                  <a:cubicBezTo>
                    <a:pt x="422975" y="867358"/>
                    <a:pt x="410767" y="854508"/>
                    <a:pt x="412695" y="841658"/>
                  </a:cubicBezTo>
                  <a:cubicBezTo>
                    <a:pt x="414622" y="828809"/>
                    <a:pt x="433897" y="815959"/>
                    <a:pt x="439679" y="808892"/>
                  </a:cubicBezTo>
                  <a:cubicBezTo>
                    <a:pt x="445462" y="801824"/>
                    <a:pt x="453172" y="793472"/>
                    <a:pt x="456384" y="776767"/>
                  </a:cubicBezTo>
                  <a:cubicBezTo>
                    <a:pt x="459596" y="760062"/>
                    <a:pt x="451244" y="755565"/>
                    <a:pt x="452529" y="750425"/>
                  </a:cubicBezTo>
                  <a:cubicBezTo>
                    <a:pt x="453814" y="745285"/>
                    <a:pt x="456384" y="717016"/>
                    <a:pt x="456384" y="708663"/>
                  </a:cubicBezTo>
                  <a:cubicBezTo>
                    <a:pt x="456384" y="700311"/>
                    <a:pt x="441607" y="692601"/>
                    <a:pt x="435825" y="679752"/>
                  </a:cubicBezTo>
                  <a:cubicBezTo>
                    <a:pt x="429400" y="666902"/>
                    <a:pt x="416550" y="659835"/>
                    <a:pt x="412695" y="658550"/>
                  </a:cubicBezTo>
                  <a:cubicBezTo>
                    <a:pt x="408197" y="657264"/>
                    <a:pt x="397918" y="652125"/>
                    <a:pt x="393420" y="640560"/>
                  </a:cubicBezTo>
                  <a:cubicBezTo>
                    <a:pt x="388923" y="628353"/>
                    <a:pt x="348446" y="569244"/>
                    <a:pt x="348446" y="569244"/>
                  </a:cubicBezTo>
                  <a:cubicBezTo>
                    <a:pt x="348446" y="569244"/>
                    <a:pt x="339451" y="534550"/>
                    <a:pt x="340094" y="524912"/>
                  </a:cubicBezTo>
                  <a:cubicBezTo>
                    <a:pt x="340736" y="515275"/>
                    <a:pt x="347804" y="507565"/>
                    <a:pt x="351016" y="495358"/>
                  </a:cubicBezTo>
                  <a:cubicBezTo>
                    <a:pt x="354229" y="483151"/>
                    <a:pt x="352944" y="465161"/>
                    <a:pt x="351016" y="454881"/>
                  </a:cubicBezTo>
                  <a:cubicBezTo>
                    <a:pt x="349089" y="444601"/>
                    <a:pt x="340736" y="434321"/>
                    <a:pt x="334311" y="431752"/>
                  </a:cubicBezTo>
                  <a:cubicBezTo>
                    <a:pt x="327887" y="429181"/>
                    <a:pt x="323389" y="437534"/>
                    <a:pt x="323389" y="443316"/>
                  </a:cubicBezTo>
                  <a:cubicBezTo>
                    <a:pt x="323389" y="449099"/>
                    <a:pt x="322104" y="456809"/>
                    <a:pt x="320177" y="467088"/>
                  </a:cubicBezTo>
                  <a:cubicBezTo>
                    <a:pt x="318249" y="476726"/>
                    <a:pt x="297690" y="472228"/>
                    <a:pt x="288695" y="463876"/>
                  </a:cubicBezTo>
                  <a:cubicBezTo>
                    <a:pt x="279057" y="455523"/>
                    <a:pt x="286767" y="434964"/>
                    <a:pt x="286125" y="429824"/>
                  </a:cubicBezTo>
                  <a:cubicBezTo>
                    <a:pt x="284840" y="424684"/>
                    <a:pt x="255928" y="374570"/>
                    <a:pt x="254001" y="368788"/>
                  </a:cubicBezTo>
                  <a:cubicBezTo>
                    <a:pt x="252073" y="363005"/>
                    <a:pt x="244363" y="361720"/>
                    <a:pt x="236011" y="357223"/>
                  </a:cubicBezTo>
                  <a:cubicBezTo>
                    <a:pt x="227659" y="352726"/>
                    <a:pt x="218664" y="359150"/>
                    <a:pt x="212881" y="359150"/>
                  </a:cubicBezTo>
                  <a:cubicBezTo>
                    <a:pt x="207099" y="359150"/>
                    <a:pt x="201959" y="342446"/>
                    <a:pt x="197462" y="337306"/>
                  </a:cubicBezTo>
                  <a:cubicBezTo>
                    <a:pt x="192964" y="332166"/>
                    <a:pt x="172405" y="337948"/>
                    <a:pt x="168550" y="337948"/>
                  </a:cubicBezTo>
                  <a:cubicBezTo>
                    <a:pt x="164695" y="337948"/>
                    <a:pt x="156985" y="340518"/>
                    <a:pt x="148633" y="338591"/>
                  </a:cubicBezTo>
                  <a:cubicBezTo>
                    <a:pt x="140280" y="336663"/>
                    <a:pt x="144135" y="328954"/>
                    <a:pt x="143493" y="328954"/>
                  </a:cubicBezTo>
                  <a:cubicBezTo>
                    <a:pt x="142850" y="328954"/>
                    <a:pt x="136425" y="327026"/>
                    <a:pt x="131928" y="328954"/>
                  </a:cubicBezTo>
                  <a:cubicBezTo>
                    <a:pt x="127431" y="330881"/>
                    <a:pt x="130001" y="336663"/>
                    <a:pt x="128715" y="336021"/>
                  </a:cubicBezTo>
                  <a:cubicBezTo>
                    <a:pt x="126788" y="334736"/>
                    <a:pt x="114581" y="336021"/>
                    <a:pt x="113296" y="336021"/>
                  </a:cubicBezTo>
                  <a:cubicBezTo>
                    <a:pt x="111368" y="336021"/>
                    <a:pt x="95949" y="348228"/>
                    <a:pt x="94664" y="353368"/>
                  </a:cubicBezTo>
                  <a:cubicBezTo>
                    <a:pt x="92736" y="358508"/>
                    <a:pt x="103016" y="361078"/>
                    <a:pt x="111368" y="360435"/>
                  </a:cubicBezTo>
                  <a:cubicBezTo>
                    <a:pt x="119721" y="359793"/>
                    <a:pt x="126146" y="362363"/>
                    <a:pt x="127431" y="363005"/>
                  </a:cubicBezTo>
                  <a:cubicBezTo>
                    <a:pt x="129358" y="363648"/>
                    <a:pt x="132570" y="380995"/>
                    <a:pt x="132570" y="389347"/>
                  </a:cubicBezTo>
                  <a:cubicBezTo>
                    <a:pt x="132570" y="398342"/>
                    <a:pt x="117793" y="403482"/>
                    <a:pt x="112011" y="407337"/>
                  </a:cubicBezTo>
                  <a:cubicBezTo>
                    <a:pt x="106228" y="411192"/>
                    <a:pt x="72819" y="422757"/>
                    <a:pt x="63824" y="422757"/>
                  </a:cubicBezTo>
                  <a:cubicBezTo>
                    <a:pt x="54829" y="422114"/>
                    <a:pt x="45835" y="425969"/>
                    <a:pt x="43265" y="428539"/>
                  </a:cubicBezTo>
                  <a:cubicBezTo>
                    <a:pt x="39410" y="424684"/>
                    <a:pt x="35555" y="420829"/>
                    <a:pt x="34270" y="418259"/>
                  </a:cubicBezTo>
                  <a:cubicBezTo>
                    <a:pt x="29772" y="413119"/>
                    <a:pt x="31700" y="404767"/>
                    <a:pt x="32342" y="397057"/>
                  </a:cubicBezTo>
                  <a:cubicBezTo>
                    <a:pt x="33627" y="389347"/>
                    <a:pt x="39410" y="373928"/>
                    <a:pt x="43265" y="357866"/>
                  </a:cubicBezTo>
                  <a:cubicBezTo>
                    <a:pt x="47120" y="341803"/>
                    <a:pt x="37482" y="337306"/>
                    <a:pt x="28488" y="323171"/>
                  </a:cubicBezTo>
                  <a:cubicBezTo>
                    <a:pt x="18850" y="309036"/>
                    <a:pt x="7285" y="256352"/>
                    <a:pt x="2145" y="236435"/>
                  </a:cubicBezTo>
                  <a:cubicBezTo>
                    <a:pt x="-2994" y="216518"/>
                    <a:pt x="2145" y="204311"/>
                    <a:pt x="6643" y="199171"/>
                  </a:cubicBezTo>
                  <a:cubicBezTo>
                    <a:pt x="11140" y="193389"/>
                    <a:pt x="54829" y="181182"/>
                    <a:pt x="67037" y="178611"/>
                  </a:cubicBezTo>
                  <a:cubicBezTo>
                    <a:pt x="79244" y="176041"/>
                    <a:pt x="98519" y="183109"/>
                    <a:pt x="111368" y="187606"/>
                  </a:cubicBezTo>
                  <a:cubicBezTo>
                    <a:pt x="124861" y="192104"/>
                    <a:pt x="126146" y="197886"/>
                    <a:pt x="138353" y="199171"/>
                  </a:cubicBezTo>
                  <a:cubicBezTo>
                    <a:pt x="151203" y="200456"/>
                    <a:pt x="162125" y="194674"/>
                    <a:pt x="162125" y="192104"/>
                  </a:cubicBezTo>
                  <a:cubicBezTo>
                    <a:pt x="162125" y="189534"/>
                    <a:pt x="158912" y="172187"/>
                    <a:pt x="153130" y="167689"/>
                  </a:cubicBezTo>
                  <a:cubicBezTo>
                    <a:pt x="147348" y="163192"/>
                    <a:pt x="151203" y="148415"/>
                    <a:pt x="153130" y="142632"/>
                  </a:cubicBezTo>
                  <a:cubicBezTo>
                    <a:pt x="155057" y="136850"/>
                    <a:pt x="165980" y="142632"/>
                    <a:pt x="172405" y="141990"/>
                  </a:cubicBezTo>
                  <a:cubicBezTo>
                    <a:pt x="178830" y="141347"/>
                    <a:pt x="187182" y="143275"/>
                    <a:pt x="192964" y="141990"/>
                  </a:cubicBezTo>
                  <a:cubicBezTo>
                    <a:pt x="198747" y="140705"/>
                    <a:pt x="257855" y="76456"/>
                    <a:pt x="261068" y="72601"/>
                  </a:cubicBezTo>
                  <a:cubicBezTo>
                    <a:pt x="264280" y="68104"/>
                    <a:pt x="282270" y="59751"/>
                    <a:pt x="293835" y="53326"/>
                  </a:cubicBezTo>
                  <a:cubicBezTo>
                    <a:pt x="305399" y="46259"/>
                    <a:pt x="311824" y="22487"/>
                    <a:pt x="311824" y="22487"/>
                  </a:cubicBezTo>
                  <a:cubicBezTo>
                    <a:pt x="317607" y="16705"/>
                    <a:pt x="323389" y="10280"/>
                    <a:pt x="328529" y="4497"/>
                  </a:cubicBezTo>
                  <a:cubicBezTo>
                    <a:pt x="329814" y="2570"/>
                    <a:pt x="331742" y="1285"/>
                    <a:pt x="333669" y="643"/>
                  </a:cubicBezTo>
                  <a:cubicBezTo>
                    <a:pt x="335596" y="0"/>
                    <a:pt x="336881" y="0"/>
                    <a:pt x="338809" y="0"/>
                  </a:cubicBezTo>
                  <a:cubicBezTo>
                    <a:pt x="342664" y="0"/>
                    <a:pt x="346519" y="0"/>
                    <a:pt x="349731" y="0"/>
                  </a:cubicBezTo>
                  <a:cubicBezTo>
                    <a:pt x="352944" y="0"/>
                    <a:pt x="356798" y="0"/>
                    <a:pt x="360011" y="1285"/>
                  </a:cubicBezTo>
                  <a:cubicBezTo>
                    <a:pt x="363223" y="2570"/>
                    <a:pt x="366436" y="4497"/>
                    <a:pt x="369648" y="6425"/>
                  </a:cubicBezTo>
                  <a:cubicBezTo>
                    <a:pt x="386353" y="18632"/>
                    <a:pt x="403700" y="30839"/>
                    <a:pt x="417192" y="45617"/>
                  </a:cubicBezTo>
                  <a:cubicBezTo>
                    <a:pt x="436467" y="67461"/>
                    <a:pt x="447389" y="94446"/>
                    <a:pt x="461524" y="120145"/>
                  </a:cubicBezTo>
                  <a:cubicBezTo>
                    <a:pt x="465379" y="126570"/>
                    <a:pt x="469234" y="132995"/>
                    <a:pt x="474374" y="138135"/>
                  </a:cubicBezTo>
                  <a:cubicBezTo>
                    <a:pt x="482726" y="144560"/>
                    <a:pt x="493648" y="147772"/>
                    <a:pt x="503928" y="149057"/>
                  </a:cubicBezTo>
                  <a:cubicBezTo>
                    <a:pt x="509068" y="149699"/>
                    <a:pt x="514850" y="149699"/>
                    <a:pt x="518705" y="145845"/>
                  </a:cubicBezTo>
                  <a:cubicBezTo>
                    <a:pt x="524488" y="139420"/>
                    <a:pt x="516778" y="127855"/>
                    <a:pt x="522560" y="121430"/>
                  </a:cubicBezTo>
                  <a:cubicBezTo>
                    <a:pt x="525130" y="118860"/>
                    <a:pt x="528343" y="118218"/>
                    <a:pt x="530913" y="115648"/>
                  </a:cubicBezTo>
                  <a:cubicBezTo>
                    <a:pt x="534768" y="111793"/>
                    <a:pt x="532840" y="103440"/>
                    <a:pt x="526415" y="102155"/>
                  </a:cubicBezTo>
                  <a:cubicBezTo>
                    <a:pt x="523203" y="101513"/>
                    <a:pt x="519990" y="102155"/>
                    <a:pt x="517420" y="101513"/>
                  </a:cubicBezTo>
                  <a:cubicBezTo>
                    <a:pt x="511638" y="99586"/>
                    <a:pt x="510995" y="91876"/>
                    <a:pt x="513565" y="86093"/>
                  </a:cubicBezTo>
                  <a:cubicBezTo>
                    <a:pt x="519990" y="71316"/>
                    <a:pt x="543120" y="67461"/>
                    <a:pt x="557897" y="65534"/>
                  </a:cubicBezTo>
                  <a:cubicBezTo>
                    <a:pt x="572674" y="63606"/>
                    <a:pt x="588094" y="65534"/>
                    <a:pt x="600944" y="71959"/>
                  </a:cubicBezTo>
                  <a:cubicBezTo>
                    <a:pt x="611866" y="77098"/>
                    <a:pt x="620861" y="86093"/>
                    <a:pt x="626001" y="96373"/>
                  </a:cubicBezTo>
                  <a:cubicBezTo>
                    <a:pt x="629856" y="102798"/>
                    <a:pt x="632426" y="110508"/>
                    <a:pt x="638850" y="114363"/>
                  </a:cubicBezTo>
                  <a:cubicBezTo>
                    <a:pt x="643990" y="117575"/>
                    <a:pt x="651058" y="116933"/>
                    <a:pt x="657483" y="116290"/>
                  </a:cubicBezTo>
                  <a:cubicBezTo>
                    <a:pt x="661980" y="115648"/>
                    <a:pt x="667120" y="115648"/>
                    <a:pt x="670975" y="112435"/>
                  </a:cubicBezTo>
                  <a:cubicBezTo>
                    <a:pt x="674830" y="109865"/>
                    <a:pt x="676757" y="106010"/>
                    <a:pt x="677400" y="101513"/>
                  </a:cubicBezTo>
                  <a:cubicBezTo>
                    <a:pt x="678685" y="95731"/>
                    <a:pt x="679327" y="89948"/>
                    <a:pt x="678042" y="84808"/>
                  </a:cubicBezTo>
                  <a:cubicBezTo>
                    <a:pt x="677400" y="82238"/>
                    <a:pt x="676757" y="79668"/>
                    <a:pt x="676115" y="77098"/>
                  </a:cubicBezTo>
                  <a:cubicBezTo>
                    <a:pt x="675472" y="71316"/>
                    <a:pt x="677400" y="65534"/>
                    <a:pt x="678042" y="59751"/>
                  </a:cubicBezTo>
                  <a:cubicBezTo>
                    <a:pt x="678685" y="53969"/>
                    <a:pt x="677400" y="47544"/>
                    <a:pt x="672902" y="43689"/>
                  </a:cubicBezTo>
                  <a:cubicBezTo>
                    <a:pt x="670332" y="41762"/>
                    <a:pt x="667762" y="41119"/>
                    <a:pt x="665192" y="39192"/>
                  </a:cubicBezTo>
                  <a:cubicBezTo>
                    <a:pt x="662622" y="37264"/>
                    <a:pt x="661337" y="34052"/>
                    <a:pt x="662622" y="31482"/>
                  </a:cubicBezTo>
                  <a:cubicBezTo>
                    <a:pt x="664550" y="28912"/>
                    <a:pt x="668405" y="28912"/>
                    <a:pt x="670332" y="27627"/>
                  </a:cubicBezTo>
                  <a:cubicBezTo>
                    <a:pt x="672902" y="25699"/>
                    <a:pt x="673545" y="21845"/>
                    <a:pt x="675472" y="18632"/>
                  </a:cubicBezTo>
                  <a:cubicBezTo>
                    <a:pt x="678042" y="12850"/>
                    <a:pt x="685110" y="8352"/>
                    <a:pt x="692177" y="8995"/>
                  </a:cubicBezTo>
                  <a:cubicBezTo>
                    <a:pt x="696032" y="8995"/>
                    <a:pt x="699887" y="10280"/>
                    <a:pt x="703099" y="8352"/>
                  </a:cubicBezTo>
                  <a:cubicBezTo>
                    <a:pt x="704384" y="7710"/>
                    <a:pt x="705669" y="6425"/>
                    <a:pt x="706954" y="5782"/>
                  </a:cubicBezTo>
                  <a:cubicBezTo>
                    <a:pt x="708239" y="5140"/>
                    <a:pt x="710167" y="4497"/>
                    <a:pt x="711452" y="4497"/>
                  </a:cubicBezTo>
                  <a:cubicBezTo>
                    <a:pt x="715307" y="3855"/>
                    <a:pt x="719804" y="4497"/>
                    <a:pt x="722374" y="6425"/>
                  </a:cubicBezTo>
                  <a:cubicBezTo>
                    <a:pt x="725586" y="8995"/>
                    <a:pt x="726229" y="13492"/>
                    <a:pt x="723016" y="16062"/>
                  </a:cubicBezTo>
                  <a:cubicBezTo>
                    <a:pt x="722374" y="16705"/>
                    <a:pt x="720446" y="17347"/>
                    <a:pt x="719804" y="17990"/>
                  </a:cubicBezTo>
                  <a:cubicBezTo>
                    <a:pt x="719161" y="18632"/>
                    <a:pt x="719161" y="19917"/>
                    <a:pt x="719161" y="21202"/>
                  </a:cubicBezTo>
                  <a:cubicBezTo>
                    <a:pt x="721089" y="39192"/>
                    <a:pt x="730084" y="53969"/>
                    <a:pt x="745503" y="64249"/>
                  </a:cubicBezTo>
                  <a:cubicBezTo>
                    <a:pt x="754498" y="70674"/>
                    <a:pt x="767990" y="68104"/>
                    <a:pt x="776985" y="64249"/>
                  </a:cubicBezTo>
                  <a:cubicBezTo>
                    <a:pt x="785980" y="60394"/>
                    <a:pt x="792405" y="63606"/>
                    <a:pt x="825814" y="57181"/>
                  </a:cubicBezTo>
                  <a:cubicBezTo>
                    <a:pt x="859224" y="50756"/>
                    <a:pt x="860508" y="46901"/>
                    <a:pt x="860508" y="46901"/>
                  </a:cubicBezTo>
                  <a:cubicBezTo>
                    <a:pt x="863079" y="47544"/>
                    <a:pt x="865649" y="46901"/>
                    <a:pt x="867576" y="46901"/>
                  </a:cubicBezTo>
                  <a:cubicBezTo>
                    <a:pt x="872716" y="46259"/>
                    <a:pt x="878498" y="47544"/>
                    <a:pt x="882996" y="50756"/>
                  </a:cubicBezTo>
                  <a:cubicBezTo>
                    <a:pt x="886851" y="53969"/>
                    <a:pt x="889420" y="59109"/>
                    <a:pt x="888136" y="64249"/>
                  </a:cubicBezTo>
                  <a:cubicBezTo>
                    <a:pt x="887493" y="66819"/>
                    <a:pt x="886208" y="68746"/>
                    <a:pt x="886851" y="71316"/>
                  </a:cubicBezTo>
                  <a:cubicBezTo>
                    <a:pt x="887493" y="74529"/>
                    <a:pt x="891348" y="77098"/>
                    <a:pt x="894560" y="78384"/>
                  </a:cubicBezTo>
                  <a:cubicBezTo>
                    <a:pt x="906768" y="83523"/>
                    <a:pt x="920902" y="83523"/>
                    <a:pt x="931825" y="89306"/>
                  </a:cubicBezTo>
                  <a:cubicBezTo>
                    <a:pt x="931825" y="89948"/>
                    <a:pt x="931825" y="91233"/>
                    <a:pt x="931825" y="92518"/>
                  </a:cubicBezTo>
                  <a:cubicBezTo>
                    <a:pt x="933110" y="100871"/>
                    <a:pt x="933752" y="98943"/>
                    <a:pt x="940177" y="108580"/>
                  </a:cubicBezTo>
                  <a:cubicBezTo>
                    <a:pt x="946602" y="118218"/>
                    <a:pt x="953669" y="132352"/>
                    <a:pt x="956239" y="137492"/>
                  </a:cubicBezTo>
                  <a:cubicBezTo>
                    <a:pt x="958167" y="142632"/>
                    <a:pt x="964592" y="145845"/>
                    <a:pt x="963949" y="149057"/>
                  </a:cubicBezTo>
                  <a:cubicBezTo>
                    <a:pt x="963306" y="152270"/>
                    <a:pt x="958809" y="156124"/>
                    <a:pt x="957524" y="160622"/>
                  </a:cubicBezTo>
                  <a:cubicBezTo>
                    <a:pt x="956239" y="165119"/>
                    <a:pt x="953669" y="166404"/>
                    <a:pt x="960737" y="172829"/>
                  </a:cubicBezTo>
                  <a:cubicBezTo>
                    <a:pt x="967804" y="179254"/>
                    <a:pt x="967804" y="181182"/>
                    <a:pt x="971659" y="183109"/>
                  </a:cubicBezTo>
                  <a:cubicBezTo>
                    <a:pt x="975514" y="185036"/>
                    <a:pt x="974229" y="182466"/>
                    <a:pt x="980654" y="186321"/>
                  </a:cubicBezTo>
                  <a:cubicBezTo>
                    <a:pt x="987079" y="190176"/>
                    <a:pt x="989648" y="189534"/>
                    <a:pt x="992861" y="195316"/>
                  </a:cubicBezTo>
                  <a:cubicBezTo>
                    <a:pt x="995431" y="201098"/>
                    <a:pt x="1002498" y="206881"/>
                    <a:pt x="1005711" y="208808"/>
                  </a:cubicBezTo>
                  <a:cubicBezTo>
                    <a:pt x="1008923" y="210736"/>
                    <a:pt x="1017918" y="212663"/>
                    <a:pt x="1024985" y="215876"/>
                  </a:cubicBezTo>
                  <a:cubicBezTo>
                    <a:pt x="1032053" y="219088"/>
                    <a:pt x="1045545" y="231938"/>
                    <a:pt x="1046187" y="232580"/>
                  </a:cubicBezTo>
                  <a:cubicBezTo>
                    <a:pt x="1046830" y="233223"/>
                    <a:pt x="1055182" y="241575"/>
                    <a:pt x="1058395" y="244788"/>
                  </a:cubicBezTo>
                  <a:cubicBezTo>
                    <a:pt x="1062250" y="248643"/>
                    <a:pt x="1066104" y="246073"/>
                    <a:pt x="1067390" y="254425"/>
                  </a:cubicBezTo>
                  <a:cubicBezTo>
                    <a:pt x="1068675" y="262777"/>
                    <a:pt x="1070602" y="265347"/>
                    <a:pt x="1068032" y="274342"/>
                  </a:cubicBezTo>
                  <a:cubicBezTo>
                    <a:pt x="1065462" y="283337"/>
                    <a:pt x="1063535" y="285264"/>
                    <a:pt x="1060322" y="290404"/>
                  </a:cubicBezTo>
                  <a:cubicBezTo>
                    <a:pt x="1057110" y="295544"/>
                    <a:pt x="1053897" y="302612"/>
                    <a:pt x="1050042" y="310321"/>
                  </a:cubicBezTo>
                  <a:cubicBezTo>
                    <a:pt x="1046187" y="318031"/>
                    <a:pt x="1041047" y="327669"/>
                    <a:pt x="1042333" y="338591"/>
                  </a:cubicBezTo>
                  <a:cubicBezTo>
                    <a:pt x="1043617" y="349513"/>
                    <a:pt x="1054540" y="353368"/>
                    <a:pt x="1057752" y="355938"/>
                  </a:cubicBezTo>
                  <a:cubicBezTo>
                    <a:pt x="1060965" y="358508"/>
                    <a:pt x="1062892" y="364290"/>
                    <a:pt x="1062892" y="364933"/>
                  </a:cubicBezTo>
                  <a:cubicBezTo>
                    <a:pt x="1062892" y="366218"/>
                    <a:pt x="1080882" y="382280"/>
                    <a:pt x="1084094" y="397700"/>
                  </a:cubicBezTo>
                  <a:cubicBezTo>
                    <a:pt x="1087307" y="413119"/>
                    <a:pt x="1077027" y="404124"/>
                    <a:pt x="1087307" y="421472"/>
                  </a:cubicBezTo>
                  <a:cubicBezTo>
                    <a:pt x="1097587" y="438819"/>
                    <a:pt x="1096944" y="442674"/>
                    <a:pt x="1106581" y="454239"/>
                  </a:cubicBezTo>
                  <a:cubicBezTo>
                    <a:pt x="1116219" y="465803"/>
                    <a:pt x="1135493" y="485720"/>
                    <a:pt x="1135493" y="485720"/>
                  </a:cubicBezTo>
                  <a:cubicBezTo>
                    <a:pt x="1135493" y="485720"/>
                    <a:pt x="1147700" y="487648"/>
                    <a:pt x="1153483" y="494073"/>
                  </a:cubicBezTo>
                  <a:cubicBezTo>
                    <a:pt x="1159265" y="500498"/>
                    <a:pt x="1166333" y="504353"/>
                    <a:pt x="1170187" y="503067"/>
                  </a:cubicBezTo>
                  <a:cubicBezTo>
                    <a:pt x="1174042" y="501783"/>
                    <a:pt x="1177255" y="497285"/>
                    <a:pt x="1182395" y="495358"/>
                  </a:cubicBezTo>
                  <a:cubicBezTo>
                    <a:pt x="1186892" y="493430"/>
                    <a:pt x="1192675" y="490860"/>
                    <a:pt x="1200384" y="494073"/>
                  </a:cubicBezTo>
                  <a:cubicBezTo>
                    <a:pt x="1207452" y="497285"/>
                    <a:pt x="1212592" y="506280"/>
                    <a:pt x="1215804" y="511420"/>
                  </a:cubicBezTo>
                  <a:cubicBezTo>
                    <a:pt x="1219659" y="516560"/>
                    <a:pt x="1237649" y="522342"/>
                    <a:pt x="1248571" y="539689"/>
                  </a:cubicBezTo>
                  <a:cubicBezTo>
                    <a:pt x="1258851" y="557679"/>
                    <a:pt x="1263991" y="562819"/>
                    <a:pt x="1271700" y="569886"/>
                  </a:cubicBezTo>
                  <a:cubicBezTo>
                    <a:pt x="1279410" y="576954"/>
                    <a:pt x="1305752" y="590446"/>
                    <a:pt x="1308322" y="593016"/>
                  </a:cubicBezTo>
                  <a:cubicBezTo>
                    <a:pt x="1310892" y="596228"/>
                    <a:pt x="1326954" y="605223"/>
                    <a:pt x="1326954" y="605223"/>
                  </a:cubicBezTo>
                  <a:cubicBezTo>
                    <a:pt x="1326954" y="605223"/>
                    <a:pt x="1334022" y="612933"/>
                    <a:pt x="1341089" y="623213"/>
                  </a:cubicBezTo>
                  <a:cubicBezTo>
                    <a:pt x="1348157" y="633493"/>
                    <a:pt x="1344944" y="639917"/>
                    <a:pt x="1359721" y="641845"/>
                  </a:cubicBezTo>
                  <a:cubicBezTo>
                    <a:pt x="1374498" y="644415"/>
                    <a:pt x="1390561" y="645700"/>
                    <a:pt x="1398270" y="645700"/>
                  </a:cubicBezTo>
                  <a:cubicBezTo>
                    <a:pt x="1406623" y="645700"/>
                    <a:pt x="1411120" y="654695"/>
                    <a:pt x="1413048" y="658550"/>
                  </a:cubicBezTo>
                  <a:cubicBezTo>
                    <a:pt x="1414975" y="662404"/>
                    <a:pt x="1422043" y="673969"/>
                    <a:pt x="1429110" y="679752"/>
                  </a:cubicBezTo>
                  <a:cubicBezTo>
                    <a:pt x="1435535" y="685534"/>
                    <a:pt x="1448384" y="684892"/>
                    <a:pt x="1452882" y="686819"/>
                  </a:cubicBezTo>
                  <a:cubicBezTo>
                    <a:pt x="1457379" y="688746"/>
                    <a:pt x="1461234" y="693886"/>
                    <a:pt x="1462519" y="696456"/>
                  </a:cubicBezTo>
                  <a:cubicBezTo>
                    <a:pt x="1463804" y="699026"/>
                    <a:pt x="1472799" y="715088"/>
                    <a:pt x="1478581" y="722156"/>
                  </a:cubicBezTo>
                  <a:cubicBezTo>
                    <a:pt x="1482436" y="729866"/>
                    <a:pt x="1490146" y="734363"/>
                    <a:pt x="1486934" y="738860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8" name="Freihandform 447">
              <a:extLst>
                <a:ext uri="{FF2B5EF4-FFF2-40B4-BE49-F238E27FC236}">
                  <a16:creationId xmlns:a16="http://schemas.microsoft.com/office/drawing/2014/main" id="{B393A345-2F18-1E56-9E66-09E9D0C6F8D7}"/>
                </a:ext>
              </a:extLst>
            </p:cNvPr>
            <p:cNvSpPr/>
            <p:nvPr/>
          </p:nvSpPr>
          <p:spPr>
            <a:xfrm>
              <a:off x="2661704" y="4164662"/>
              <a:ext cx="1487698" cy="1424851"/>
            </a:xfrm>
            <a:custGeom>
              <a:avLst/>
              <a:gdLst>
                <a:gd name="connsiteX0" fmla="*/ 1486934 w 1487698"/>
                <a:gd name="connsiteY0" fmla="*/ 738860 h 1424851"/>
                <a:gd name="connsiteX1" fmla="*/ 1479224 w 1487698"/>
                <a:gd name="connsiteY1" fmla="*/ 753638 h 1424851"/>
                <a:gd name="connsiteX2" fmla="*/ 1483079 w 1487698"/>
                <a:gd name="connsiteY2" fmla="*/ 769057 h 1424851"/>
                <a:gd name="connsiteX3" fmla="*/ 1481794 w 1487698"/>
                <a:gd name="connsiteY3" fmla="*/ 792829 h 1424851"/>
                <a:gd name="connsiteX4" fmla="*/ 1474084 w 1487698"/>
                <a:gd name="connsiteY4" fmla="*/ 821099 h 1424851"/>
                <a:gd name="connsiteX5" fmla="*/ 1464447 w 1487698"/>
                <a:gd name="connsiteY5" fmla="*/ 835876 h 1424851"/>
                <a:gd name="connsiteX6" fmla="*/ 1451597 w 1487698"/>
                <a:gd name="connsiteY6" fmla="*/ 842943 h 1424851"/>
                <a:gd name="connsiteX7" fmla="*/ 1434892 w 1487698"/>
                <a:gd name="connsiteY7" fmla="*/ 834591 h 1424851"/>
                <a:gd name="connsiteX8" fmla="*/ 1423327 w 1487698"/>
                <a:gd name="connsiteY8" fmla="*/ 826881 h 1424851"/>
                <a:gd name="connsiteX9" fmla="*/ 1403410 w 1487698"/>
                <a:gd name="connsiteY9" fmla="*/ 823026 h 1424851"/>
                <a:gd name="connsiteX10" fmla="*/ 1391203 w 1487698"/>
                <a:gd name="connsiteY10" fmla="*/ 818529 h 1424851"/>
                <a:gd name="connsiteX11" fmla="*/ 1371286 w 1487698"/>
                <a:gd name="connsiteY11" fmla="*/ 826881 h 1424851"/>
                <a:gd name="connsiteX12" fmla="*/ 1373214 w 1487698"/>
                <a:gd name="connsiteY12" fmla="*/ 839731 h 1424851"/>
                <a:gd name="connsiteX13" fmla="*/ 1373856 w 1487698"/>
                <a:gd name="connsiteY13" fmla="*/ 865431 h 1424851"/>
                <a:gd name="connsiteX14" fmla="*/ 1363576 w 1487698"/>
                <a:gd name="connsiteY14" fmla="*/ 908477 h 1424851"/>
                <a:gd name="connsiteX15" fmla="*/ 1339162 w 1487698"/>
                <a:gd name="connsiteY15" fmla="*/ 928394 h 1424851"/>
                <a:gd name="connsiteX16" fmla="*/ 1312820 w 1487698"/>
                <a:gd name="connsiteY16" fmla="*/ 951524 h 1424851"/>
                <a:gd name="connsiteX17" fmla="*/ 1281980 w 1487698"/>
                <a:gd name="connsiteY17" fmla="*/ 952809 h 1424851"/>
                <a:gd name="connsiteX18" fmla="*/ 1247286 w 1487698"/>
                <a:gd name="connsiteY18" fmla="*/ 967586 h 1424851"/>
                <a:gd name="connsiteX19" fmla="*/ 1229939 w 1487698"/>
                <a:gd name="connsiteY19" fmla="*/ 984291 h 1424851"/>
                <a:gd name="connsiteX20" fmla="*/ 1204882 w 1487698"/>
                <a:gd name="connsiteY20" fmla="*/ 994570 h 1424851"/>
                <a:gd name="connsiteX21" fmla="*/ 1183037 w 1487698"/>
                <a:gd name="connsiteY21" fmla="*/ 1012560 h 1424851"/>
                <a:gd name="connsiteX22" fmla="*/ 1165690 w 1487698"/>
                <a:gd name="connsiteY22" fmla="*/ 1038260 h 1424851"/>
                <a:gd name="connsiteX23" fmla="*/ 1177255 w 1487698"/>
                <a:gd name="connsiteY23" fmla="*/ 1058819 h 1424851"/>
                <a:gd name="connsiteX24" fmla="*/ 1205524 w 1487698"/>
                <a:gd name="connsiteY24" fmla="*/ 1085804 h 1424851"/>
                <a:gd name="connsiteX25" fmla="*/ 1229939 w 1487698"/>
                <a:gd name="connsiteY25" fmla="*/ 1106363 h 1424851"/>
                <a:gd name="connsiteX26" fmla="*/ 1242788 w 1487698"/>
                <a:gd name="connsiteY26" fmla="*/ 1129493 h 1424851"/>
                <a:gd name="connsiteX27" fmla="*/ 1247928 w 1487698"/>
                <a:gd name="connsiteY27" fmla="*/ 1148125 h 1424851"/>
                <a:gd name="connsiteX28" fmla="*/ 1238291 w 1487698"/>
                <a:gd name="connsiteY28" fmla="*/ 1170612 h 1424851"/>
                <a:gd name="connsiteX29" fmla="*/ 1227369 w 1487698"/>
                <a:gd name="connsiteY29" fmla="*/ 1188602 h 1424851"/>
                <a:gd name="connsiteX30" fmla="*/ 1226726 w 1487698"/>
                <a:gd name="connsiteY30" fmla="*/ 1202736 h 1424851"/>
                <a:gd name="connsiteX31" fmla="*/ 1252426 w 1487698"/>
                <a:gd name="connsiteY31" fmla="*/ 1202094 h 1424851"/>
                <a:gd name="connsiteX32" fmla="*/ 1262706 w 1487698"/>
                <a:gd name="connsiteY32" fmla="*/ 1195669 h 1424851"/>
                <a:gd name="connsiteX33" fmla="*/ 1280695 w 1487698"/>
                <a:gd name="connsiteY33" fmla="*/ 1219441 h 1424851"/>
                <a:gd name="connsiteX34" fmla="*/ 1287120 w 1487698"/>
                <a:gd name="connsiteY34" fmla="*/ 1235503 h 1424851"/>
                <a:gd name="connsiteX35" fmla="*/ 1282623 w 1487698"/>
                <a:gd name="connsiteY35" fmla="*/ 1257990 h 1424851"/>
                <a:gd name="connsiteX36" fmla="*/ 1281338 w 1487698"/>
                <a:gd name="connsiteY36" fmla="*/ 1272767 h 1424851"/>
                <a:gd name="connsiteX37" fmla="*/ 1276198 w 1487698"/>
                <a:gd name="connsiteY37" fmla="*/ 1289472 h 1424851"/>
                <a:gd name="connsiteX38" fmla="*/ 1267846 w 1487698"/>
                <a:gd name="connsiteY38" fmla="*/ 1304892 h 1424851"/>
                <a:gd name="connsiteX39" fmla="*/ 1253068 w 1487698"/>
                <a:gd name="connsiteY39" fmla="*/ 1316457 h 1424851"/>
                <a:gd name="connsiteX40" fmla="*/ 1240861 w 1487698"/>
                <a:gd name="connsiteY40" fmla="*/ 1306819 h 1424851"/>
                <a:gd name="connsiteX41" fmla="*/ 1226084 w 1487698"/>
                <a:gd name="connsiteY41" fmla="*/ 1299752 h 1424851"/>
                <a:gd name="connsiteX42" fmla="*/ 1211307 w 1487698"/>
                <a:gd name="connsiteY42" fmla="*/ 1287545 h 1424851"/>
                <a:gd name="connsiteX43" fmla="*/ 1190747 w 1487698"/>
                <a:gd name="connsiteY43" fmla="*/ 1274695 h 1424851"/>
                <a:gd name="connsiteX44" fmla="*/ 1188177 w 1487698"/>
                <a:gd name="connsiteY44" fmla="*/ 1258633 h 1424851"/>
                <a:gd name="connsiteX45" fmla="*/ 1195244 w 1487698"/>
                <a:gd name="connsiteY45" fmla="*/ 1245783 h 1424851"/>
                <a:gd name="connsiteX46" fmla="*/ 1188820 w 1487698"/>
                <a:gd name="connsiteY46" fmla="*/ 1232933 h 1424851"/>
                <a:gd name="connsiteX47" fmla="*/ 1171473 w 1487698"/>
                <a:gd name="connsiteY47" fmla="*/ 1221368 h 1424851"/>
                <a:gd name="connsiteX48" fmla="*/ 1141918 w 1487698"/>
                <a:gd name="connsiteY48" fmla="*/ 1219441 h 1424851"/>
                <a:gd name="connsiteX49" fmla="*/ 1125856 w 1487698"/>
                <a:gd name="connsiteY49" fmla="*/ 1232933 h 1424851"/>
                <a:gd name="connsiteX50" fmla="*/ 1118146 w 1487698"/>
                <a:gd name="connsiteY50" fmla="*/ 1245140 h 1424851"/>
                <a:gd name="connsiteX51" fmla="*/ 1097587 w 1487698"/>
                <a:gd name="connsiteY51" fmla="*/ 1250280 h 1424851"/>
                <a:gd name="connsiteX52" fmla="*/ 1092446 w 1487698"/>
                <a:gd name="connsiteY52" fmla="*/ 1240001 h 1424851"/>
                <a:gd name="connsiteX53" fmla="*/ 1079597 w 1487698"/>
                <a:gd name="connsiteY53" fmla="*/ 1231648 h 1424851"/>
                <a:gd name="connsiteX54" fmla="*/ 1064177 w 1487698"/>
                <a:gd name="connsiteY54" fmla="*/ 1231006 h 1424851"/>
                <a:gd name="connsiteX55" fmla="*/ 1054540 w 1487698"/>
                <a:gd name="connsiteY55" fmla="*/ 1237430 h 1424851"/>
                <a:gd name="connsiteX56" fmla="*/ 1023700 w 1487698"/>
                <a:gd name="connsiteY56" fmla="*/ 1236146 h 1424851"/>
                <a:gd name="connsiteX57" fmla="*/ 1014705 w 1487698"/>
                <a:gd name="connsiteY57" fmla="*/ 1241928 h 1424851"/>
                <a:gd name="connsiteX58" fmla="*/ 1008281 w 1487698"/>
                <a:gd name="connsiteY58" fmla="*/ 1250280 h 1424851"/>
                <a:gd name="connsiteX59" fmla="*/ 1005711 w 1487698"/>
                <a:gd name="connsiteY59" fmla="*/ 1260560 h 1424851"/>
                <a:gd name="connsiteX60" fmla="*/ 992861 w 1487698"/>
                <a:gd name="connsiteY60" fmla="*/ 1263130 h 1424851"/>
                <a:gd name="connsiteX61" fmla="*/ 977441 w 1487698"/>
                <a:gd name="connsiteY61" fmla="*/ 1261203 h 1424851"/>
                <a:gd name="connsiteX62" fmla="*/ 924115 w 1487698"/>
                <a:gd name="connsiteY62" fmla="*/ 1260560 h 1424851"/>
                <a:gd name="connsiteX63" fmla="*/ 906768 w 1487698"/>
                <a:gd name="connsiteY63" fmla="*/ 1265058 h 1424851"/>
                <a:gd name="connsiteX64" fmla="*/ 883638 w 1487698"/>
                <a:gd name="connsiteY64" fmla="*/ 1274052 h 1424851"/>
                <a:gd name="connsiteX65" fmla="*/ 862436 w 1487698"/>
                <a:gd name="connsiteY65" fmla="*/ 1273410 h 1424851"/>
                <a:gd name="connsiteX66" fmla="*/ 833524 w 1487698"/>
                <a:gd name="connsiteY66" fmla="*/ 1282405 h 1424851"/>
                <a:gd name="connsiteX67" fmla="*/ 811680 w 1487698"/>
                <a:gd name="connsiteY67" fmla="*/ 1299752 h 1424851"/>
                <a:gd name="connsiteX68" fmla="*/ 798830 w 1487698"/>
                <a:gd name="connsiteY68" fmla="*/ 1309389 h 1424851"/>
                <a:gd name="connsiteX69" fmla="*/ 770560 w 1487698"/>
                <a:gd name="connsiteY69" fmla="*/ 1315814 h 1424851"/>
                <a:gd name="connsiteX70" fmla="*/ 747431 w 1487698"/>
                <a:gd name="connsiteY70" fmla="*/ 1326736 h 1424851"/>
                <a:gd name="connsiteX71" fmla="*/ 739078 w 1487698"/>
                <a:gd name="connsiteY71" fmla="*/ 1336374 h 1424851"/>
                <a:gd name="connsiteX72" fmla="*/ 717876 w 1487698"/>
                <a:gd name="connsiteY72" fmla="*/ 1348581 h 1424851"/>
                <a:gd name="connsiteX73" fmla="*/ 697959 w 1487698"/>
                <a:gd name="connsiteY73" fmla="*/ 1356291 h 1424851"/>
                <a:gd name="connsiteX74" fmla="*/ 672260 w 1487698"/>
                <a:gd name="connsiteY74" fmla="*/ 1363358 h 1424851"/>
                <a:gd name="connsiteX75" fmla="*/ 638850 w 1487698"/>
                <a:gd name="connsiteY75" fmla="*/ 1364643 h 1424851"/>
                <a:gd name="connsiteX76" fmla="*/ 624716 w 1487698"/>
                <a:gd name="connsiteY76" fmla="*/ 1362715 h 1424851"/>
                <a:gd name="connsiteX77" fmla="*/ 611866 w 1487698"/>
                <a:gd name="connsiteY77" fmla="*/ 1343441 h 1424851"/>
                <a:gd name="connsiteX78" fmla="*/ 607369 w 1487698"/>
                <a:gd name="connsiteY78" fmla="*/ 1324166 h 1424851"/>
                <a:gd name="connsiteX79" fmla="*/ 597089 w 1487698"/>
                <a:gd name="connsiteY79" fmla="*/ 1312602 h 1424851"/>
                <a:gd name="connsiteX80" fmla="*/ 583597 w 1487698"/>
                <a:gd name="connsiteY80" fmla="*/ 1313244 h 1424851"/>
                <a:gd name="connsiteX81" fmla="*/ 579099 w 1487698"/>
                <a:gd name="connsiteY81" fmla="*/ 1305534 h 1424851"/>
                <a:gd name="connsiteX82" fmla="*/ 566249 w 1487698"/>
                <a:gd name="connsiteY82" fmla="*/ 1305534 h 1424851"/>
                <a:gd name="connsiteX83" fmla="*/ 546975 w 1487698"/>
                <a:gd name="connsiteY83" fmla="*/ 1304249 h 1424851"/>
                <a:gd name="connsiteX84" fmla="*/ 530913 w 1487698"/>
                <a:gd name="connsiteY84" fmla="*/ 1297824 h 1424851"/>
                <a:gd name="connsiteX85" fmla="*/ 517420 w 1487698"/>
                <a:gd name="connsiteY85" fmla="*/ 1302322 h 1424851"/>
                <a:gd name="connsiteX86" fmla="*/ 487866 w 1487698"/>
                <a:gd name="connsiteY86" fmla="*/ 1307462 h 1424851"/>
                <a:gd name="connsiteX87" fmla="*/ 476944 w 1487698"/>
                <a:gd name="connsiteY87" fmla="*/ 1297182 h 1424851"/>
                <a:gd name="connsiteX88" fmla="*/ 467949 w 1487698"/>
                <a:gd name="connsiteY88" fmla="*/ 1285617 h 1424851"/>
                <a:gd name="connsiteX89" fmla="*/ 458954 w 1487698"/>
                <a:gd name="connsiteY89" fmla="*/ 1289472 h 1424851"/>
                <a:gd name="connsiteX90" fmla="*/ 456384 w 1487698"/>
                <a:gd name="connsiteY90" fmla="*/ 1310674 h 1424851"/>
                <a:gd name="connsiteX91" fmla="*/ 462809 w 1487698"/>
                <a:gd name="connsiteY91" fmla="*/ 1323524 h 1424851"/>
                <a:gd name="connsiteX92" fmla="*/ 462809 w 1487698"/>
                <a:gd name="connsiteY92" fmla="*/ 1357576 h 1424851"/>
                <a:gd name="connsiteX93" fmla="*/ 437752 w 1487698"/>
                <a:gd name="connsiteY93" fmla="*/ 1391627 h 1424851"/>
                <a:gd name="connsiteX94" fmla="*/ 416550 w 1487698"/>
                <a:gd name="connsiteY94" fmla="*/ 1408332 h 1424851"/>
                <a:gd name="connsiteX95" fmla="*/ 378001 w 1487698"/>
                <a:gd name="connsiteY95" fmla="*/ 1424394 h 1424851"/>
                <a:gd name="connsiteX96" fmla="*/ 371576 w 1487698"/>
                <a:gd name="connsiteY96" fmla="*/ 1417327 h 1424851"/>
                <a:gd name="connsiteX97" fmla="*/ 378643 w 1487698"/>
                <a:gd name="connsiteY97" fmla="*/ 1394840 h 1424851"/>
                <a:gd name="connsiteX98" fmla="*/ 385068 w 1487698"/>
                <a:gd name="connsiteY98" fmla="*/ 1381990 h 1424851"/>
                <a:gd name="connsiteX99" fmla="*/ 377358 w 1487698"/>
                <a:gd name="connsiteY99" fmla="*/ 1369140 h 1424851"/>
                <a:gd name="connsiteX100" fmla="*/ 368363 w 1487698"/>
                <a:gd name="connsiteY100" fmla="*/ 1358861 h 1424851"/>
                <a:gd name="connsiteX101" fmla="*/ 350374 w 1487698"/>
                <a:gd name="connsiteY101" fmla="*/ 1345369 h 1424851"/>
                <a:gd name="connsiteX102" fmla="*/ 330456 w 1487698"/>
                <a:gd name="connsiteY102" fmla="*/ 1333804 h 1424851"/>
                <a:gd name="connsiteX103" fmla="*/ 316964 w 1487698"/>
                <a:gd name="connsiteY103" fmla="*/ 1320311 h 1424851"/>
                <a:gd name="connsiteX104" fmla="*/ 304757 w 1487698"/>
                <a:gd name="connsiteY104" fmla="*/ 1305534 h 1424851"/>
                <a:gd name="connsiteX105" fmla="*/ 280343 w 1487698"/>
                <a:gd name="connsiteY105" fmla="*/ 1299752 h 1424851"/>
                <a:gd name="connsiteX106" fmla="*/ 259141 w 1487698"/>
                <a:gd name="connsiteY106" fmla="*/ 1289472 h 1424851"/>
                <a:gd name="connsiteX107" fmla="*/ 243721 w 1487698"/>
                <a:gd name="connsiteY107" fmla="*/ 1294612 h 1424851"/>
                <a:gd name="connsiteX108" fmla="*/ 231513 w 1487698"/>
                <a:gd name="connsiteY108" fmla="*/ 1312602 h 1424851"/>
                <a:gd name="connsiteX109" fmla="*/ 200674 w 1487698"/>
                <a:gd name="connsiteY109" fmla="*/ 1315814 h 1424851"/>
                <a:gd name="connsiteX110" fmla="*/ 200674 w 1487698"/>
                <a:gd name="connsiteY110" fmla="*/ 1315814 h 1424851"/>
                <a:gd name="connsiteX111" fmla="*/ 200674 w 1487698"/>
                <a:gd name="connsiteY111" fmla="*/ 1315814 h 1424851"/>
                <a:gd name="connsiteX112" fmla="*/ 200674 w 1487698"/>
                <a:gd name="connsiteY112" fmla="*/ 1315814 h 1424851"/>
                <a:gd name="connsiteX113" fmla="*/ 190394 w 1487698"/>
                <a:gd name="connsiteY113" fmla="*/ 1313244 h 1424851"/>
                <a:gd name="connsiteX114" fmla="*/ 183327 w 1487698"/>
                <a:gd name="connsiteY114" fmla="*/ 1311959 h 1424851"/>
                <a:gd name="connsiteX115" fmla="*/ 183327 w 1487698"/>
                <a:gd name="connsiteY115" fmla="*/ 1311959 h 1424851"/>
                <a:gd name="connsiteX116" fmla="*/ 224446 w 1487698"/>
                <a:gd name="connsiteY116" fmla="*/ 1270198 h 1424851"/>
                <a:gd name="connsiteX117" fmla="*/ 274560 w 1487698"/>
                <a:gd name="connsiteY117" fmla="*/ 1255420 h 1424851"/>
                <a:gd name="connsiteX118" fmla="*/ 318249 w 1487698"/>
                <a:gd name="connsiteY118" fmla="*/ 1255420 h 1424851"/>
                <a:gd name="connsiteX119" fmla="*/ 356798 w 1487698"/>
                <a:gd name="connsiteY119" fmla="*/ 1234861 h 1424851"/>
                <a:gd name="connsiteX120" fmla="*/ 345234 w 1487698"/>
                <a:gd name="connsiteY120" fmla="*/ 1171897 h 1424851"/>
                <a:gd name="connsiteX121" fmla="*/ 360011 w 1487698"/>
                <a:gd name="connsiteY121" fmla="*/ 1117928 h 1424851"/>
                <a:gd name="connsiteX122" fmla="*/ 357441 w 1487698"/>
                <a:gd name="connsiteY122" fmla="*/ 1053679 h 1424851"/>
                <a:gd name="connsiteX123" fmla="*/ 340736 w 1487698"/>
                <a:gd name="connsiteY123" fmla="*/ 999068 h 1424851"/>
                <a:gd name="connsiteX124" fmla="*/ 311182 w 1487698"/>
                <a:gd name="connsiteY124" fmla="*/ 950881 h 1424851"/>
                <a:gd name="connsiteX125" fmla="*/ 316964 w 1487698"/>
                <a:gd name="connsiteY125" fmla="*/ 918757 h 1424851"/>
                <a:gd name="connsiteX126" fmla="*/ 349089 w 1487698"/>
                <a:gd name="connsiteY126" fmla="*/ 891772 h 1424851"/>
                <a:gd name="connsiteX127" fmla="*/ 351016 w 1487698"/>
                <a:gd name="connsiteY127" fmla="*/ 905265 h 1424851"/>
                <a:gd name="connsiteX128" fmla="*/ 368363 w 1487698"/>
                <a:gd name="connsiteY128" fmla="*/ 905265 h 1424851"/>
                <a:gd name="connsiteX129" fmla="*/ 404985 w 1487698"/>
                <a:gd name="connsiteY129" fmla="*/ 880850 h 1424851"/>
                <a:gd name="connsiteX130" fmla="*/ 412695 w 1487698"/>
                <a:gd name="connsiteY130" fmla="*/ 841658 h 1424851"/>
                <a:gd name="connsiteX131" fmla="*/ 439679 w 1487698"/>
                <a:gd name="connsiteY131" fmla="*/ 808892 h 1424851"/>
                <a:gd name="connsiteX132" fmla="*/ 456384 w 1487698"/>
                <a:gd name="connsiteY132" fmla="*/ 776767 h 1424851"/>
                <a:gd name="connsiteX133" fmla="*/ 452529 w 1487698"/>
                <a:gd name="connsiteY133" fmla="*/ 750425 h 1424851"/>
                <a:gd name="connsiteX134" fmla="*/ 456384 w 1487698"/>
                <a:gd name="connsiteY134" fmla="*/ 708663 h 1424851"/>
                <a:gd name="connsiteX135" fmla="*/ 435825 w 1487698"/>
                <a:gd name="connsiteY135" fmla="*/ 679752 h 1424851"/>
                <a:gd name="connsiteX136" fmla="*/ 412695 w 1487698"/>
                <a:gd name="connsiteY136" fmla="*/ 658550 h 1424851"/>
                <a:gd name="connsiteX137" fmla="*/ 393420 w 1487698"/>
                <a:gd name="connsiteY137" fmla="*/ 640560 h 1424851"/>
                <a:gd name="connsiteX138" fmla="*/ 348446 w 1487698"/>
                <a:gd name="connsiteY138" fmla="*/ 569244 h 1424851"/>
                <a:gd name="connsiteX139" fmla="*/ 340094 w 1487698"/>
                <a:gd name="connsiteY139" fmla="*/ 524912 h 1424851"/>
                <a:gd name="connsiteX140" fmla="*/ 351016 w 1487698"/>
                <a:gd name="connsiteY140" fmla="*/ 495358 h 1424851"/>
                <a:gd name="connsiteX141" fmla="*/ 351016 w 1487698"/>
                <a:gd name="connsiteY141" fmla="*/ 454881 h 1424851"/>
                <a:gd name="connsiteX142" fmla="*/ 334311 w 1487698"/>
                <a:gd name="connsiteY142" fmla="*/ 431752 h 1424851"/>
                <a:gd name="connsiteX143" fmla="*/ 323389 w 1487698"/>
                <a:gd name="connsiteY143" fmla="*/ 443316 h 1424851"/>
                <a:gd name="connsiteX144" fmla="*/ 320177 w 1487698"/>
                <a:gd name="connsiteY144" fmla="*/ 467088 h 1424851"/>
                <a:gd name="connsiteX145" fmla="*/ 288695 w 1487698"/>
                <a:gd name="connsiteY145" fmla="*/ 463876 h 1424851"/>
                <a:gd name="connsiteX146" fmla="*/ 286125 w 1487698"/>
                <a:gd name="connsiteY146" fmla="*/ 429824 h 1424851"/>
                <a:gd name="connsiteX147" fmla="*/ 254001 w 1487698"/>
                <a:gd name="connsiteY147" fmla="*/ 368788 h 1424851"/>
                <a:gd name="connsiteX148" fmla="*/ 236011 w 1487698"/>
                <a:gd name="connsiteY148" fmla="*/ 357223 h 1424851"/>
                <a:gd name="connsiteX149" fmla="*/ 212881 w 1487698"/>
                <a:gd name="connsiteY149" fmla="*/ 359150 h 1424851"/>
                <a:gd name="connsiteX150" fmla="*/ 197462 w 1487698"/>
                <a:gd name="connsiteY150" fmla="*/ 337306 h 1424851"/>
                <a:gd name="connsiteX151" fmla="*/ 168550 w 1487698"/>
                <a:gd name="connsiteY151" fmla="*/ 337948 h 1424851"/>
                <a:gd name="connsiteX152" fmla="*/ 148633 w 1487698"/>
                <a:gd name="connsiteY152" fmla="*/ 338591 h 1424851"/>
                <a:gd name="connsiteX153" fmla="*/ 143493 w 1487698"/>
                <a:gd name="connsiteY153" fmla="*/ 328954 h 1424851"/>
                <a:gd name="connsiteX154" fmla="*/ 131928 w 1487698"/>
                <a:gd name="connsiteY154" fmla="*/ 328954 h 1424851"/>
                <a:gd name="connsiteX155" fmla="*/ 128715 w 1487698"/>
                <a:gd name="connsiteY155" fmla="*/ 336021 h 1424851"/>
                <a:gd name="connsiteX156" fmla="*/ 113296 w 1487698"/>
                <a:gd name="connsiteY156" fmla="*/ 336021 h 1424851"/>
                <a:gd name="connsiteX157" fmla="*/ 94664 w 1487698"/>
                <a:gd name="connsiteY157" fmla="*/ 353368 h 1424851"/>
                <a:gd name="connsiteX158" fmla="*/ 111368 w 1487698"/>
                <a:gd name="connsiteY158" fmla="*/ 360435 h 1424851"/>
                <a:gd name="connsiteX159" fmla="*/ 127431 w 1487698"/>
                <a:gd name="connsiteY159" fmla="*/ 363005 h 1424851"/>
                <a:gd name="connsiteX160" fmla="*/ 132570 w 1487698"/>
                <a:gd name="connsiteY160" fmla="*/ 389347 h 1424851"/>
                <a:gd name="connsiteX161" fmla="*/ 112011 w 1487698"/>
                <a:gd name="connsiteY161" fmla="*/ 407337 h 1424851"/>
                <a:gd name="connsiteX162" fmla="*/ 63824 w 1487698"/>
                <a:gd name="connsiteY162" fmla="*/ 422757 h 1424851"/>
                <a:gd name="connsiteX163" fmla="*/ 43265 w 1487698"/>
                <a:gd name="connsiteY163" fmla="*/ 428539 h 1424851"/>
                <a:gd name="connsiteX164" fmla="*/ 34270 w 1487698"/>
                <a:gd name="connsiteY164" fmla="*/ 418259 h 1424851"/>
                <a:gd name="connsiteX165" fmla="*/ 32342 w 1487698"/>
                <a:gd name="connsiteY165" fmla="*/ 397057 h 1424851"/>
                <a:gd name="connsiteX166" fmla="*/ 43265 w 1487698"/>
                <a:gd name="connsiteY166" fmla="*/ 357866 h 1424851"/>
                <a:gd name="connsiteX167" fmla="*/ 28488 w 1487698"/>
                <a:gd name="connsiteY167" fmla="*/ 323171 h 1424851"/>
                <a:gd name="connsiteX168" fmla="*/ 2145 w 1487698"/>
                <a:gd name="connsiteY168" fmla="*/ 236435 h 1424851"/>
                <a:gd name="connsiteX169" fmla="*/ 6643 w 1487698"/>
                <a:gd name="connsiteY169" fmla="*/ 199171 h 1424851"/>
                <a:gd name="connsiteX170" fmla="*/ 67037 w 1487698"/>
                <a:gd name="connsiteY170" fmla="*/ 178611 h 1424851"/>
                <a:gd name="connsiteX171" fmla="*/ 111368 w 1487698"/>
                <a:gd name="connsiteY171" fmla="*/ 187606 h 1424851"/>
                <a:gd name="connsiteX172" fmla="*/ 138353 w 1487698"/>
                <a:gd name="connsiteY172" fmla="*/ 199171 h 1424851"/>
                <a:gd name="connsiteX173" fmla="*/ 162125 w 1487698"/>
                <a:gd name="connsiteY173" fmla="*/ 192104 h 1424851"/>
                <a:gd name="connsiteX174" fmla="*/ 153130 w 1487698"/>
                <a:gd name="connsiteY174" fmla="*/ 167689 h 1424851"/>
                <a:gd name="connsiteX175" fmla="*/ 153130 w 1487698"/>
                <a:gd name="connsiteY175" fmla="*/ 142632 h 1424851"/>
                <a:gd name="connsiteX176" fmla="*/ 172405 w 1487698"/>
                <a:gd name="connsiteY176" fmla="*/ 141990 h 1424851"/>
                <a:gd name="connsiteX177" fmla="*/ 192964 w 1487698"/>
                <a:gd name="connsiteY177" fmla="*/ 141990 h 1424851"/>
                <a:gd name="connsiteX178" fmla="*/ 261068 w 1487698"/>
                <a:gd name="connsiteY178" fmla="*/ 72601 h 1424851"/>
                <a:gd name="connsiteX179" fmla="*/ 293835 w 1487698"/>
                <a:gd name="connsiteY179" fmla="*/ 53326 h 1424851"/>
                <a:gd name="connsiteX180" fmla="*/ 311824 w 1487698"/>
                <a:gd name="connsiteY180" fmla="*/ 22487 h 1424851"/>
                <a:gd name="connsiteX181" fmla="*/ 328529 w 1487698"/>
                <a:gd name="connsiteY181" fmla="*/ 4497 h 1424851"/>
                <a:gd name="connsiteX182" fmla="*/ 333669 w 1487698"/>
                <a:gd name="connsiteY182" fmla="*/ 643 h 1424851"/>
                <a:gd name="connsiteX183" fmla="*/ 338809 w 1487698"/>
                <a:gd name="connsiteY183" fmla="*/ 0 h 1424851"/>
                <a:gd name="connsiteX184" fmla="*/ 349731 w 1487698"/>
                <a:gd name="connsiteY184" fmla="*/ 0 h 1424851"/>
                <a:gd name="connsiteX185" fmla="*/ 360011 w 1487698"/>
                <a:gd name="connsiteY185" fmla="*/ 1285 h 1424851"/>
                <a:gd name="connsiteX186" fmla="*/ 369648 w 1487698"/>
                <a:gd name="connsiteY186" fmla="*/ 6425 h 1424851"/>
                <a:gd name="connsiteX187" fmla="*/ 417192 w 1487698"/>
                <a:gd name="connsiteY187" fmla="*/ 45617 h 1424851"/>
                <a:gd name="connsiteX188" fmla="*/ 461524 w 1487698"/>
                <a:gd name="connsiteY188" fmla="*/ 120145 h 1424851"/>
                <a:gd name="connsiteX189" fmla="*/ 474374 w 1487698"/>
                <a:gd name="connsiteY189" fmla="*/ 138135 h 1424851"/>
                <a:gd name="connsiteX190" fmla="*/ 503928 w 1487698"/>
                <a:gd name="connsiteY190" fmla="*/ 149057 h 1424851"/>
                <a:gd name="connsiteX191" fmla="*/ 518705 w 1487698"/>
                <a:gd name="connsiteY191" fmla="*/ 145845 h 1424851"/>
                <a:gd name="connsiteX192" fmla="*/ 522560 w 1487698"/>
                <a:gd name="connsiteY192" fmla="*/ 121430 h 1424851"/>
                <a:gd name="connsiteX193" fmla="*/ 530913 w 1487698"/>
                <a:gd name="connsiteY193" fmla="*/ 115648 h 1424851"/>
                <a:gd name="connsiteX194" fmla="*/ 526415 w 1487698"/>
                <a:gd name="connsiteY194" fmla="*/ 102155 h 1424851"/>
                <a:gd name="connsiteX195" fmla="*/ 517420 w 1487698"/>
                <a:gd name="connsiteY195" fmla="*/ 101513 h 1424851"/>
                <a:gd name="connsiteX196" fmla="*/ 513565 w 1487698"/>
                <a:gd name="connsiteY196" fmla="*/ 86093 h 1424851"/>
                <a:gd name="connsiteX197" fmla="*/ 557897 w 1487698"/>
                <a:gd name="connsiteY197" fmla="*/ 65534 h 1424851"/>
                <a:gd name="connsiteX198" fmla="*/ 600944 w 1487698"/>
                <a:gd name="connsiteY198" fmla="*/ 71959 h 1424851"/>
                <a:gd name="connsiteX199" fmla="*/ 626001 w 1487698"/>
                <a:gd name="connsiteY199" fmla="*/ 96373 h 1424851"/>
                <a:gd name="connsiteX200" fmla="*/ 638850 w 1487698"/>
                <a:gd name="connsiteY200" fmla="*/ 114363 h 1424851"/>
                <a:gd name="connsiteX201" fmla="*/ 657483 w 1487698"/>
                <a:gd name="connsiteY201" fmla="*/ 116290 h 1424851"/>
                <a:gd name="connsiteX202" fmla="*/ 670975 w 1487698"/>
                <a:gd name="connsiteY202" fmla="*/ 112435 h 1424851"/>
                <a:gd name="connsiteX203" fmla="*/ 677400 w 1487698"/>
                <a:gd name="connsiteY203" fmla="*/ 101513 h 1424851"/>
                <a:gd name="connsiteX204" fmla="*/ 678042 w 1487698"/>
                <a:gd name="connsiteY204" fmla="*/ 84808 h 1424851"/>
                <a:gd name="connsiteX205" fmla="*/ 676115 w 1487698"/>
                <a:gd name="connsiteY205" fmla="*/ 77098 h 1424851"/>
                <a:gd name="connsiteX206" fmla="*/ 678042 w 1487698"/>
                <a:gd name="connsiteY206" fmla="*/ 59751 h 1424851"/>
                <a:gd name="connsiteX207" fmla="*/ 672902 w 1487698"/>
                <a:gd name="connsiteY207" fmla="*/ 43689 h 1424851"/>
                <a:gd name="connsiteX208" fmla="*/ 665192 w 1487698"/>
                <a:gd name="connsiteY208" fmla="*/ 39192 h 1424851"/>
                <a:gd name="connsiteX209" fmla="*/ 662622 w 1487698"/>
                <a:gd name="connsiteY209" fmla="*/ 31482 h 1424851"/>
                <a:gd name="connsiteX210" fmla="*/ 670332 w 1487698"/>
                <a:gd name="connsiteY210" fmla="*/ 27627 h 1424851"/>
                <a:gd name="connsiteX211" fmla="*/ 675472 w 1487698"/>
                <a:gd name="connsiteY211" fmla="*/ 18632 h 1424851"/>
                <a:gd name="connsiteX212" fmla="*/ 692177 w 1487698"/>
                <a:gd name="connsiteY212" fmla="*/ 8995 h 1424851"/>
                <a:gd name="connsiteX213" fmla="*/ 703099 w 1487698"/>
                <a:gd name="connsiteY213" fmla="*/ 8352 h 1424851"/>
                <a:gd name="connsiteX214" fmla="*/ 706954 w 1487698"/>
                <a:gd name="connsiteY214" fmla="*/ 5782 h 1424851"/>
                <a:gd name="connsiteX215" fmla="*/ 711452 w 1487698"/>
                <a:gd name="connsiteY215" fmla="*/ 4497 h 1424851"/>
                <a:gd name="connsiteX216" fmla="*/ 722374 w 1487698"/>
                <a:gd name="connsiteY216" fmla="*/ 6425 h 1424851"/>
                <a:gd name="connsiteX217" fmla="*/ 723016 w 1487698"/>
                <a:gd name="connsiteY217" fmla="*/ 16062 h 1424851"/>
                <a:gd name="connsiteX218" fmla="*/ 719804 w 1487698"/>
                <a:gd name="connsiteY218" fmla="*/ 17990 h 1424851"/>
                <a:gd name="connsiteX219" fmla="*/ 719161 w 1487698"/>
                <a:gd name="connsiteY219" fmla="*/ 21202 h 1424851"/>
                <a:gd name="connsiteX220" fmla="*/ 745503 w 1487698"/>
                <a:gd name="connsiteY220" fmla="*/ 64249 h 1424851"/>
                <a:gd name="connsiteX221" fmla="*/ 776985 w 1487698"/>
                <a:gd name="connsiteY221" fmla="*/ 64249 h 1424851"/>
                <a:gd name="connsiteX222" fmla="*/ 825814 w 1487698"/>
                <a:gd name="connsiteY222" fmla="*/ 57181 h 1424851"/>
                <a:gd name="connsiteX223" fmla="*/ 860508 w 1487698"/>
                <a:gd name="connsiteY223" fmla="*/ 46901 h 1424851"/>
                <a:gd name="connsiteX224" fmla="*/ 867576 w 1487698"/>
                <a:gd name="connsiteY224" fmla="*/ 46901 h 1424851"/>
                <a:gd name="connsiteX225" fmla="*/ 882996 w 1487698"/>
                <a:gd name="connsiteY225" fmla="*/ 50756 h 1424851"/>
                <a:gd name="connsiteX226" fmla="*/ 888136 w 1487698"/>
                <a:gd name="connsiteY226" fmla="*/ 64249 h 1424851"/>
                <a:gd name="connsiteX227" fmla="*/ 886851 w 1487698"/>
                <a:gd name="connsiteY227" fmla="*/ 71316 h 1424851"/>
                <a:gd name="connsiteX228" fmla="*/ 894560 w 1487698"/>
                <a:gd name="connsiteY228" fmla="*/ 78384 h 1424851"/>
                <a:gd name="connsiteX229" fmla="*/ 931825 w 1487698"/>
                <a:gd name="connsiteY229" fmla="*/ 89306 h 1424851"/>
                <a:gd name="connsiteX230" fmla="*/ 931825 w 1487698"/>
                <a:gd name="connsiteY230" fmla="*/ 92518 h 1424851"/>
                <a:gd name="connsiteX231" fmla="*/ 940177 w 1487698"/>
                <a:gd name="connsiteY231" fmla="*/ 108580 h 1424851"/>
                <a:gd name="connsiteX232" fmla="*/ 956239 w 1487698"/>
                <a:gd name="connsiteY232" fmla="*/ 137492 h 1424851"/>
                <a:gd name="connsiteX233" fmla="*/ 963949 w 1487698"/>
                <a:gd name="connsiteY233" fmla="*/ 149057 h 1424851"/>
                <a:gd name="connsiteX234" fmla="*/ 957524 w 1487698"/>
                <a:gd name="connsiteY234" fmla="*/ 160622 h 1424851"/>
                <a:gd name="connsiteX235" fmla="*/ 960737 w 1487698"/>
                <a:gd name="connsiteY235" fmla="*/ 172829 h 1424851"/>
                <a:gd name="connsiteX236" fmla="*/ 971659 w 1487698"/>
                <a:gd name="connsiteY236" fmla="*/ 183109 h 1424851"/>
                <a:gd name="connsiteX237" fmla="*/ 980654 w 1487698"/>
                <a:gd name="connsiteY237" fmla="*/ 186321 h 1424851"/>
                <a:gd name="connsiteX238" fmla="*/ 992861 w 1487698"/>
                <a:gd name="connsiteY238" fmla="*/ 195316 h 1424851"/>
                <a:gd name="connsiteX239" fmla="*/ 1005711 w 1487698"/>
                <a:gd name="connsiteY239" fmla="*/ 208808 h 1424851"/>
                <a:gd name="connsiteX240" fmla="*/ 1024985 w 1487698"/>
                <a:gd name="connsiteY240" fmla="*/ 215876 h 1424851"/>
                <a:gd name="connsiteX241" fmla="*/ 1046187 w 1487698"/>
                <a:gd name="connsiteY241" fmla="*/ 232580 h 1424851"/>
                <a:gd name="connsiteX242" fmla="*/ 1058395 w 1487698"/>
                <a:gd name="connsiteY242" fmla="*/ 244788 h 1424851"/>
                <a:gd name="connsiteX243" fmla="*/ 1067390 w 1487698"/>
                <a:gd name="connsiteY243" fmla="*/ 254425 h 1424851"/>
                <a:gd name="connsiteX244" fmla="*/ 1068032 w 1487698"/>
                <a:gd name="connsiteY244" fmla="*/ 274342 h 1424851"/>
                <a:gd name="connsiteX245" fmla="*/ 1060322 w 1487698"/>
                <a:gd name="connsiteY245" fmla="*/ 290404 h 1424851"/>
                <a:gd name="connsiteX246" fmla="*/ 1050042 w 1487698"/>
                <a:gd name="connsiteY246" fmla="*/ 310321 h 1424851"/>
                <a:gd name="connsiteX247" fmla="*/ 1042333 w 1487698"/>
                <a:gd name="connsiteY247" fmla="*/ 338591 h 1424851"/>
                <a:gd name="connsiteX248" fmla="*/ 1057752 w 1487698"/>
                <a:gd name="connsiteY248" fmla="*/ 355938 h 1424851"/>
                <a:gd name="connsiteX249" fmla="*/ 1062892 w 1487698"/>
                <a:gd name="connsiteY249" fmla="*/ 364933 h 1424851"/>
                <a:gd name="connsiteX250" fmla="*/ 1084094 w 1487698"/>
                <a:gd name="connsiteY250" fmla="*/ 397700 h 1424851"/>
                <a:gd name="connsiteX251" fmla="*/ 1087307 w 1487698"/>
                <a:gd name="connsiteY251" fmla="*/ 421472 h 1424851"/>
                <a:gd name="connsiteX252" fmla="*/ 1106581 w 1487698"/>
                <a:gd name="connsiteY252" fmla="*/ 454239 h 1424851"/>
                <a:gd name="connsiteX253" fmla="*/ 1135493 w 1487698"/>
                <a:gd name="connsiteY253" fmla="*/ 485720 h 1424851"/>
                <a:gd name="connsiteX254" fmla="*/ 1153483 w 1487698"/>
                <a:gd name="connsiteY254" fmla="*/ 494073 h 1424851"/>
                <a:gd name="connsiteX255" fmla="*/ 1170187 w 1487698"/>
                <a:gd name="connsiteY255" fmla="*/ 503067 h 1424851"/>
                <a:gd name="connsiteX256" fmla="*/ 1182395 w 1487698"/>
                <a:gd name="connsiteY256" fmla="*/ 495358 h 1424851"/>
                <a:gd name="connsiteX257" fmla="*/ 1200384 w 1487698"/>
                <a:gd name="connsiteY257" fmla="*/ 494073 h 1424851"/>
                <a:gd name="connsiteX258" fmla="*/ 1215804 w 1487698"/>
                <a:gd name="connsiteY258" fmla="*/ 511420 h 1424851"/>
                <a:gd name="connsiteX259" fmla="*/ 1248571 w 1487698"/>
                <a:gd name="connsiteY259" fmla="*/ 539689 h 1424851"/>
                <a:gd name="connsiteX260" fmla="*/ 1271700 w 1487698"/>
                <a:gd name="connsiteY260" fmla="*/ 569886 h 1424851"/>
                <a:gd name="connsiteX261" fmla="*/ 1308322 w 1487698"/>
                <a:gd name="connsiteY261" fmla="*/ 593016 h 1424851"/>
                <a:gd name="connsiteX262" fmla="*/ 1326954 w 1487698"/>
                <a:gd name="connsiteY262" fmla="*/ 605223 h 1424851"/>
                <a:gd name="connsiteX263" fmla="*/ 1341089 w 1487698"/>
                <a:gd name="connsiteY263" fmla="*/ 623213 h 1424851"/>
                <a:gd name="connsiteX264" fmla="*/ 1359721 w 1487698"/>
                <a:gd name="connsiteY264" fmla="*/ 641845 h 1424851"/>
                <a:gd name="connsiteX265" fmla="*/ 1398270 w 1487698"/>
                <a:gd name="connsiteY265" fmla="*/ 645700 h 1424851"/>
                <a:gd name="connsiteX266" fmla="*/ 1413048 w 1487698"/>
                <a:gd name="connsiteY266" fmla="*/ 658550 h 1424851"/>
                <a:gd name="connsiteX267" fmla="*/ 1429110 w 1487698"/>
                <a:gd name="connsiteY267" fmla="*/ 679752 h 1424851"/>
                <a:gd name="connsiteX268" fmla="*/ 1452882 w 1487698"/>
                <a:gd name="connsiteY268" fmla="*/ 686819 h 1424851"/>
                <a:gd name="connsiteX269" fmla="*/ 1462519 w 1487698"/>
                <a:gd name="connsiteY269" fmla="*/ 696456 h 1424851"/>
                <a:gd name="connsiteX270" fmla="*/ 1478581 w 1487698"/>
                <a:gd name="connsiteY270" fmla="*/ 722156 h 1424851"/>
                <a:gd name="connsiteX271" fmla="*/ 1486934 w 1487698"/>
                <a:gd name="connsiteY271" fmla="*/ 738860 h 142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</a:cxnLst>
              <a:rect l="l" t="t" r="r" b="b"/>
              <a:pathLst>
                <a:path w="1487698" h="1424851">
                  <a:moveTo>
                    <a:pt x="1486934" y="738860"/>
                  </a:moveTo>
                  <a:cubicBezTo>
                    <a:pt x="1483721" y="743358"/>
                    <a:pt x="1478581" y="746570"/>
                    <a:pt x="1479224" y="753638"/>
                  </a:cubicBezTo>
                  <a:cubicBezTo>
                    <a:pt x="1479866" y="760705"/>
                    <a:pt x="1482436" y="765202"/>
                    <a:pt x="1483079" y="769057"/>
                  </a:cubicBezTo>
                  <a:cubicBezTo>
                    <a:pt x="1484364" y="772912"/>
                    <a:pt x="1484364" y="777410"/>
                    <a:pt x="1481794" y="792829"/>
                  </a:cubicBezTo>
                  <a:cubicBezTo>
                    <a:pt x="1479224" y="808249"/>
                    <a:pt x="1478581" y="815959"/>
                    <a:pt x="1474084" y="821099"/>
                  </a:cubicBezTo>
                  <a:cubicBezTo>
                    <a:pt x="1469587" y="826239"/>
                    <a:pt x="1468944" y="831379"/>
                    <a:pt x="1464447" y="835876"/>
                  </a:cubicBezTo>
                  <a:cubicBezTo>
                    <a:pt x="1459307" y="841016"/>
                    <a:pt x="1458664" y="844228"/>
                    <a:pt x="1451597" y="842943"/>
                  </a:cubicBezTo>
                  <a:cubicBezTo>
                    <a:pt x="1444530" y="842301"/>
                    <a:pt x="1438747" y="836519"/>
                    <a:pt x="1434892" y="834591"/>
                  </a:cubicBezTo>
                  <a:cubicBezTo>
                    <a:pt x="1431037" y="832021"/>
                    <a:pt x="1429110" y="829451"/>
                    <a:pt x="1423327" y="826881"/>
                  </a:cubicBezTo>
                  <a:cubicBezTo>
                    <a:pt x="1416903" y="824954"/>
                    <a:pt x="1403410" y="823026"/>
                    <a:pt x="1403410" y="823026"/>
                  </a:cubicBezTo>
                  <a:cubicBezTo>
                    <a:pt x="1403410" y="823026"/>
                    <a:pt x="1400198" y="815959"/>
                    <a:pt x="1391203" y="818529"/>
                  </a:cubicBezTo>
                  <a:cubicBezTo>
                    <a:pt x="1381566" y="821099"/>
                    <a:pt x="1373214" y="820456"/>
                    <a:pt x="1371286" y="826881"/>
                  </a:cubicBezTo>
                  <a:cubicBezTo>
                    <a:pt x="1369359" y="833306"/>
                    <a:pt x="1371928" y="838446"/>
                    <a:pt x="1373214" y="839731"/>
                  </a:cubicBezTo>
                  <a:cubicBezTo>
                    <a:pt x="1373856" y="841016"/>
                    <a:pt x="1376426" y="859006"/>
                    <a:pt x="1373856" y="865431"/>
                  </a:cubicBezTo>
                  <a:cubicBezTo>
                    <a:pt x="1370644" y="871855"/>
                    <a:pt x="1368716" y="902052"/>
                    <a:pt x="1363576" y="908477"/>
                  </a:cubicBezTo>
                  <a:cubicBezTo>
                    <a:pt x="1358436" y="914902"/>
                    <a:pt x="1347514" y="919399"/>
                    <a:pt x="1339162" y="928394"/>
                  </a:cubicBezTo>
                  <a:cubicBezTo>
                    <a:pt x="1330809" y="937389"/>
                    <a:pt x="1318602" y="948311"/>
                    <a:pt x="1312820" y="951524"/>
                  </a:cubicBezTo>
                  <a:cubicBezTo>
                    <a:pt x="1307037" y="954094"/>
                    <a:pt x="1289690" y="950881"/>
                    <a:pt x="1281980" y="952809"/>
                  </a:cubicBezTo>
                  <a:cubicBezTo>
                    <a:pt x="1273628" y="955379"/>
                    <a:pt x="1257566" y="958591"/>
                    <a:pt x="1247286" y="967586"/>
                  </a:cubicBezTo>
                  <a:cubicBezTo>
                    <a:pt x="1236364" y="976581"/>
                    <a:pt x="1237649" y="980436"/>
                    <a:pt x="1229939" y="984291"/>
                  </a:cubicBezTo>
                  <a:cubicBezTo>
                    <a:pt x="1221586" y="988788"/>
                    <a:pt x="1209379" y="991358"/>
                    <a:pt x="1204882" y="994570"/>
                  </a:cubicBezTo>
                  <a:cubicBezTo>
                    <a:pt x="1200384" y="997140"/>
                    <a:pt x="1191389" y="1002280"/>
                    <a:pt x="1183037" y="1012560"/>
                  </a:cubicBezTo>
                  <a:cubicBezTo>
                    <a:pt x="1174685" y="1022840"/>
                    <a:pt x="1165690" y="1031192"/>
                    <a:pt x="1165690" y="1038260"/>
                  </a:cubicBezTo>
                  <a:cubicBezTo>
                    <a:pt x="1166333" y="1045327"/>
                    <a:pt x="1168902" y="1053037"/>
                    <a:pt x="1177255" y="1058819"/>
                  </a:cubicBezTo>
                  <a:cubicBezTo>
                    <a:pt x="1185607" y="1064602"/>
                    <a:pt x="1192032" y="1073596"/>
                    <a:pt x="1205524" y="1085804"/>
                  </a:cubicBezTo>
                  <a:cubicBezTo>
                    <a:pt x="1219659" y="1097368"/>
                    <a:pt x="1222229" y="1093514"/>
                    <a:pt x="1229939" y="1106363"/>
                  </a:cubicBezTo>
                  <a:cubicBezTo>
                    <a:pt x="1237649" y="1119855"/>
                    <a:pt x="1239576" y="1124995"/>
                    <a:pt x="1242788" y="1129493"/>
                  </a:cubicBezTo>
                  <a:cubicBezTo>
                    <a:pt x="1245359" y="1133348"/>
                    <a:pt x="1249213" y="1141700"/>
                    <a:pt x="1247928" y="1148125"/>
                  </a:cubicBezTo>
                  <a:cubicBezTo>
                    <a:pt x="1246643" y="1154550"/>
                    <a:pt x="1241504" y="1164829"/>
                    <a:pt x="1238291" y="1170612"/>
                  </a:cubicBezTo>
                  <a:cubicBezTo>
                    <a:pt x="1235079" y="1176394"/>
                    <a:pt x="1228654" y="1183462"/>
                    <a:pt x="1227369" y="1188602"/>
                  </a:cubicBezTo>
                  <a:cubicBezTo>
                    <a:pt x="1226084" y="1193741"/>
                    <a:pt x="1219017" y="1201451"/>
                    <a:pt x="1226726" y="1202736"/>
                  </a:cubicBezTo>
                  <a:cubicBezTo>
                    <a:pt x="1234436" y="1204021"/>
                    <a:pt x="1249856" y="1204664"/>
                    <a:pt x="1252426" y="1202094"/>
                  </a:cubicBezTo>
                  <a:cubicBezTo>
                    <a:pt x="1254996" y="1198881"/>
                    <a:pt x="1258851" y="1194384"/>
                    <a:pt x="1262706" y="1195669"/>
                  </a:cubicBezTo>
                  <a:cubicBezTo>
                    <a:pt x="1266561" y="1196954"/>
                    <a:pt x="1275555" y="1212374"/>
                    <a:pt x="1280695" y="1219441"/>
                  </a:cubicBezTo>
                  <a:cubicBezTo>
                    <a:pt x="1285193" y="1226508"/>
                    <a:pt x="1287120" y="1227793"/>
                    <a:pt x="1287120" y="1235503"/>
                  </a:cubicBezTo>
                  <a:cubicBezTo>
                    <a:pt x="1287120" y="1243213"/>
                    <a:pt x="1283908" y="1252208"/>
                    <a:pt x="1282623" y="1257990"/>
                  </a:cubicBezTo>
                  <a:cubicBezTo>
                    <a:pt x="1281338" y="1263773"/>
                    <a:pt x="1281338" y="1270198"/>
                    <a:pt x="1281338" y="1272767"/>
                  </a:cubicBezTo>
                  <a:cubicBezTo>
                    <a:pt x="1281338" y="1275337"/>
                    <a:pt x="1275555" y="1280477"/>
                    <a:pt x="1276198" y="1289472"/>
                  </a:cubicBezTo>
                  <a:cubicBezTo>
                    <a:pt x="1276198" y="1298467"/>
                    <a:pt x="1270416" y="1300395"/>
                    <a:pt x="1267846" y="1304892"/>
                  </a:cubicBezTo>
                  <a:cubicBezTo>
                    <a:pt x="1265276" y="1308747"/>
                    <a:pt x="1258208" y="1319669"/>
                    <a:pt x="1253068" y="1316457"/>
                  </a:cubicBezTo>
                  <a:cubicBezTo>
                    <a:pt x="1247286" y="1313244"/>
                    <a:pt x="1243431" y="1308104"/>
                    <a:pt x="1240861" y="1306819"/>
                  </a:cubicBezTo>
                  <a:cubicBezTo>
                    <a:pt x="1238291" y="1305534"/>
                    <a:pt x="1226084" y="1299752"/>
                    <a:pt x="1226084" y="1299752"/>
                  </a:cubicBezTo>
                  <a:cubicBezTo>
                    <a:pt x="1226084" y="1299752"/>
                    <a:pt x="1219659" y="1292042"/>
                    <a:pt x="1211307" y="1287545"/>
                  </a:cubicBezTo>
                  <a:cubicBezTo>
                    <a:pt x="1202954" y="1283047"/>
                    <a:pt x="1193317" y="1281120"/>
                    <a:pt x="1190747" y="1274695"/>
                  </a:cubicBezTo>
                  <a:cubicBezTo>
                    <a:pt x="1188177" y="1268912"/>
                    <a:pt x="1184965" y="1265700"/>
                    <a:pt x="1188177" y="1258633"/>
                  </a:cubicBezTo>
                  <a:cubicBezTo>
                    <a:pt x="1192032" y="1251565"/>
                    <a:pt x="1195887" y="1250923"/>
                    <a:pt x="1195244" y="1245783"/>
                  </a:cubicBezTo>
                  <a:cubicBezTo>
                    <a:pt x="1194602" y="1240643"/>
                    <a:pt x="1189462" y="1233576"/>
                    <a:pt x="1188820" y="1232933"/>
                  </a:cubicBezTo>
                  <a:cubicBezTo>
                    <a:pt x="1188177" y="1232291"/>
                    <a:pt x="1181110" y="1223938"/>
                    <a:pt x="1171473" y="1221368"/>
                  </a:cubicBezTo>
                  <a:cubicBezTo>
                    <a:pt x="1161835" y="1218799"/>
                    <a:pt x="1143203" y="1217513"/>
                    <a:pt x="1141918" y="1219441"/>
                  </a:cubicBezTo>
                  <a:cubicBezTo>
                    <a:pt x="1140633" y="1221368"/>
                    <a:pt x="1128426" y="1227151"/>
                    <a:pt x="1125856" y="1232933"/>
                  </a:cubicBezTo>
                  <a:cubicBezTo>
                    <a:pt x="1123286" y="1239358"/>
                    <a:pt x="1122643" y="1243213"/>
                    <a:pt x="1118146" y="1245140"/>
                  </a:cubicBezTo>
                  <a:cubicBezTo>
                    <a:pt x="1113649" y="1247068"/>
                    <a:pt x="1099514" y="1254135"/>
                    <a:pt x="1097587" y="1250280"/>
                  </a:cubicBezTo>
                  <a:cubicBezTo>
                    <a:pt x="1095659" y="1245783"/>
                    <a:pt x="1093089" y="1242571"/>
                    <a:pt x="1092446" y="1240001"/>
                  </a:cubicBezTo>
                  <a:cubicBezTo>
                    <a:pt x="1091162" y="1237430"/>
                    <a:pt x="1081524" y="1232291"/>
                    <a:pt x="1079597" y="1231648"/>
                  </a:cubicBezTo>
                  <a:cubicBezTo>
                    <a:pt x="1077669" y="1231006"/>
                    <a:pt x="1068032" y="1227151"/>
                    <a:pt x="1064177" y="1231006"/>
                  </a:cubicBezTo>
                  <a:cubicBezTo>
                    <a:pt x="1060322" y="1234218"/>
                    <a:pt x="1062250" y="1236788"/>
                    <a:pt x="1054540" y="1237430"/>
                  </a:cubicBezTo>
                  <a:cubicBezTo>
                    <a:pt x="1046187" y="1237430"/>
                    <a:pt x="1028840" y="1234218"/>
                    <a:pt x="1023700" y="1236146"/>
                  </a:cubicBezTo>
                  <a:cubicBezTo>
                    <a:pt x="1018560" y="1238073"/>
                    <a:pt x="1016633" y="1240001"/>
                    <a:pt x="1014705" y="1241928"/>
                  </a:cubicBezTo>
                  <a:cubicBezTo>
                    <a:pt x="1013421" y="1243855"/>
                    <a:pt x="1008923" y="1244498"/>
                    <a:pt x="1008281" y="1250280"/>
                  </a:cubicBezTo>
                  <a:cubicBezTo>
                    <a:pt x="1006996" y="1256063"/>
                    <a:pt x="1008923" y="1258633"/>
                    <a:pt x="1005711" y="1260560"/>
                  </a:cubicBezTo>
                  <a:cubicBezTo>
                    <a:pt x="1002498" y="1262488"/>
                    <a:pt x="996716" y="1264415"/>
                    <a:pt x="992861" y="1263130"/>
                  </a:cubicBezTo>
                  <a:cubicBezTo>
                    <a:pt x="989648" y="1262488"/>
                    <a:pt x="981939" y="1259918"/>
                    <a:pt x="977441" y="1261203"/>
                  </a:cubicBezTo>
                  <a:cubicBezTo>
                    <a:pt x="972944" y="1262488"/>
                    <a:pt x="926685" y="1259918"/>
                    <a:pt x="924115" y="1260560"/>
                  </a:cubicBezTo>
                  <a:cubicBezTo>
                    <a:pt x="921545" y="1261203"/>
                    <a:pt x="917047" y="1260560"/>
                    <a:pt x="906768" y="1265058"/>
                  </a:cubicBezTo>
                  <a:cubicBezTo>
                    <a:pt x="896488" y="1269555"/>
                    <a:pt x="885566" y="1274052"/>
                    <a:pt x="883638" y="1274052"/>
                  </a:cubicBezTo>
                  <a:cubicBezTo>
                    <a:pt x="881711" y="1274052"/>
                    <a:pt x="870146" y="1270840"/>
                    <a:pt x="862436" y="1273410"/>
                  </a:cubicBezTo>
                  <a:cubicBezTo>
                    <a:pt x="854726" y="1275980"/>
                    <a:pt x="844446" y="1274695"/>
                    <a:pt x="833524" y="1282405"/>
                  </a:cubicBezTo>
                  <a:cubicBezTo>
                    <a:pt x="823244" y="1289472"/>
                    <a:pt x="811680" y="1299752"/>
                    <a:pt x="811680" y="1299752"/>
                  </a:cubicBezTo>
                  <a:cubicBezTo>
                    <a:pt x="811680" y="1299752"/>
                    <a:pt x="802685" y="1308747"/>
                    <a:pt x="798830" y="1309389"/>
                  </a:cubicBezTo>
                  <a:cubicBezTo>
                    <a:pt x="794975" y="1310032"/>
                    <a:pt x="779555" y="1311316"/>
                    <a:pt x="770560" y="1315814"/>
                  </a:cubicBezTo>
                  <a:cubicBezTo>
                    <a:pt x="760923" y="1320311"/>
                    <a:pt x="748716" y="1324809"/>
                    <a:pt x="747431" y="1326736"/>
                  </a:cubicBezTo>
                  <a:cubicBezTo>
                    <a:pt x="746146" y="1328664"/>
                    <a:pt x="746146" y="1331234"/>
                    <a:pt x="739078" y="1336374"/>
                  </a:cubicBezTo>
                  <a:cubicBezTo>
                    <a:pt x="732011" y="1341513"/>
                    <a:pt x="718519" y="1347938"/>
                    <a:pt x="717876" y="1348581"/>
                  </a:cubicBezTo>
                  <a:cubicBezTo>
                    <a:pt x="717234" y="1348581"/>
                    <a:pt x="705027" y="1353721"/>
                    <a:pt x="697959" y="1356291"/>
                  </a:cubicBezTo>
                  <a:cubicBezTo>
                    <a:pt x="690892" y="1358861"/>
                    <a:pt x="684467" y="1361431"/>
                    <a:pt x="672260" y="1363358"/>
                  </a:cubicBezTo>
                  <a:cubicBezTo>
                    <a:pt x="660053" y="1365286"/>
                    <a:pt x="638850" y="1364643"/>
                    <a:pt x="638850" y="1364643"/>
                  </a:cubicBezTo>
                  <a:cubicBezTo>
                    <a:pt x="638850" y="1364643"/>
                    <a:pt x="628571" y="1365928"/>
                    <a:pt x="624716" y="1362715"/>
                  </a:cubicBezTo>
                  <a:cubicBezTo>
                    <a:pt x="620861" y="1359503"/>
                    <a:pt x="614436" y="1353078"/>
                    <a:pt x="611866" y="1343441"/>
                  </a:cubicBezTo>
                  <a:cubicBezTo>
                    <a:pt x="609296" y="1334446"/>
                    <a:pt x="611866" y="1329949"/>
                    <a:pt x="607369" y="1324166"/>
                  </a:cubicBezTo>
                  <a:cubicBezTo>
                    <a:pt x="602871" y="1318384"/>
                    <a:pt x="600301" y="1311959"/>
                    <a:pt x="597089" y="1312602"/>
                  </a:cubicBezTo>
                  <a:cubicBezTo>
                    <a:pt x="593876" y="1313244"/>
                    <a:pt x="584881" y="1315814"/>
                    <a:pt x="583597" y="1313244"/>
                  </a:cubicBezTo>
                  <a:cubicBezTo>
                    <a:pt x="582312" y="1310674"/>
                    <a:pt x="581669" y="1306819"/>
                    <a:pt x="579099" y="1305534"/>
                  </a:cubicBezTo>
                  <a:cubicBezTo>
                    <a:pt x="575887" y="1304249"/>
                    <a:pt x="572032" y="1305534"/>
                    <a:pt x="566249" y="1305534"/>
                  </a:cubicBezTo>
                  <a:cubicBezTo>
                    <a:pt x="560467" y="1305534"/>
                    <a:pt x="550830" y="1304892"/>
                    <a:pt x="546975" y="1304249"/>
                  </a:cubicBezTo>
                  <a:cubicBezTo>
                    <a:pt x="543120" y="1303607"/>
                    <a:pt x="532198" y="1297824"/>
                    <a:pt x="530913" y="1297824"/>
                  </a:cubicBezTo>
                  <a:cubicBezTo>
                    <a:pt x="528985" y="1297824"/>
                    <a:pt x="527700" y="1299109"/>
                    <a:pt x="517420" y="1302322"/>
                  </a:cubicBezTo>
                  <a:cubicBezTo>
                    <a:pt x="507783" y="1305534"/>
                    <a:pt x="494291" y="1310032"/>
                    <a:pt x="487866" y="1307462"/>
                  </a:cubicBezTo>
                  <a:cubicBezTo>
                    <a:pt x="481441" y="1304892"/>
                    <a:pt x="480156" y="1301679"/>
                    <a:pt x="476944" y="1297182"/>
                  </a:cubicBezTo>
                  <a:cubicBezTo>
                    <a:pt x="473089" y="1292042"/>
                    <a:pt x="470519" y="1286260"/>
                    <a:pt x="467949" y="1285617"/>
                  </a:cubicBezTo>
                  <a:cubicBezTo>
                    <a:pt x="465379" y="1285617"/>
                    <a:pt x="460881" y="1284332"/>
                    <a:pt x="458954" y="1289472"/>
                  </a:cubicBezTo>
                  <a:cubicBezTo>
                    <a:pt x="457027" y="1294612"/>
                    <a:pt x="455741" y="1302322"/>
                    <a:pt x="456384" y="1310674"/>
                  </a:cubicBezTo>
                  <a:cubicBezTo>
                    <a:pt x="457027" y="1319026"/>
                    <a:pt x="460239" y="1317741"/>
                    <a:pt x="462809" y="1323524"/>
                  </a:cubicBezTo>
                  <a:cubicBezTo>
                    <a:pt x="466021" y="1329949"/>
                    <a:pt x="469876" y="1344726"/>
                    <a:pt x="462809" y="1357576"/>
                  </a:cubicBezTo>
                  <a:cubicBezTo>
                    <a:pt x="455741" y="1370425"/>
                    <a:pt x="446747" y="1383275"/>
                    <a:pt x="437752" y="1391627"/>
                  </a:cubicBezTo>
                  <a:cubicBezTo>
                    <a:pt x="429400" y="1399337"/>
                    <a:pt x="426187" y="1401265"/>
                    <a:pt x="416550" y="1408332"/>
                  </a:cubicBezTo>
                  <a:cubicBezTo>
                    <a:pt x="406913" y="1415400"/>
                    <a:pt x="381213" y="1423752"/>
                    <a:pt x="378001" y="1424394"/>
                  </a:cubicBezTo>
                  <a:cubicBezTo>
                    <a:pt x="374788" y="1425037"/>
                    <a:pt x="367721" y="1426322"/>
                    <a:pt x="371576" y="1417327"/>
                  </a:cubicBezTo>
                  <a:cubicBezTo>
                    <a:pt x="375431" y="1408332"/>
                    <a:pt x="376073" y="1399337"/>
                    <a:pt x="378643" y="1394840"/>
                  </a:cubicBezTo>
                  <a:cubicBezTo>
                    <a:pt x="381213" y="1389700"/>
                    <a:pt x="385710" y="1387130"/>
                    <a:pt x="385068" y="1381990"/>
                  </a:cubicBezTo>
                  <a:cubicBezTo>
                    <a:pt x="384426" y="1376850"/>
                    <a:pt x="383783" y="1374281"/>
                    <a:pt x="377358" y="1369140"/>
                  </a:cubicBezTo>
                  <a:cubicBezTo>
                    <a:pt x="371576" y="1363358"/>
                    <a:pt x="368363" y="1358861"/>
                    <a:pt x="368363" y="1358861"/>
                  </a:cubicBezTo>
                  <a:cubicBezTo>
                    <a:pt x="368363" y="1358861"/>
                    <a:pt x="354229" y="1349866"/>
                    <a:pt x="350374" y="1345369"/>
                  </a:cubicBezTo>
                  <a:cubicBezTo>
                    <a:pt x="345876" y="1340871"/>
                    <a:pt x="339451" y="1341513"/>
                    <a:pt x="330456" y="1333804"/>
                  </a:cubicBezTo>
                  <a:cubicBezTo>
                    <a:pt x="321462" y="1326094"/>
                    <a:pt x="321462" y="1328021"/>
                    <a:pt x="316964" y="1320311"/>
                  </a:cubicBezTo>
                  <a:cubicBezTo>
                    <a:pt x="312467" y="1312602"/>
                    <a:pt x="307969" y="1308104"/>
                    <a:pt x="304757" y="1305534"/>
                  </a:cubicBezTo>
                  <a:cubicBezTo>
                    <a:pt x="300902" y="1302964"/>
                    <a:pt x="288695" y="1302322"/>
                    <a:pt x="280343" y="1299752"/>
                  </a:cubicBezTo>
                  <a:cubicBezTo>
                    <a:pt x="271990" y="1297182"/>
                    <a:pt x="263638" y="1289472"/>
                    <a:pt x="259141" y="1289472"/>
                  </a:cubicBezTo>
                  <a:cubicBezTo>
                    <a:pt x="254643" y="1289472"/>
                    <a:pt x="246933" y="1289472"/>
                    <a:pt x="243721" y="1294612"/>
                  </a:cubicBezTo>
                  <a:cubicBezTo>
                    <a:pt x="240508" y="1299109"/>
                    <a:pt x="239866" y="1308747"/>
                    <a:pt x="231513" y="1312602"/>
                  </a:cubicBezTo>
                  <a:cubicBezTo>
                    <a:pt x="223161" y="1317099"/>
                    <a:pt x="203244" y="1315814"/>
                    <a:pt x="200674" y="1315814"/>
                  </a:cubicBezTo>
                  <a:cubicBezTo>
                    <a:pt x="200674" y="1315814"/>
                    <a:pt x="200674" y="1315814"/>
                    <a:pt x="200674" y="1315814"/>
                  </a:cubicBezTo>
                  <a:cubicBezTo>
                    <a:pt x="200674" y="1315814"/>
                    <a:pt x="200674" y="1315814"/>
                    <a:pt x="200674" y="1315814"/>
                  </a:cubicBezTo>
                  <a:lnTo>
                    <a:pt x="200674" y="1315814"/>
                  </a:lnTo>
                  <a:cubicBezTo>
                    <a:pt x="200032" y="1315814"/>
                    <a:pt x="198104" y="1315172"/>
                    <a:pt x="190394" y="1313244"/>
                  </a:cubicBezTo>
                  <a:cubicBezTo>
                    <a:pt x="187824" y="1312602"/>
                    <a:pt x="185897" y="1311959"/>
                    <a:pt x="183327" y="1311959"/>
                  </a:cubicBezTo>
                  <a:lnTo>
                    <a:pt x="183327" y="1311959"/>
                  </a:lnTo>
                  <a:cubicBezTo>
                    <a:pt x="180757" y="1288829"/>
                    <a:pt x="210954" y="1282405"/>
                    <a:pt x="224446" y="1270198"/>
                  </a:cubicBezTo>
                  <a:cubicBezTo>
                    <a:pt x="237938" y="1257990"/>
                    <a:pt x="255286" y="1252850"/>
                    <a:pt x="274560" y="1255420"/>
                  </a:cubicBezTo>
                  <a:cubicBezTo>
                    <a:pt x="293192" y="1257990"/>
                    <a:pt x="295762" y="1259275"/>
                    <a:pt x="318249" y="1255420"/>
                  </a:cubicBezTo>
                  <a:cubicBezTo>
                    <a:pt x="341379" y="1250923"/>
                    <a:pt x="352301" y="1245140"/>
                    <a:pt x="356798" y="1234861"/>
                  </a:cubicBezTo>
                  <a:cubicBezTo>
                    <a:pt x="361296" y="1225223"/>
                    <a:pt x="357441" y="1189244"/>
                    <a:pt x="345234" y="1171897"/>
                  </a:cubicBezTo>
                  <a:cubicBezTo>
                    <a:pt x="333027" y="1153907"/>
                    <a:pt x="354229" y="1137845"/>
                    <a:pt x="360011" y="1117928"/>
                  </a:cubicBezTo>
                  <a:cubicBezTo>
                    <a:pt x="365793" y="1098011"/>
                    <a:pt x="361296" y="1076166"/>
                    <a:pt x="357441" y="1053679"/>
                  </a:cubicBezTo>
                  <a:cubicBezTo>
                    <a:pt x="353586" y="1031192"/>
                    <a:pt x="346519" y="1023482"/>
                    <a:pt x="340736" y="999068"/>
                  </a:cubicBezTo>
                  <a:cubicBezTo>
                    <a:pt x="334954" y="975296"/>
                    <a:pt x="321462" y="964374"/>
                    <a:pt x="311182" y="950881"/>
                  </a:cubicBezTo>
                  <a:cubicBezTo>
                    <a:pt x="300902" y="938031"/>
                    <a:pt x="312467" y="927752"/>
                    <a:pt x="316964" y="918757"/>
                  </a:cubicBezTo>
                  <a:cubicBezTo>
                    <a:pt x="321462" y="909120"/>
                    <a:pt x="342021" y="892415"/>
                    <a:pt x="349089" y="891772"/>
                  </a:cubicBezTo>
                  <a:cubicBezTo>
                    <a:pt x="356156" y="891130"/>
                    <a:pt x="350374" y="898840"/>
                    <a:pt x="351016" y="905265"/>
                  </a:cubicBezTo>
                  <a:cubicBezTo>
                    <a:pt x="351659" y="911689"/>
                    <a:pt x="357441" y="911047"/>
                    <a:pt x="368363" y="905265"/>
                  </a:cubicBezTo>
                  <a:cubicBezTo>
                    <a:pt x="379286" y="899482"/>
                    <a:pt x="387638" y="894342"/>
                    <a:pt x="404985" y="880850"/>
                  </a:cubicBezTo>
                  <a:cubicBezTo>
                    <a:pt x="422975" y="867358"/>
                    <a:pt x="410767" y="854508"/>
                    <a:pt x="412695" y="841658"/>
                  </a:cubicBezTo>
                  <a:cubicBezTo>
                    <a:pt x="414622" y="828809"/>
                    <a:pt x="433897" y="815959"/>
                    <a:pt x="439679" y="808892"/>
                  </a:cubicBezTo>
                  <a:cubicBezTo>
                    <a:pt x="445462" y="801824"/>
                    <a:pt x="453172" y="793472"/>
                    <a:pt x="456384" y="776767"/>
                  </a:cubicBezTo>
                  <a:cubicBezTo>
                    <a:pt x="459596" y="760062"/>
                    <a:pt x="451244" y="755565"/>
                    <a:pt x="452529" y="750425"/>
                  </a:cubicBezTo>
                  <a:cubicBezTo>
                    <a:pt x="453814" y="745285"/>
                    <a:pt x="456384" y="717016"/>
                    <a:pt x="456384" y="708663"/>
                  </a:cubicBezTo>
                  <a:cubicBezTo>
                    <a:pt x="456384" y="700311"/>
                    <a:pt x="441607" y="692601"/>
                    <a:pt x="435825" y="679752"/>
                  </a:cubicBezTo>
                  <a:cubicBezTo>
                    <a:pt x="429400" y="666902"/>
                    <a:pt x="416550" y="659835"/>
                    <a:pt x="412695" y="658550"/>
                  </a:cubicBezTo>
                  <a:cubicBezTo>
                    <a:pt x="408197" y="657264"/>
                    <a:pt x="397918" y="652125"/>
                    <a:pt x="393420" y="640560"/>
                  </a:cubicBezTo>
                  <a:cubicBezTo>
                    <a:pt x="388923" y="628353"/>
                    <a:pt x="348446" y="569244"/>
                    <a:pt x="348446" y="569244"/>
                  </a:cubicBezTo>
                  <a:cubicBezTo>
                    <a:pt x="348446" y="569244"/>
                    <a:pt x="339451" y="534550"/>
                    <a:pt x="340094" y="524912"/>
                  </a:cubicBezTo>
                  <a:cubicBezTo>
                    <a:pt x="340736" y="515275"/>
                    <a:pt x="347804" y="507565"/>
                    <a:pt x="351016" y="495358"/>
                  </a:cubicBezTo>
                  <a:cubicBezTo>
                    <a:pt x="354229" y="483151"/>
                    <a:pt x="352944" y="465161"/>
                    <a:pt x="351016" y="454881"/>
                  </a:cubicBezTo>
                  <a:cubicBezTo>
                    <a:pt x="349089" y="444601"/>
                    <a:pt x="340736" y="434321"/>
                    <a:pt x="334311" y="431752"/>
                  </a:cubicBezTo>
                  <a:cubicBezTo>
                    <a:pt x="327887" y="429181"/>
                    <a:pt x="323389" y="437534"/>
                    <a:pt x="323389" y="443316"/>
                  </a:cubicBezTo>
                  <a:cubicBezTo>
                    <a:pt x="323389" y="449099"/>
                    <a:pt x="322104" y="456809"/>
                    <a:pt x="320177" y="467088"/>
                  </a:cubicBezTo>
                  <a:cubicBezTo>
                    <a:pt x="318249" y="476726"/>
                    <a:pt x="297690" y="472228"/>
                    <a:pt x="288695" y="463876"/>
                  </a:cubicBezTo>
                  <a:cubicBezTo>
                    <a:pt x="279057" y="455523"/>
                    <a:pt x="286767" y="434964"/>
                    <a:pt x="286125" y="429824"/>
                  </a:cubicBezTo>
                  <a:cubicBezTo>
                    <a:pt x="284840" y="424684"/>
                    <a:pt x="255928" y="374570"/>
                    <a:pt x="254001" y="368788"/>
                  </a:cubicBezTo>
                  <a:cubicBezTo>
                    <a:pt x="252073" y="363005"/>
                    <a:pt x="244363" y="361720"/>
                    <a:pt x="236011" y="357223"/>
                  </a:cubicBezTo>
                  <a:cubicBezTo>
                    <a:pt x="227659" y="352726"/>
                    <a:pt x="218664" y="359150"/>
                    <a:pt x="212881" y="359150"/>
                  </a:cubicBezTo>
                  <a:cubicBezTo>
                    <a:pt x="207099" y="359150"/>
                    <a:pt x="201959" y="342446"/>
                    <a:pt x="197462" y="337306"/>
                  </a:cubicBezTo>
                  <a:cubicBezTo>
                    <a:pt x="192964" y="332166"/>
                    <a:pt x="172405" y="337948"/>
                    <a:pt x="168550" y="337948"/>
                  </a:cubicBezTo>
                  <a:cubicBezTo>
                    <a:pt x="164695" y="337948"/>
                    <a:pt x="156985" y="340518"/>
                    <a:pt x="148633" y="338591"/>
                  </a:cubicBezTo>
                  <a:cubicBezTo>
                    <a:pt x="140280" y="336663"/>
                    <a:pt x="144135" y="328954"/>
                    <a:pt x="143493" y="328954"/>
                  </a:cubicBezTo>
                  <a:cubicBezTo>
                    <a:pt x="142850" y="328954"/>
                    <a:pt x="136425" y="327026"/>
                    <a:pt x="131928" y="328954"/>
                  </a:cubicBezTo>
                  <a:cubicBezTo>
                    <a:pt x="127431" y="330881"/>
                    <a:pt x="130001" y="336663"/>
                    <a:pt x="128715" y="336021"/>
                  </a:cubicBezTo>
                  <a:cubicBezTo>
                    <a:pt x="126788" y="334736"/>
                    <a:pt x="114581" y="336021"/>
                    <a:pt x="113296" y="336021"/>
                  </a:cubicBezTo>
                  <a:cubicBezTo>
                    <a:pt x="111368" y="336021"/>
                    <a:pt x="95949" y="348228"/>
                    <a:pt x="94664" y="353368"/>
                  </a:cubicBezTo>
                  <a:cubicBezTo>
                    <a:pt x="92736" y="358508"/>
                    <a:pt x="103016" y="361078"/>
                    <a:pt x="111368" y="360435"/>
                  </a:cubicBezTo>
                  <a:cubicBezTo>
                    <a:pt x="119721" y="359793"/>
                    <a:pt x="126146" y="362363"/>
                    <a:pt x="127431" y="363005"/>
                  </a:cubicBezTo>
                  <a:cubicBezTo>
                    <a:pt x="129358" y="363648"/>
                    <a:pt x="132570" y="380995"/>
                    <a:pt x="132570" y="389347"/>
                  </a:cubicBezTo>
                  <a:cubicBezTo>
                    <a:pt x="132570" y="398342"/>
                    <a:pt x="117793" y="403482"/>
                    <a:pt x="112011" y="407337"/>
                  </a:cubicBezTo>
                  <a:cubicBezTo>
                    <a:pt x="106228" y="411192"/>
                    <a:pt x="72819" y="422757"/>
                    <a:pt x="63824" y="422757"/>
                  </a:cubicBezTo>
                  <a:cubicBezTo>
                    <a:pt x="54829" y="422114"/>
                    <a:pt x="45835" y="425969"/>
                    <a:pt x="43265" y="428539"/>
                  </a:cubicBezTo>
                  <a:cubicBezTo>
                    <a:pt x="39410" y="424684"/>
                    <a:pt x="35555" y="420829"/>
                    <a:pt x="34270" y="418259"/>
                  </a:cubicBezTo>
                  <a:cubicBezTo>
                    <a:pt x="29772" y="413119"/>
                    <a:pt x="31700" y="404767"/>
                    <a:pt x="32342" y="397057"/>
                  </a:cubicBezTo>
                  <a:cubicBezTo>
                    <a:pt x="33627" y="389347"/>
                    <a:pt x="39410" y="373928"/>
                    <a:pt x="43265" y="357866"/>
                  </a:cubicBezTo>
                  <a:cubicBezTo>
                    <a:pt x="47120" y="341803"/>
                    <a:pt x="37482" y="337306"/>
                    <a:pt x="28488" y="323171"/>
                  </a:cubicBezTo>
                  <a:cubicBezTo>
                    <a:pt x="18850" y="309036"/>
                    <a:pt x="7285" y="256352"/>
                    <a:pt x="2145" y="236435"/>
                  </a:cubicBezTo>
                  <a:cubicBezTo>
                    <a:pt x="-2994" y="216518"/>
                    <a:pt x="2145" y="204311"/>
                    <a:pt x="6643" y="199171"/>
                  </a:cubicBezTo>
                  <a:cubicBezTo>
                    <a:pt x="11140" y="193389"/>
                    <a:pt x="54829" y="181182"/>
                    <a:pt x="67037" y="178611"/>
                  </a:cubicBezTo>
                  <a:cubicBezTo>
                    <a:pt x="79244" y="176041"/>
                    <a:pt x="98519" y="183109"/>
                    <a:pt x="111368" y="187606"/>
                  </a:cubicBezTo>
                  <a:cubicBezTo>
                    <a:pt x="124861" y="192104"/>
                    <a:pt x="126146" y="197886"/>
                    <a:pt x="138353" y="199171"/>
                  </a:cubicBezTo>
                  <a:cubicBezTo>
                    <a:pt x="151203" y="200456"/>
                    <a:pt x="162125" y="194674"/>
                    <a:pt x="162125" y="192104"/>
                  </a:cubicBezTo>
                  <a:cubicBezTo>
                    <a:pt x="162125" y="189534"/>
                    <a:pt x="158912" y="172187"/>
                    <a:pt x="153130" y="167689"/>
                  </a:cubicBezTo>
                  <a:cubicBezTo>
                    <a:pt x="147348" y="163192"/>
                    <a:pt x="151203" y="148415"/>
                    <a:pt x="153130" y="142632"/>
                  </a:cubicBezTo>
                  <a:cubicBezTo>
                    <a:pt x="155057" y="136850"/>
                    <a:pt x="165980" y="142632"/>
                    <a:pt x="172405" y="141990"/>
                  </a:cubicBezTo>
                  <a:cubicBezTo>
                    <a:pt x="178830" y="141347"/>
                    <a:pt x="187182" y="143275"/>
                    <a:pt x="192964" y="141990"/>
                  </a:cubicBezTo>
                  <a:cubicBezTo>
                    <a:pt x="198747" y="140705"/>
                    <a:pt x="257855" y="76456"/>
                    <a:pt x="261068" y="72601"/>
                  </a:cubicBezTo>
                  <a:cubicBezTo>
                    <a:pt x="264280" y="68104"/>
                    <a:pt x="282270" y="59751"/>
                    <a:pt x="293835" y="53326"/>
                  </a:cubicBezTo>
                  <a:cubicBezTo>
                    <a:pt x="305399" y="46259"/>
                    <a:pt x="311824" y="22487"/>
                    <a:pt x="311824" y="22487"/>
                  </a:cubicBezTo>
                  <a:cubicBezTo>
                    <a:pt x="317607" y="16705"/>
                    <a:pt x="323389" y="10280"/>
                    <a:pt x="328529" y="4497"/>
                  </a:cubicBezTo>
                  <a:cubicBezTo>
                    <a:pt x="329814" y="2570"/>
                    <a:pt x="331742" y="1285"/>
                    <a:pt x="333669" y="643"/>
                  </a:cubicBezTo>
                  <a:cubicBezTo>
                    <a:pt x="335596" y="0"/>
                    <a:pt x="336881" y="0"/>
                    <a:pt x="338809" y="0"/>
                  </a:cubicBezTo>
                  <a:cubicBezTo>
                    <a:pt x="342664" y="0"/>
                    <a:pt x="346519" y="0"/>
                    <a:pt x="349731" y="0"/>
                  </a:cubicBezTo>
                  <a:cubicBezTo>
                    <a:pt x="352944" y="0"/>
                    <a:pt x="356798" y="0"/>
                    <a:pt x="360011" y="1285"/>
                  </a:cubicBezTo>
                  <a:cubicBezTo>
                    <a:pt x="363223" y="2570"/>
                    <a:pt x="366436" y="4497"/>
                    <a:pt x="369648" y="6425"/>
                  </a:cubicBezTo>
                  <a:cubicBezTo>
                    <a:pt x="386353" y="18632"/>
                    <a:pt x="403700" y="30839"/>
                    <a:pt x="417192" y="45617"/>
                  </a:cubicBezTo>
                  <a:cubicBezTo>
                    <a:pt x="436467" y="67461"/>
                    <a:pt x="447389" y="94446"/>
                    <a:pt x="461524" y="120145"/>
                  </a:cubicBezTo>
                  <a:cubicBezTo>
                    <a:pt x="465379" y="126570"/>
                    <a:pt x="469234" y="132995"/>
                    <a:pt x="474374" y="138135"/>
                  </a:cubicBezTo>
                  <a:cubicBezTo>
                    <a:pt x="482726" y="144560"/>
                    <a:pt x="493648" y="147772"/>
                    <a:pt x="503928" y="149057"/>
                  </a:cubicBezTo>
                  <a:cubicBezTo>
                    <a:pt x="509068" y="149699"/>
                    <a:pt x="514850" y="149699"/>
                    <a:pt x="518705" y="145845"/>
                  </a:cubicBezTo>
                  <a:cubicBezTo>
                    <a:pt x="524488" y="139420"/>
                    <a:pt x="516778" y="127855"/>
                    <a:pt x="522560" y="121430"/>
                  </a:cubicBezTo>
                  <a:cubicBezTo>
                    <a:pt x="525130" y="118860"/>
                    <a:pt x="528343" y="118218"/>
                    <a:pt x="530913" y="115648"/>
                  </a:cubicBezTo>
                  <a:cubicBezTo>
                    <a:pt x="534768" y="111793"/>
                    <a:pt x="532840" y="103440"/>
                    <a:pt x="526415" y="102155"/>
                  </a:cubicBezTo>
                  <a:cubicBezTo>
                    <a:pt x="523203" y="101513"/>
                    <a:pt x="519990" y="102155"/>
                    <a:pt x="517420" y="101513"/>
                  </a:cubicBezTo>
                  <a:cubicBezTo>
                    <a:pt x="511638" y="99586"/>
                    <a:pt x="510995" y="91876"/>
                    <a:pt x="513565" y="86093"/>
                  </a:cubicBezTo>
                  <a:cubicBezTo>
                    <a:pt x="519990" y="71316"/>
                    <a:pt x="543120" y="67461"/>
                    <a:pt x="557897" y="65534"/>
                  </a:cubicBezTo>
                  <a:cubicBezTo>
                    <a:pt x="572674" y="63606"/>
                    <a:pt x="588094" y="65534"/>
                    <a:pt x="600944" y="71959"/>
                  </a:cubicBezTo>
                  <a:cubicBezTo>
                    <a:pt x="611866" y="77098"/>
                    <a:pt x="620861" y="86093"/>
                    <a:pt x="626001" y="96373"/>
                  </a:cubicBezTo>
                  <a:cubicBezTo>
                    <a:pt x="629856" y="102798"/>
                    <a:pt x="632426" y="110508"/>
                    <a:pt x="638850" y="114363"/>
                  </a:cubicBezTo>
                  <a:cubicBezTo>
                    <a:pt x="643990" y="117575"/>
                    <a:pt x="651058" y="116933"/>
                    <a:pt x="657483" y="116290"/>
                  </a:cubicBezTo>
                  <a:cubicBezTo>
                    <a:pt x="661980" y="115648"/>
                    <a:pt x="667120" y="115648"/>
                    <a:pt x="670975" y="112435"/>
                  </a:cubicBezTo>
                  <a:cubicBezTo>
                    <a:pt x="674830" y="109865"/>
                    <a:pt x="676757" y="106010"/>
                    <a:pt x="677400" y="101513"/>
                  </a:cubicBezTo>
                  <a:cubicBezTo>
                    <a:pt x="678685" y="95731"/>
                    <a:pt x="679327" y="89948"/>
                    <a:pt x="678042" y="84808"/>
                  </a:cubicBezTo>
                  <a:cubicBezTo>
                    <a:pt x="677400" y="82238"/>
                    <a:pt x="676757" y="79668"/>
                    <a:pt x="676115" y="77098"/>
                  </a:cubicBezTo>
                  <a:cubicBezTo>
                    <a:pt x="675472" y="71316"/>
                    <a:pt x="677400" y="65534"/>
                    <a:pt x="678042" y="59751"/>
                  </a:cubicBezTo>
                  <a:cubicBezTo>
                    <a:pt x="678685" y="53969"/>
                    <a:pt x="677400" y="47544"/>
                    <a:pt x="672902" y="43689"/>
                  </a:cubicBezTo>
                  <a:cubicBezTo>
                    <a:pt x="670332" y="41762"/>
                    <a:pt x="667762" y="41119"/>
                    <a:pt x="665192" y="39192"/>
                  </a:cubicBezTo>
                  <a:cubicBezTo>
                    <a:pt x="662622" y="37264"/>
                    <a:pt x="661337" y="34052"/>
                    <a:pt x="662622" y="31482"/>
                  </a:cubicBezTo>
                  <a:cubicBezTo>
                    <a:pt x="664550" y="28912"/>
                    <a:pt x="668405" y="28912"/>
                    <a:pt x="670332" y="27627"/>
                  </a:cubicBezTo>
                  <a:cubicBezTo>
                    <a:pt x="672902" y="25699"/>
                    <a:pt x="673545" y="21845"/>
                    <a:pt x="675472" y="18632"/>
                  </a:cubicBezTo>
                  <a:cubicBezTo>
                    <a:pt x="678042" y="12850"/>
                    <a:pt x="685110" y="8352"/>
                    <a:pt x="692177" y="8995"/>
                  </a:cubicBezTo>
                  <a:cubicBezTo>
                    <a:pt x="696032" y="8995"/>
                    <a:pt x="699887" y="10280"/>
                    <a:pt x="703099" y="8352"/>
                  </a:cubicBezTo>
                  <a:cubicBezTo>
                    <a:pt x="704384" y="7710"/>
                    <a:pt x="705669" y="6425"/>
                    <a:pt x="706954" y="5782"/>
                  </a:cubicBezTo>
                  <a:cubicBezTo>
                    <a:pt x="708239" y="5140"/>
                    <a:pt x="710167" y="4497"/>
                    <a:pt x="711452" y="4497"/>
                  </a:cubicBezTo>
                  <a:cubicBezTo>
                    <a:pt x="715307" y="3855"/>
                    <a:pt x="719804" y="4497"/>
                    <a:pt x="722374" y="6425"/>
                  </a:cubicBezTo>
                  <a:cubicBezTo>
                    <a:pt x="725586" y="8995"/>
                    <a:pt x="726229" y="13492"/>
                    <a:pt x="723016" y="16062"/>
                  </a:cubicBezTo>
                  <a:cubicBezTo>
                    <a:pt x="722374" y="16705"/>
                    <a:pt x="720446" y="17347"/>
                    <a:pt x="719804" y="17990"/>
                  </a:cubicBezTo>
                  <a:cubicBezTo>
                    <a:pt x="719161" y="18632"/>
                    <a:pt x="719161" y="19917"/>
                    <a:pt x="719161" y="21202"/>
                  </a:cubicBezTo>
                  <a:cubicBezTo>
                    <a:pt x="721089" y="39192"/>
                    <a:pt x="730084" y="53969"/>
                    <a:pt x="745503" y="64249"/>
                  </a:cubicBezTo>
                  <a:cubicBezTo>
                    <a:pt x="754498" y="70674"/>
                    <a:pt x="767990" y="68104"/>
                    <a:pt x="776985" y="64249"/>
                  </a:cubicBezTo>
                  <a:cubicBezTo>
                    <a:pt x="785980" y="60394"/>
                    <a:pt x="792405" y="63606"/>
                    <a:pt x="825814" y="57181"/>
                  </a:cubicBezTo>
                  <a:cubicBezTo>
                    <a:pt x="859224" y="50756"/>
                    <a:pt x="860508" y="46901"/>
                    <a:pt x="860508" y="46901"/>
                  </a:cubicBezTo>
                  <a:cubicBezTo>
                    <a:pt x="863079" y="47544"/>
                    <a:pt x="865649" y="46901"/>
                    <a:pt x="867576" y="46901"/>
                  </a:cubicBezTo>
                  <a:cubicBezTo>
                    <a:pt x="872716" y="46259"/>
                    <a:pt x="878498" y="47544"/>
                    <a:pt x="882996" y="50756"/>
                  </a:cubicBezTo>
                  <a:cubicBezTo>
                    <a:pt x="886851" y="53969"/>
                    <a:pt x="889420" y="59109"/>
                    <a:pt x="888136" y="64249"/>
                  </a:cubicBezTo>
                  <a:cubicBezTo>
                    <a:pt x="887493" y="66819"/>
                    <a:pt x="886208" y="68746"/>
                    <a:pt x="886851" y="71316"/>
                  </a:cubicBezTo>
                  <a:cubicBezTo>
                    <a:pt x="887493" y="74529"/>
                    <a:pt x="891348" y="77098"/>
                    <a:pt x="894560" y="78384"/>
                  </a:cubicBezTo>
                  <a:cubicBezTo>
                    <a:pt x="906768" y="83523"/>
                    <a:pt x="920902" y="83523"/>
                    <a:pt x="931825" y="89306"/>
                  </a:cubicBezTo>
                  <a:cubicBezTo>
                    <a:pt x="931825" y="89948"/>
                    <a:pt x="931825" y="91233"/>
                    <a:pt x="931825" y="92518"/>
                  </a:cubicBezTo>
                  <a:cubicBezTo>
                    <a:pt x="933110" y="100871"/>
                    <a:pt x="933752" y="98943"/>
                    <a:pt x="940177" y="108580"/>
                  </a:cubicBezTo>
                  <a:cubicBezTo>
                    <a:pt x="946602" y="118218"/>
                    <a:pt x="953669" y="132352"/>
                    <a:pt x="956239" y="137492"/>
                  </a:cubicBezTo>
                  <a:cubicBezTo>
                    <a:pt x="958167" y="142632"/>
                    <a:pt x="964592" y="145845"/>
                    <a:pt x="963949" y="149057"/>
                  </a:cubicBezTo>
                  <a:cubicBezTo>
                    <a:pt x="963306" y="152270"/>
                    <a:pt x="958809" y="156124"/>
                    <a:pt x="957524" y="160622"/>
                  </a:cubicBezTo>
                  <a:cubicBezTo>
                    <a:pt x="956239" y="165119"/>
                    <a:pt x="953669" y="166404"/>
                    <a:pt x="960737" y="172829"/>
                  </a:cubicBezTo>
                  <a:cubicBezTo>
                    <a:pt x="967804" y="179254"/>
                    <a:pt x="967804" y="181182"/>
                    <a:pt x="971659" y="183109"/>
                  </a:cubicBezTo>
                  <a:cubicBezTo>
                    <a:pt x="975514" y="185036"/>
                    <a:pt x="974229" y="182466"/>
                    <a:pt x="980654" y="186321"/>
                  </a:cubicBezTo>
                  <a:cubicBezTo>
                    <a:pt x="987079" y="190176"/>
                    <a:pt x="989648" y="189534"/>
                    <a:pt x="992861" y="195316"/>
                  </a:cubicBezTo>
                  <a:cubicBezTo>
                    <a:pt x="995431" y="201098"/>
                    <a:pt x="1002498" y="206881"/>
                    <a:pt x="1005711" y="208808"/>
                  </a:cubicBezTo>
                  <a:cubicBezTo>
                    <a:pt x="1008923" y="210736"/>
                    <a:pt x="1017918" y="212663"/>
                    <a:pt x="1024985" y="215876"/>
                  </a:cubicBezTo>
                  <a:cubicBezTo>
                    <a:pt x="1032053" y="219088"/>
                    <a:pt x="1045545" y="231938"/>
                    <a:pt x="1046187" y="232580"/>
                  </a:cubicBezTo>
                  <a:cubicBezTo>
                    <a:pt x="1046830" y="233223"/>
                    <a:pt x="1055182" y="241575"/>
                    <a:pt x="1058395" y="244788"/>
                  </a:cubicBezTo>
                  <a:cubicBezTo>
                    <a:pt x="1062250" y="248643"/>
                    <a:pt x="1066104" y="246073"/>
                    <a:pt x="1067390" y="254425"/>
                  </a:cubicBezTo>
                  <a:cubicBezTo>
                    <a:pt x="1068675" y="262777"/>
                    <a:pt x="1070602" y="265347"/>
                    <a:pt x="1068032" y="274342"/>
                  </a:cubicBezTo>
                  <a:cubicBezTo>
                    <a:pt x="1065462" y="283337"/>
                    <a:pt x="1063535" y="285264"/>
                    <a:pt x="1060322" y="290404"/>
                  </a:cubicBezTo>
                  <a:cubicBezTo>
                    <a:pt x="1057110" y="295544"/>
                    <a:pt x="1053897" y="302612"/>
                    <a:pt x="1050042" y="310321"/>
                  </a:cubicBezTo>
                  <a:cubicBezTo>
                    <a:pt x="1046187" y="318031"/>
                    <a:pt x="1041047" y="327669"/>
                    <a:pt x="1042333" y="338591"/>
                  </a:cubicBezTo>
                  <a:cubicBezTo>
                    <a:pt x="1043617" y="349513"/>
                    <a:pt x="1054540" y="353368"/>
                    <a:pt x="1057752" y="355938"/>
                  </a:cubicBezTo>
                  <a:cubicBezTo>
                    <a:pt x="1060965" y="358508"/>
                    <a:pt x="1062892" y="364290"/>
                    <a:pt x="1062892" y="364933"/>
                  </a:cubicBezTo>
                  <a:cubicBezTo>
                    <a:pt x="1062892" y="366218"/>
                    <a:pt x="1080882" y="382280"/>
                    <a:pt x="1084094" y="397700"/>
                  </a:cubicBezTo>
                  <a:cubicBezTo>
                    <a:pt x="1087307" y="413119"/>
                    <a:pt x="1077027" y="404124"/>
                    <a:pt x="1087307" y="421472"/>
                  </a:cubicBezTo>
                  <a:cubicBezTo>
                    <a:pt x="1097587" y="438819"/>
                    <a:pt x="1096944" y="442674"/>
                    <a:pt x="1106581" y="454239"/>
                  </a:cubicBezTo>
                  <a:cubicBezTo>
                    <a:pt x="1116219" y="465803"/>
                    <a:pt x="1135493" y="485720"/>
                    <a:pt x="1135493" y="485720"/>
                  </a:cubicBezTo>
                  <a:cubicBezTo>
                    <a:pt x="1135493" y="485720"/>
                    <a:pt x="1147700" y="487648"/>
                    <a:pt x="1153483" y="494073"/>
                  </a:cubicBezTo>
                  <a:cubicBezTo>
                    <a:pt x="1159265" y="500498"/>
                    <a:pt x="1166333" y="504353"/>
                    <a:pt x="1170187" y="503067"/>
                  </a:cubicBezTo>
                  <a:cubicBezTo>
                    <a:pt x="1174042" y="501783"/>
                    <a:pt x="1177255" y="497285"/>
                    <a:pt x="1182395" y="495358"/>
                  </a:cubicBezTo>
                  <a:cubicBezTo>
                    <a:pt x="1186892" y="493430"/>
                    <a:pt x="1192675" y="490860"/>
                    <a:pt x="1200384" y="494073"/>
                  </a:cubicBezTo>
                  <a:cubicBezTo>
                    <a:pt x="1207452" y="497285"/>
                    <a:pt x="1212592" y="506280"/>
                    <a:pt x="1215804" y="511420"/>
                  </a:cubicBezTo>
                  <a:cubicBezTo>
                    <a:pt x="1219659" y="516560"/>
                    <a:pt x="1237649" y="522342"/>
                    <a:pt x="1248571" y="539689"/>
                  </a:cubicBezTo>
                  <a:cubicBezTo>
                    <a:pt x="1258851" y="557679"/>
                    <a:pt x="1263991" y="562819"/>
                    <a:pt x="1271700" y="569886"/>
                  </a:cubicBezTo>
                  <a:cubicBezTo>
                    <a:pt x="1279410" y="576954"/>
                    <a:pt x="1305752" y="590446"/>
                    <a:pt x="1308322" y="593016"/>
                  </a:cubicBezTo>
                  <a:cubicBezTo>
                    <a:pt x="1310892" y="596228"/>
                    <a:pt x="1326954" y="605223"/>
                    <a:pt x="1326954" y="605223"/>
                  </a:cubicBezTo>
                  <a:cubicBezTo>
                    <a:pt x="1326954" y="605223"/>
                    <a:pt x="1334022" y="612933"/>
                    <a:pt x="1341089" y="623213"/>
                  </a:cubicBezTo>
                  <a:cubicBezTo>
                    <a:pt x="1348157" y="633493"/>
                    <a:pt x="1344944" y="639917"/>
                    <a:pt x="1359721" y="641845"/>
                  </a:cubicBezTo>
                  <a:cubicBezTo>
                    <a:pt x="1374498" y="644415"/>
                    <a:pt x="1390561" y="645700"/>
                    <a:pt x="1398270" y="645700"/>
                  </a:cubicBezTo>
                  <a:cubicBezTo>
                    <a:pt x="1406623" y="645700"/>
                    <a:pt x="1411120" y="654695"/>
                    <a:pt x="1413048" y="658550"/>
                  </a:cubicBezTo>
                  <a:cubicBezTo>
                    <a:pt x="1414975" y="662404"/>
                    <a:pt x="1422043" y="673969"/>
                    <a:pt x="1429110" y="679752"/>
                  </a:cubicBezTo>
                  <a:cubicBezTo>
                    <a:pt x="1435535" y="685534"/>
                    <a:pt x="1448384" y="684892"/>
                    <a:pt x="1452882" y="686819"/>
                  </a:cubicBezTo>
                  <a:cubicBezTo>
                    <a:pt x="1457379" y="688746"/>
                    <a:pt x="1461234" y="693886"/>
                    <a:pt x="1462519" y="696456"/>
                  </a:cubicBezTo>
                  <a:cubicBezTo>
                    <a:pt x="1463804" y="699026"/>
                    <a:pt x="1472799" y="715088"/>
                    <a:pt x="1478581" y="722156"/>
                  </a:cubicBezTo>
                  <a:cubicBezTo>
                    <a:pt x="1482436" y="729866"/>
                    <a:pt x="1490146" y="734363"/>
                    <a:pt x="1486934" y="738860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9" name="Freihandform 448">
              <a:extLst>
                <a:ext uri="{FF2B5EF4-FFF2-40B4-BE49-F238E27FC236}">
                  <a16:creationId xmlns:a16="http://schemas.microsoft.com/office/drawing/2014/main" id="{7B8110EB-E5C7-664D-64F4-FF6ED4ACF047}"/>
                </a:ext>
              </a:extLst>
            </p:cNvPr>
            <p:cNvSpPr/>
            <p:nvPr/>
          </p:nvSpPr>
          <p:spPr>
            <a:xfrm>
              <a:off x="3847531" y="2513690"/>
              <a:ext cx="19948" cy="19054"/>
            </a:xfrm>
            <a:custGeom>
              <a:avLst/>
              <a:gdLst>
                <a:gd name="connsiteX0" fmla="*/ 7489 w 19948"/>
                <a:gd name="connsiteY0" fmla="*/ 422 h 19054"/>
                <a:gd name="connsiteX1" fmla="*/ 1065 w 19948"/>
                <a:gd name="connsiteY1" fmla="*/ 5562 h 19054"/>
                <a:gd name="connsiteX2" fmla="*/ 422 w 19948"/>
                <a:gd name="connsiteY2" fmla="*/ 13914 h 19054"/>
                <a:gd name="connsiteX3" fmla="*/ 1065 w 19948"/>
                <a:gd name="connsiteY3" fmla="*/ 17769 h 19054"/>
                <a:gd name="connsiteX4" fmla="*/ 7489 w 19948"/>
                <a:gd name="connsiteY4" fmla="*/ 19054 h 19054"/>
                <a:gd name="connsiteX5" fmla="*/ 13914 w 19948"/>
                <a:gd name="connsiteY5" fmla="*/ 17769 h 19054"/>
                <a:gd name="connsiteX6" fmla="*/ 18412 w 19948"/>
                <a:gd name="connsiteY6" fmla="*/ 15842 h 19054"/>
                <a:gd name="connsiteX7" fmla="*/ 19697 w 19948"/>
                <a:gd name="connsiteY7" fmla="*/ 11344 h 19054"/>
                <a:gd name="connsiteX8" fmla="*/ 18412 w 19948"/>
                <a:gd name="connsiteY8" fmla="*/ 10059 h 19054"/>
                <a:gd name="connsiteX9" fmla="*/ 13914 w 19948"/>
                <a:gd name="connsiteY9" fmla="*/ 1064 h 19054"/>
                <a:gd name="connsiteX10" fmla="*/ 7489 w 19948"/>
                <a:gd name="connsiteY10" fmla="*/ 422 h 19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48" h="19054">
                  <a:moveTo>
                    <a:pt x="7489" y="422"/>
                  </a:moveTo>
                  <a:cubicBezTo>
                    <a:pt x="4920" y="1064"/>
                    <a:pt x="2349" y="2992"/>
                    <a:pt x="1065" y="5562"/>
                  </a:cubicBezTo>
                  <a:cubicBezTo>
                    <a:pt x="-220" y="8132"/>
                    <a:pt x="-220" y="11344"/>
                    <a:pt x="422" y="13914"/>
                  </a:cubicBezTo>
                  <a:cubicBezTo>
                    <a:pt x="422" y="15199"/>
                    <a:pt x="422" y="16484"/>
                    <a:pt x="1065" y="17769"/>
                  </a:cubicBezTo>
                  <a:cubicBezTo>
                    <a:pt x="2349" y="19054"/>
                    <a:pt x="6204" y="19054"/>
                    <a:pt x="7489" y="19054"/>
                  </a:cubicBezTo>
                  <a:cubicBezTo>
                    <a:pt x="9417" y="19054"/>
                    <a:pt x="11344" y="18412"/>
                    <a:pt x="13914" y="17769"/>
                  </a:cubicBezTo>
                  <a:cubicBezTo>
                    <a:pt x="15842" y="17127"/>
                    <a:pt x="17127" y="16484"/>
                    <a:pt x="18412" y="15842"/>
                  </a:cubicBezTo>
                  <a:cubicBezTo>
                    <a:pt x="19697" y="14557"/>
                    <a:pt x="20339" y="12629"/>
                    <a:pt x="19697" y="11344"/>
                  </a:cubicBezTo>
                  <a:cubicBezTo>
                    <a:pt x="19697" y="10702"/>
                    <a:pt x="19054" y="10059"/>
                    <a:pt x="18412" y="10059"/>
                  </a:cubicBezTo>
                  <a:cubicBezTo>
                    <a:pt x="16484" y="7489"/>
                    <a:pt x="16484" y="3634"/>
                    <a:pt x="13914" y="1064"/>
                  </a:cubicBezTo>
                  <a:cubicBezTo>
                    <a:pt x="11344" y="-220"/>
                    <a:pt x="9417" y="-220"/>
                    <a:pt x="7489" y="422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0" name="Freihandform 449">
              <a:extLst>
                <a:ext uri="{FF2B5EF4-FFF2-40B4-BE49-F238E27FC236}">
                  <a16:creationId xmlns:a16="http://schemas.microsoft.com/office/drawing/2014/main" id="{E2ABF00D-9AED-4DFF-56A3-D9B0752CC6C9}"/>
                </a:ext>
              </a:extLst>
            </p:cNvPr>
            <p:cNvSpPr/>
            <p:nvPr/>
          </p:nvSpPr>
          <p:spPr>
            <a:xfrm>
              <a:off x="3847531" y="2513690"/>
              <a:ext cx="19948" cy="19054"/>
            </a:xfrm>
            <a:custGeom>
              <a:avLst/>
              <a:gdLst>
                <a:gd name="connsiteX0" fmla="*/ 7489 w 19948"/>
                <a:gd name="connsiteY0" fmla="*/ 422 h 19054"/>
                <a:gd name="connsiteX1" fmla="*/ 1065 w 19948"/>
                <a:gd name="connsiteY1" fmla="*/ 5562 h 19054"/>
                <a:gd name="connsiteX2" fmla="*/ 422 w 19948"/>
                <a:gd name="connsiteY2" fmla="*/ 13914 h 19054"/>
                <a:gd name="connsiteX3" fmla="*/ 1065 w 19948"/>
                <a:gd name="connsiteY3" fmla="*/ 17769 h 19054"/>
                <a:gd name="connsiteX4" fmla="*/ 7489 w 19948"/>
                <a:gd name="connsiteY4" fmla="*/ 19054 h 19054"/>
                <a:gd name="connsiteX5" fmla="*/ 13914 w 19948"/>
                <a:gd name="connsiteY5" fmla="*/ 17769 h 19054"/>
                <a:gd name="connsiteX6" fmla="*/ 18412 w 19948"/>
                <a:gd name="connsiteY6" fmla="*/ 15842 h 19054"/>
                <a:gd name="connsiteX7" fmla="*/ 19697 w 19948"/>
                <a:gd name="connsiteY7" fmla="*/ 11344 h 19054"/>
                <a:gd name="connsiteX8" fmla="*/ 18412 w 19948"/>
                <a:gd name="connsiteY8" fmla="*/ 10059 h 19054"/>
                <a:gd name="connsiteX9" fmla="*/ 13914 w 19948"/>
                <a:gd name="connsiteY9" fmla="*/ 1064 h 19054"/>
                <a:gd name="connsiteX10" fmla="*/ 7489 w 19948"/>
                <a:gd name="connsiteY10" fmla="*/ 422 h 19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48" h="19054">
                  <a:moveTo>
                    <a:pt x="7489" y="422"/>
                  </a:moveTo>
                  <a:cubicBezTo>
                    <a:pt x="4920" y="1064"/>
                    <a:pt x="2349" y="2992"/>
                    <a:pt x="1065" y="5562"/>
                  </a:cubicBezTo>
                  <a:cubicBezTo>
                    <a:pt x="-220" y="8132"/>
                    <a:pt x="-220" y="11344"/>
                    <a:pt x="422" y="13914"/>
                  </a:cubicBezTo>
                  <a:cubicBezTo>
                    <a:pt x="422" y="15199"/>
                    <a:pt x="422" y="16484"/>
                    <a:pt x="1065" y="17769"/>
                  </a:cubicBezTo>
                  <a:cubicBezTo>
                    <a:pt x="2349" y="19054"/>
                    <a:pt x="6204" y="19054"/>
                    <a:pt x="7489" y="19054"/>
                  </a:cubicBezTo>
                  <a:cubicBezTo>
                    <a:pt x="9417" y="19054"/>
                    <a:pt x="11344" y="18412"/>
                    <a:pt x="13914" y="17769"/>
                  </a:cubicBezTo>
                  <a:cubicBezTo>
                    <a:pt x="15842" y="17127"/>
                    <a:pt x="17127" y="16484"/>
                    <a:pt x="18412" y="15842"/>
                  </a:cubicBezTo>
                  <a:cubicBezTo>
                    <a:pt x="19697" y="14557"/>
                    <a:pt x="20339" y="12629"/>
                    <a:pt x="19697" y="11344"/>
                  </a:cubicBezTo>
                  <a:cubicBezTo>
                    <a:pt x="19697" y="10702"/>
                    <a:pt x="19054" y="10059"/>
                    <a:pt x="18412" y="10059"/>
                  </a:cubicBezTo>
                  <a:cubicBezTo>
                    <a:pt x="16484" y="7489"/>
                    <a:pt x="16484" y="3634"/>
                    <a:pt x="13914" y="1064"/>
                  </a:cubicBezTo>
                  <a:cubicBezTo>
                    <a:pt x="11344" y="-220"/>
                    <a:pt x="9417" y="-220"/>
                    <a:pt x="7489" y="422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1" name="Freihandform 450">
              <a:extLst>
                <a:ext uri="{FF2B5EF4-FFF2-40B4-BE49-F238E27FC236}">
                  <a16:creationId xmlns:a16="http://schemas.microsoft.com/office/drawing/2014/main" id="{B857E09E-2422-3FC2-14AE-30AC5F6718AB}"/>
                </a:ext>
              </a:extLst>
            </p:cNvPr>
            <p:cNvSpPr/>
            <p:nvPr/>
          </p:nvSpPr>
          <p:spPr>
            <a:xfrm>
              <a:off x="3833176" y="2515397"/>
              <a:ext cx="6424" cy="12207"/>
            </a:xfrm>
            <a:custGeom>
              <a:avLst/>
              <a:gdLst>
                <a:gd name="connsiteX0" fmla="*/ 6425 w 6424"/>
                <a:gd name="connsiteY0" fmla="*/ 3212 h 12207"/>
                <a:gd name="connsiteX1" fmla="*/ 6425 w 6424"/>
                <a:gd name="connsiteY1" fmla="*/ 9637 h 12207"/>
                <a:gd name="connsiteX2" fmla="*/ 5782 w 6424"/>
                <a:gd name="connsiteY2" fmla="*/ 11565 h 12207"/>
                <a:gd name="connsiteX3" fmla="*/ 3855 w 6424"/>
                <a:gd name="connsiteY3" fmla="*/ 12207 h 12207"/>
                <a:gd name="connsiteX4" fmla="*/ 2570 w 6424"/>
                <a:gd name="connsiteY4" fmla="*/ 12207 h 12207"/>
                <a:gd name="connsiteX5" fmla="*/ 1927 w 6424"/>
                <a:gd name="connsiteY5" fmla="*/ 11565 h 12207"/>
                <a:gd name="connsiteX6" fmla="*/ 0 w 6424"/>
                <a:gd name="connsiteY6" fmla="*/ 5782 h 12207"/>
                <a:gd name="connsiteX7" fmla="*/ 0 w 6424"/>
                <a:gd name="connsiteY7" fmla="*/ 4497 h 12207"/>
                <a:gd name="connsiteX8" fmla="*/ 642 w 6424"/>
                <a:gd name="connsiteY8" fmla="*/ 3212 h 12207"/>
                <a:gd name="connsiteX9" fmla="*/ 1927 w 6424"/>
                <a:gd name="connsiteY9" fmla="*/ 642 h 12207"/>
                <a:gd name="connsiteX10" fmla="*/ 5140 w 6424"/>
                <a:gd name="connsiteY10" fmla="*/ 0 h 12207"/>
                <a:gd name="connsiteX11" fmla="*/ 5782 w 6424"/>
                <a:gd name="connsiteY11" fmla="*/ 0 h 12207"/>
                <a:gd name="connsiteX12" fmla="*/ 6425 w 6424"/>
                <a:gd name="connsiteY12" fmla="*/ 642 h 12207"/>
                <a:gd name="connsiteX13" fmla="*/ 6425 w 6424"/>
                <a:gd name="connsiteY13" fmla="*/ 3212 h 1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4" h="12207">
                  <a:moveTo>
                    <a:pt x="6425" y="3212"/>
                  </a:moveTo>
                  <a:cubicBezTo>
                    <a:pt x="6425" y="5140"/>
                    <a:pt x="6425" y="7710"/>
                    <a:pt x="6425" y="9637"/>
                  </a:cubicBezTo>
                  <a:cubicBezTo>
                    <a:pt x="6425" y="10280"/>
                    <a:pt x="6425" y="11565"/>
                    <a:pt x="5782" y="11565"/>
                  </a:cubicBezTo>
                  <a:cubicBezTo>
                    <a:pt x="5140" y="12207"/>
                    <a:pt x="4497" y="12207"/>
                    <a:pt x="3855" y="12207"/>
                  </a:cubicBezTo>
                  <a:cubicBezTo>
                    <a:pt x="3212" y="12207"/>
                    <a:pt x="2570" y="12207"/>
                    <a:pt x="2570" y="12207"/>
                  </a:cubicBezTo>
                  <a:cubicBezTo>
                    <a:pt x="1927" y="12207"/>
                    <a:pt x="1927" y="11565"/>
                    <a:pt x="1927" y="11565"/>
                  </a:cubicBezTo>
                  <a:cubicBezTo>
                    <a:pt x="642" y="9637"/>
                    <a:pt x="0" y="7710"/>
                    <a:pt x="0" y="5782"/>
                  </a:cubicBezTo>
                  <a:cubicBezTo>
                    <a:pt x="0" y="5140"/>
                    <a:pt x="0" y="4497"/>
                    <a:pt x="0" y="4497"/>
                  </a:cubicBezTo>
                  <a:cubicBezTo>
                    <a:pt x="0" y="3855"/>
                    <a:pt x="642" y="3855"/>
                    <a:pt x="642" y="3212"/>
                  </a:cubicBezTo>
                  <a:cubicBezTo>
                    <a:pt x="1285" y="2570"/>
                    <a:pt x="1285" y="1285"/>
                    <a:pt x="1927" y="642"/>
                  </a:cubicBezTo>
                  <a:cubicBezTo>
                    <a:pt x="2570" y="0"/>
                    <a:pt x="3855" y="0"/>
                    <a:pt x="5140" y="0"/>
                  </a:cubicBezTo>
                  <a:cubicBezTo>
                    <a:pt x="5140" y="0"/>
                    <a:pt x="5782" y="0"/>
                    <a:pt x="5782" y="0"/>
                  </a:cubicBezTo>
                  <a:cubicBezTo>
                    <a:pt x="5782" y="0"/>
                    <a:pt x="6425" y="642"/>
                    <a:pt x="6425" y="642"/>
                  </a:cubicBezTo>
                  <a:cubicBezTo>
                    <a:pt x="6425" y="1927"/>
                    <a:pt x="6425" y="2570"/>
                    <a:pt x="6425" y="3212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2" name="Freihandform 451">
              <a:extLst>
                <a:ext uri="{FF2B5EF4-FFF2-40B4-BE49-F238E27FC236}">
                  <a16:creationId xmlns:a16="http://schemas.microsoft.com/office/drawing/2014/main" id="{0D89F218-2250-65CA-0BFB-83A5ECC6320D}"/>
                </a:ext>
              </a:extLst>
            </p:cNvPr>
            <p:cNvSpPr/>
            <p:nvPr/>
          </p:nvSpPr>
          <p:spPr>
            <a:xfrm>
              <a:off x="3833176" y="2515397"/>
              <a:ext cx="6424" cy="12207"/>
            </a:xfrm>
            <a:custGeom>
              <a:avLst/>
              <a:gdLst>
                <a:gd name="connsiteX0" fmla="*/ 6425 w 6424"/>
                <a:gd name="connsiteY0" fmla="*/ 3212 h 12207"/>
                <a:gd name="connsiteX1" fmla="*/ 6425 w 6424"/>
                <a:gd name="connsiteY1" fmla="*/ 9637 h 12207"/>
                <a:gd name="connsiteX2" fmla="*/ 5782 w 6424"/>
                <a:gd name="connsiteY2" fmla="*/ 11565 h 12207"/>
                <a:gd name="connsiteX3" fmla="*/ 3855 w 6424"/>
                <a:gd name="connsiteY3" fmla="*/ 12207 h 12207"/>
                <a:gd name="connsiteX4" fmla="*/ 2570 w 6424"/>
                <a:gd name="connsiteY4" fmla="*/ 12207 h 12207"/>
                <a:gd name="connsiteX5" fmla="*/ 1927 w 6424"/>
                <a:gd name="connsiteY5" fmla="*/ 11565 h 12207"/>
                <a:gd name="connsiteX6" fmla="*/ 0 w 6424"/>
                <a:gd name="connsiteY6" fmla="*/ 5782 h 12207"/>
                <a:gd name="connsiteX7" fmla="*/ 0 w 6424"/>
                <a:gd name="connsiteY7" fmla="*/ 4497 h 12207"/>
                <a:gd name="connsiteX8" fmla="*/ 642 w 6424"/>
                <a:gd name="connsiteY8" fmla="*/ 3212 h 12207"/>
                <a:gd name="connsiteX9" fmla="*/ 1927 w 6424"/>
                <a:gd name="connsiteY9" fmla="*/ 642 h 12207"/>
                <a:gd name="connsiteX10" fmla="*/ 5140 w 6424"/>
                <a:gd name="connsiteY10" fmla="*/ 0 h 12207"/>
                <a:gd name="connsiteX11" fmla="*/ 5782 w 6424"/>
                <a:gd name="connsiteY11" fmla="*/ 0 h 12207"/>
                <a:gd name="connsiteX12" fmla="*/ 6425 w 6424"/>
                <a:gd name="connsiteY12" fmla="*/ 642 h 12207"/>
                <a:gd name="connsiteX13" fmla="*/ 6425 w 6424"/>
                <a:gd name="connsiteY13" fmla="*/ 3212 h 1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4" h="12207">
                  <a:moveTo>
                    <a:pt x="6425" y="3212"/>
                  </a:moveTo>
                  <a:cubicBezTo>
                    <a:pt x="6425" y="5140"/>
                    <a:pt x="6425" y="7710"/>
                    <a:pt x="6425" y="9637"/>
                  </a:cubicBezTo>
                  <a:cubicBezTo>
                    <a:pt x="6425" y="10280"/>
                    <a:pt x="6425" y="11565"/>
                    <a:pt x="5782" y="11565"/>
                  </a:cubicBezTo>
                  <a:cubicBezTo>
                    <a:pt x="5140" y="12207"/>
                    <a:pt x="4497" y="12207"/>
                    <a:pt x="3855" y="12207"/>
                  </a:cubicBezTo>
                  <a:cubicBezTo>
                    <a:pt x="3212" y="12207"/>
                    <a:pt x="2570" y="12207"/>
                    <a:pt x="2570" y="12207"/>
                  </a:cubicBezTo>
                  <a:cubicBezTo>
                    <a:pt x="1927" y="12207"/>
                    <a:pt x="1927" y="11565"/>
                    <a:pt x="1927" y="11565"/>
                  </a:cubicBezTo>
                  <a:cubicBezTo>
                    <a:pt x="642" y="9637"/>
                    <a:pt x="0" y="7710"/>
                    <a:pt x="0" y="5782"/>
                  </a:cubicBezTo>
                  <a:cubicBezTo>
                    <a:pt x="0" y="5140"/>
                    <a:pt x="0" y="4497"/>
                    <a:pt x="0" y="4497"/>
                  </a:cubicBezTo>
                  <a:cubicBezTo>
                    <a:pt x="0" y="3855"/>
                    <a:pt x="642" y="3855"/>
                    <a:pt x="642" y="3212"/>
                  </a:cubicBezTo>
                  <a:cubicBezTo>
                    <a:pt x="1285" y="2570"/>
                    <a:pt x="1285" y="1285"/>
                    <a:pt x="1927" y="642"/>
                  </a:cubicBezTo>
                  <a:cubicBezTo>
                    <a:pt x="2570" y="0"/>
                    <a:pt x="3855" y="0"/>
                    <a:pt x="5140" y="0"/>
                  </a:cubicBezTo>
                  <a:cubicBezTo>
                    <a:pt x="5140" y="0"/>
                    <a:pt x="5782" y="0"/>
                    <a:pt x="5782" y="0"/>
                  </a:cubicBezTo>
                  <a:cubicBezTo>
                    <a:pt x="5782" y="0"/>
                    <a:pt x="6425" y="642"/>
                    <a:pt x="6425" y="642"/>
                  </a:cubicBezTo>
                  <a:cubicBezTo>
                    <a:pt x="6425" y="1927"/>
                    <a:pt x="6425" y="2570"/>
                    <a:pt x="6425" y="3212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3" name="Freihandform 452">
              <a:extLst>
                <a:ext uri="{FF2B5EF4-FFF2-40B4-BE49-F238E27FC236}">
                  <a16:creationId xmlns:a16="http://schemas.microsoft.com/office/drawing/2014/main" id="{A40835BA-D953-99F9-424D-223B1AB30F80}"/>
                </a:ext>
              </a:extLst>
            </p:cNvPr>
            <p:cNvSpPr/>
            <p:nvPr/>
          </p:nvSpPr>
          <p:spPr>
            <a:xfrm>
              <a:off x="3776116" y="2333695"/>
              <a:ext cx="174065" cy="185041"/>
            </a:xfrm>
            <a:custGeom>
              <a:avLst/>
              <a:gdLst>
                <a:gd name="connsiteX0" fmla="*/ 118097 w 174065"/>
                <a:gd name="connsiteY0" fmla="*/ 96252 h 185041"/>
                <a:gd name="connsiteX1" fmla="*/ 123879 w 174065"/>
                <a:gd name="connsiteY1" fmla="*/ 81475 h 185041"/>
                <a:gd name="connsiteX2" fmla="*/ 129019 w 174065"/>
                <a:gd name="connsiteY2" fmla="*/ 75692 h 185041"/>
                <a:gd name="connsiteX3" fmla="*/ 135444 w 174065"/>
                <a:gd name="connsiteY3" fmla="*/ 73765 h 185041"/>
                <a:gd name="connsiteX4" fmla="*/ 146366 w 174065"/>
                <a:gd name="connsiteY4" fmla="*/ 47423 h 185041"/>
                <a:gd name="connsiteX5" fmla="*/ 141226 w 174065"/>
                <a:gd name="connsiteY5" fmla="*/ 40998 h 185041"/>
                <a:gd name="connsiteX6" fmla="*/ 116811 w 174065"/>
                <a:gd name="connsiteY6" fmla="*/ 42283 h 185041"/>
                <a:gd name="connsiteX7" fmla="*/ 92397 w 174065"/>
                <a:gd name="connsiteY7" fmla="*/ 47423 h 185041"/>
                <a:gd name="connsiteX8" fmla="*/ 81475 w 174065"/>
                <a:gd name="connsiteY8" fmla="*/ 42925 h 185041"/>
                <a:gd name="connsiteX9" fmla="*/ 71837 w 174065"/>
                <a:gd name="connsiteY9" fmla="*/ 46780 h 185041"/>
                <a:gd name="connsiteX10" fmla="*/ 73765 w 174065"/>
                <a:gd name="connsiteY10" fmla="*/ 53205 h 185041"/>
                <a:gd name="connsiteX11" fmla="*/ 84687 w 174065"/>
                <a:gd name="connsiteY11" fmla="*/ 58345 h 185041"/>
                <a:gd name="connsiteX12" fmla="*/ 97537 w 174065"/>
                <a:gd name="connsiteY12" fmla="*/ 59630 h 185041"/>
                <a:gd name="connsiteX13" fmla="*/ 101392 w 174065"/>
                <a:gd name="connsiteY13" fmla="*/ 67982 h 185041"/>
                <a:gd name="connsiteX14" fmla="*/ 86615 w 174065"/>
                <a:gd name="connsiteY14" fmla="*/ 81475 h 185041"/>
                <a:gd name="connsiteX15" fmla="*/ 73765 w 174065"/>
                <a:gd name="connsiteY15" fmla="*/ 70552 h 185041"/>
                <a:gd name="connsiteX16" fmla="*/ 66698 w 174065"/>
                <a:gd name="connsiteY16" fmla="*/ 55133 h 185041"/>
                <a:gd name="connsiteX17" fmla="*/ 59630 w 174065"/>
                <a:gd name="connsiteY17" fmla="*/ 45495 h 185041"/>
                <a:gd name="connsiteX18" fmla="*/ 58345 w 174065"/>
                <a:gd name="connsiteY18" fmla="*/ 37143 h 185041"/>
                <a:gd name="connsiteX19" fmla="*/ 70552 w 174065"/>
                <a:gd name="connsiteY19" fmla="*/ 12729 h 185041"/>
                <a:gd name="connsiteX20" fmla="*/ 77620 w 174065"/>
                <a:gd name="connsiteY20" fmla="*/ 9516 h 185041"/>
                <a:gd name="connsiteX21" fmla="*/ 78905 w 174065"/>
                <a:gd name="connsiteY21" fmla="*/ 2449 h 185041"/>
                <a:gd name="connsiteX22" fmla="*/ 76335 w 174065"/>
                <a:gd name="connsiteY22" fmla="*/ 1164 h 185041"/>
                <a:gd name="connsiteX23" fmla="*/ 58345 w 174065"/>
                <a:gd name="connsiteY23" fmla="*/ 1806 h 185041"/>
                <a:gd name="connsiteX24" fmla="*/ 40998 w 174065"/>
                <a:gd name="connsiteY24" fmla="*/ 8231 h 185041"/>
                <a:gd name="connsiteX25" fmla="*/ 27506 w 174065"/>
                <a:gd name="connsiteY25" fmla="*/ 12086 h 185041"/>
                <a:gd name="connsiteX26" fmla="*/ 21081 w 174065"/>
                <a:gd name="connsiteY26" fmla="*/ 26863 h 185041"/>
                <a:gd name="connsiteX27" fmla="*/ 24936 w 174065"/>
                <a:gd name="connsiteY27" fmla="*/ 36501 h 185041"/>
                <a:gd name="connsiteX28" fmla="*/ 30718 w 174065"/>
                <a:gd name="connsiteY28" fmla="*/ 44210 h 185041"/>
                <a:gd name="connsiteX29" fmla="*/ 37786 w 174065"/>
                <a:gd name="connsiteY29" fmla="*/ 50635 h 185041"/>
                <a:gd name="connsiteX30" fmla="*/ 42925 w 174065"/>
                <a:gd name="connsiteY30" fmla="*/ 53205 h 185041"/>
                <a:gd name="connsiteX31" fmla="*/ 48065 w 174065"/>
                <a:gd name="connsiteY31" fmla="*/ 54490 h 185041"/>
                <a:gd name="connsiteX32" fmla="*/ 46780 w 174065"/>
                <a:gd name="connsiteY32" fmla="*/ 58345 h 185041"/>
                <a:gd name="connsiteX33" fmla="*/ 42925 w 174065"/>
                <a:gd name="connsiteY33" fmla="*/ 60273 h 185041"/>
                <a:gd name="connsiteX34" fmla="*/ 31361 w 174065"/>
                <a:gd name="connsiteY34" fmla="*/ 59630 h 185041"/>
                <a:gd name="connsiteX35" fmla="*/ 13371 w 174065"/>
                <a:gd name="connsiteY35" fmla="*/ 62200 h 185041"/>
                <a:gd name="connsiteX36" fmla="*/ 6946 w 174065"/>
                <a:gd name="connsiteY36" fmla="*/ 71837 h 185041"/>
                <a:gd name="connsiteX37" fmla="*/ 15941 w 174065"/>
                <a:gd name="connsiteY37" fmla="*/ 81475 h 185041"/>
                <a:gd name="connsiteX38" fmla="*/ 21723 w 174065"/>
                <a:gd name="connsiteY38" fmla="*/ 92397 h 185041"/>
                <a:gd name="connsiteX39" fmla="*/ 13371 w 174065"/>
                <a:gd name="connsiteY39" fmla="*/ 100749 h 185041"/>
                <a:gd name="connsiteX40" fmla="*/ 17226 w 174065"/>
                <a:gd name="connsiteY40" fmla="*/ 109744 h 185041"/>
                <a:gd name="connsiteX41" fmla="*/ 27506 w 174065"/>
                <a:gd name="connsiteY41" fmla="*/ 114242 h 185041"/>
                <a:gd name="connsiteX42" fmla="*/ 35216 w 174065"/>
                <a:gd name="connsiteY42" fmla="*/ 121309 h 185041"/>
                <a:gd name="connsiteX43" fmla="*/ 28148 w 174065"/>
                <a:gd name="connsiteY43" fmla="*/ 135444 h 185041"/>
                <a:gd name="connsiteX44" fmla="*/ 10801 w 174065"/>
                <a:gd name="connsiteY44" fmla="*/ 139299 h 185041"/>
                <a:gd name="connsiteX45" fmla="*/ 1164 w 174065"/>
                <a:gd name="connsiteY45" fmla="*/ 148293 h 185041"/>
                <a:gd name="connsiteX46" fmla="*/ 1806 w 174065"/>
                <a:gd name="connsiteY46" fmla="*/ 161143 h 185041"/>
                <a:gd name="connsiteX47" fmla="*/ 14014 w 174065"/>
                <a:gd name="connsiteY47" fmla="*/ 172065 h 185041"/>
                <a:gd name="connsiteX48" fmla="*/ 35858 w 174065"/>
                <a:gd name="connsiteY48" fmla="*/ 182988 h 185041"/>
                <a:gd name="connsiteX49" fmla="*/ 40356 w 174065"/>
                <a:gd name="connsiteY49" fmla="*/ 184915 h 185041"/>
                <a:gd name="connsiteX50" fmla="*/ 51278 w 174065"/>
                <a:gd name="connsiteY50" fmla="*/ 181703 h 185041"/>
                <a:gd name="connsiteX51" fmla="*/ 58988 w 174065"/>
                <a:gd name="connsiteY51" fmla="*/ 173350 h 185041"/>
                <a:gd name="connsiteX52" fmla="*/ 60273 w 174065"/>
                <a:gd name="connsiteY52" fmla="*/ 172708 h 185041"/>
                <a:gd name="connsiteX53" fmla="*/ 61558 w 174065"/>
                <a:gd name="connsiteY53" fmla="*/ 172708 h 185041"/>
                <a:gd name="connsiteX54" fmla="*/ 77620 w 174065"/>
                <a:gd name="connsiteY54" fmla="*/ 168853 h 185041"/>
                <a:gd name="connsiteX55" fmla="*/ 88542 w 174065"/>
                <a:gd name="connsiteY55" fmla="*/ 161786 h 185041"/>
                <a:gd name="connsiteX56" fmla="*/ 99464 w 174065"/>
                <a:gd name="connsiteY56" fmla="*/ 154718 h 185041"/>
                <a:gd name="connsiteX57" fmla="*/ 105889 w 174065"/>
                <a:gd name="connsiteY57" fmla="*/ 150221 h 185041"/>
                <a:gd name="connsiteX58" fmla="*/ 113599 w 174065"/>
                <a:gd name="connsiteY58" fmla="*/ 148936 h 185041"/>
                <a:gd name="connsiteX59" fmla="*/ 120024 w 174065"/>
                <a:gd name="connsiteY59" fmla="*/ 154718 h 185041"/>
                <a:gd name="connsiteX60" fmla="*/ 129661 w 174065"/>
                <a:gd name="connsiteY60" fmla="*/ 152148 h 185041"/>
                <a:gd name="connsiteX61" fmla="*/ 150221 w 174065"/>
                <a:gd name="connsiteY61" fmla="*/ 145723 h 185041"/>
                <a:gd name="connsiteX62" fmla="*/ 153433 w 174065"/>
                <a:gd name="connsiteY62" fmla="*/ 145723 h 185041"/>
                <a:gd name="connsiteX63" fmla="*/ 156003 w 174065"/>
                <a:gd name="connsiteY63" fmla="*/ 147008 h 185041"/>
                <a:gd name="connsiteX64" fmla="*/ 161786 w 174065"/>
                <a:gd name="connsiteY64" fmla="*/ 151506 h 185041"/>
                <a:gd name="connsiteX65" fmla="*/ 157931 w 174065"/>
                <a:gd name="connsiteY65" fmla="*/ 166926 h 185041"/>
                <a:gd name="connsiteX66" fmla="*/ 166283 w 174065"/>
                <a:gd name="connsiteY66" fmla="*/ 170780 h 185041"/>
                <a:gd name="connsiteX67" fmla="*/ 170780 w 174065"/>
                <a:gd name="connsiteY67" fmla="*/ 166926 h 185041"/>
                <a:gd name="connsiteX68" fmla="*/ 173350 w 174065"/>
                <a:gd name="connsiteY68" fmla="*/ 155361 h 185041"/>
                <a:gd name="connsiteX69" fmla="*/ 170780 w 174065"/>
                <a:gd name="connsiteY69" fmla="*/ 148936 h 185041"/>
                <a:gd name="connsiteX70" fmla="*/ 173993 w 174065"/>
                <a:gd name="connsiteY70" fmla="*/ 137371 h 185041"/>
                <a:gd name="connsiteX71" fmla="*/ 169496 w 174065"/>
                <a:gd name="connsiteY71" fmla="*/ 132231 h 185041"/>
                <a:gd name="connsiteX72" fmla="*/ 163071 w 174065"/>
                <a:gd name="connsiteY72" fmla="*/ 129019 h 185041"/>
                <a:gd name="connsiteX73" fmla="*/ 157288 w 174065"/>
                <a:gd name="connsiteY73" fmla="*/ 125164 h 185041"/>
                <a:gd name="connsiteX74" fmla="*/ 148936 w 174065"/>
                <a:gd name="connsiteY74" fmla="*/ 122594 h 185041"/>
                <a:gd name="connsiteX75" fmla="*/ 128376 w 174065"/>
                <a:gd name="connsiteY75" fmla="*/ 112957 h 185041"/>
                <a:gd name="connsiteX76" fmla="*/ 125806 w 174065"/>
                <a:gd name="connsiteY76" fmla="*/ 111029 h 185041"/>
                <a:gd name="connsiteX77" fmla="*/ 123879 w 174065"/>
                <a:gd name="connsiteY77" fmla="*/ 107174 h 185041"/>
                <a:gd name="connsiteX78" fmla="*/ 118739 w 174065"/>
                <a:gd name="connsiteY78" fmla="*/ 93039 h 185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74065" h="185041">
                  <a:moveTo>
                    <a:pt x="118097" y="96252"/>
                  </a:moveTo>
                  <a:cubicBezTo>
                    <a:pt x="119381" y="91112"/>
                    <a:pt x="121309" y="85972"/>
                    <a:pt x="123879" y="81475"/>
                  </a:cubicBezTo>
                  <a:cubicBezTo>
                    <a:pt x="125164" y="78905"/>
                    <a:pt x="127091" y="76977"/>
                    <a:pt x="129019" y="75692"/>
                  </a:cubicBezTo>
                  <a:cubicBezTo>
                    <a:pt x="130946" y="74407"/>
                    <a:pt x="133516" y="74407"/>
                    <a:pt x="135444" y="73765"/>
                  </a:cubicBezTo>
                  <a:cubicBezTo>
                    <a:pt x="145723" y="70552"/>
                    <a:pt x="150863" y="57060"/>
                    <a:pt x="146366" y="47423"/>
                  </a:cubicBezTo>
                  <a:cubicBezTo>
                    <a:pt x="145081" y="44853"/>
                    <a:pt x="143154" y="42283"/>
                    <a:pt x="141226" y="40998"/>
                  </a:cubicBezTo>
                  <a:cubicBezTo>
                    <a:pt x="134159" y="35858"/>
                    <a:pt x="124521" y="39071"/>
                    <a:pt x="116811" y="42283"/>
                  </a:cubicBezTo>
                  <a:cubicBezTo>
                    <a:pt x="109102" y="45495"/>
                    <a:pt x="100107" y="49993"/>
                    <a:pt x="92397" y="47423"/>
                  </a:cubicBezTo>
                  <a:cubicBezTo>
                    <a:pt x="88542" y="46138"/>
                    <a:pt x="85330" y="44210"/>
                    <a:pt x="81475" y="42925"/>
                  </a:cubicBezTo>
                  <a:cubicBezTo>
                    <a:pt x="77620" y="41640"/>
                    <a:pt x="72480" y="42925"/>
                    <a:pt x="71837" y="46780"/>
                  </a:cubicBezTo>
                  <a:cubicBezTo>
                    <a:pt x="71195" y="48708"/>
                    <a:pt x="72480" y="51278"/>
                    <a:pt x="73765" y="53205"/>
                  </a:cubicBezTo>
                  <a:cubicBezTo>
                    <a:pt x="76335" y="56418"/>
                    <a:pt x="80832" y="58345"/>
                    <a:pt x="84687" y="58345"/>
                  </a:cubicBezTo>
                  <a:cubicBezTo>
                    <a:pt x="89185" y="58988"/>
                    <a:pt x="93682" y="57703"/>
                    <a:pt x="97537" y="59630"/>
                  </a:cubicBezTo>
                  <a:cubicBezTo>
                    <a:pt x="100107" y="61558"/>
                    <a:pt x="101392" y="64770"/>
                    <a:pt x="101392" y="67982"/>
                  </a:cubicBezTo>
                  <a:cubicBezTo>
                    <a:pt x="101392" y="75050"/>
                    <a:pt x="94324" y="82760"/>
                    <a:pt x="86615" y="81475"/>
                  </a:cubicBezTo>
                  <a:cubicBezTo>
                    <a:pt x="80832" y="80832"/>
                    <a:pt x="76335" y="75692"/>
                    <a:pt x="73765" y="70552"/>
                  </a:cubicBezTo>
                  <a:cubicBezTo>
                    <a:pt x="71195" y="65413"/>
                    <a:pt x="69910" y="59630"/>
                    <a:pt x="66698" y="55133"/>
                  </a:cubicBezTo>
                  <a:cubicBezTo>
                    <a:pt x="64127" y="51920"/>
                    <a:pt x="60915" y="49350"/>
                    <a:pt x="59630" y="45495"/>
                  </a:cubicBezTo>
                  <a:cubicBezTo>
                    <a:pt x="58345" y="42925"/>
                    <a:pt x="58345" y="39713"/>
                    <a:pt x="58345" y="37143"/>
                  </a:cubicBezTo>
                  <a:cubicBezTo>
                    <a:pt x="58345" y="27506"/>
                    <a:pt x="61558" y="16583"/>
                    <a:pt x="70552" y="12729"/>
                  </a:cubicBezTo>
                  <a:cubicBezTo>
                    <a:pt x="73122" y="11444"/>
                    <a:pt x="75692" y="10801"/>
                    <a:pt x="77620" y="9516"/>
                  </a:cubicBezTo>
                  <a:cubicBezTo>
                    <a:pt x="79547" y="7589"/>
                    <a:pt x="80832" y="5019"/>
                    <a:pt x="78905" y="2449"/>
                  </a:cubicBezTo>
                  <a:cubicBezTo>
                    <a:pt x="78262" y="1806"/>
                    <a:pt x="77620" y="1164"/>
                    <a:pt x="76335" y="1164"/>
                  </a:cubicBezTo>
                  <a:cubicBezTo>
                    <a:pt x="70552" y="-764"/>
                    <a:pt x="64127" y="-121"/>
                    <a:pt x="58345" y="1806"/>
                  </a:cubicBezTo>
                  <a:cubicBezTo>
                    <a:pt x="52563" y="3734"/>
                    <a:pt x="46780" y="6946"/>
                    <a:pt x="40998" y="8231"/>
                  </a:cubicBezTo>
                  <a:cubicBezTo>
                    <a:pt x="36501" y="9516"/>
                    <a:pt x="31361" y="9516"/>
                    <a:pt x="27506" y="12086"/>
                  </a:cubicBezTo>
                  <a:cubicBezTo>
                    <a:pt x="22366" y="15299"/>
                    <a:pt x="20438" y="21081"/>
                    <a:pt x="21081" y="26863"/>
                  </a:cubicBezTo>
                  <a:cubicBezTo>
                    <a:pt x="21723" y="30076"/>
                    <a:pt x="23008" y="33931"/>
                    <a:pt x="24936" y="36501"/>
                  </a:cubicBezTo>
                  <a:cubicBezTo>
                    <a:pt x="26863" y="39071"/>
                    <a:pt x="29433" y="41640"/>
                    <a:pt x="30718" y="44210"/>
                  </a:cubicBezTo>
                  <a:cubicBezTo>
                    <a:pt x="32003" y="46780"/>
                    <a:pt x="35216" y="48708"/>
                    <a:pt x="37786" y="50635"/>
                  </a:cubicBezTo>
                  <a:cubicBezTo>
                    <a:pt x="39713" y="51278"/>
                    <a:pt x="40998" y="52563"/>
                    <a:pt x="42925" y="53205"/>
                  </a:cubicBezTo>
                  <a:cubicBezTo>
                    <a:pt x="43568" y="53205"/>
                    <a:pt x="48065" y="54490"/>
                    <a:pt x="48065" y="54490"/>
                  </a:cubicBezTo>
                  <a:cubicBezTo>
                    <a:pt x="48708" y="55775"/>
                    <a:pt x="48065" y="57060"/>
                    <a:pt x="46780" y="58345"/>
                  </a:cubicBezTo>
                  <a:cubicBezTo>
                    <a:pt x="45495" y="59630"/>
                    <a:pt x="44211" y="59630"/>
                    <a:pt x="42925" y="60273"/>
                  </a:cubicBezTo>
                  <a:cubicBezTo>
                    <a:pt x="39070" y="60915"/>
                    <a:pt x="35216" y="60273"/>
                    <a:pt x="31361" y="59630"/>
                  </a:cubicBezTo>
                  <a:cubicBezTo>
                    <a:pt x="24936" y="58345"/>
                    <a:pt x="19153" y="58988"/>
                    <a:pt x="13371" y="62200"/>
                  </a:cubicBezTo>
                  <a:cubicBezTo>
                    <a:pt x="9516" y="64128"/>
                    <a:pt x="6304" y="67982"/>
                    <a:pt x="6946" y="71837"/>
                  </a:cubicBezTo>
                  <a:cubicBezTo>
                    <a:pt x="7589" y="76335"/>
                    <a:pt x="12086" y="78905"/>
                    <a:pt x="15941" y="81475"/>
                  </a:cubicBezTo>
                  <a:cubicBezTo>
                    <a:pt x="19796" y="84045"/>
                    <a:pt x="23651" y="88542"/>
                    <a:pt x="21723" y="92397"/>
                  </a:cubicBezTo>
                  <a:cubicBezTo>
                    <a:pt x="20438" y="96252"/>
                    <a:pt x="15299" y="97537"/>
                    <a:pt x="13371" y="100749"/>
                  </a:cubicBezTo>
                  <a:cubicBezTo>
                    <a:pt x="12086" y="103962"/>
                    <a:pt x="14014" y="107817"/>
                    <a:pt x="17226" y="109744"/>
                  </a:cubicBezTo>
                  <a:cubicBezTo>
                    <a:pt x="20438" y="111672"/>
                    <a:pt x="24293" y="112957"/>
                    <a:pt x="27506" y="114242"/>
                  </a:cubicBezTo>
                  <a:cubicBezTo>
                    <a:pt x="30718" y="115527"/>
                    <a:pt x="34573" y="118096"/>
                    <a:pt x="35216" y="121309"/>
                  </a:cubicBezTo>
                  <a:cubicBezTo>
                    <a:pt x="37143" y="126449"/>
                    <a:pt x="32003" y="132231"/>
                    <a:pt x="28148" y="135444"/>
                  </a:cubicBezTo>
                  <a:cubicBezTo>
                    <a:pt x="24293" y="139299"/>
                    <a:pt x="15941" y="137371"/>
                    <a:pt x="10801" y="139299"/>
                  </a:cubicBezTo>
                  <a:cubicBezTo>
                    <a:pt x="6304" y="141226"/>
                    <a:pt x="3091" y="144438"/>
                    <a:pt x="1164" y="148293"/>
                  </a:cubicBezTo>
                  <a:cubicBezTo>
                    <a:pt x="-764" y="152148"/>
                    <a:pt x="-121" y="157288"/>
                    <a:pt x="1806" y="161143"/>
                  </a:cubicBezTo>
                  <a:cubicBezTo>
                    <a:pt x="4376" y="166283"/>
                    <a:pt x="8874" y="169495"/>
                    <a:pt x="14014" y="172065"/>
                  </a:cubicBezTo>
                  <a:cubicBezTo>
                    <a:pt x="21081" y="175920"/>
                    <a:pt x="28148" y="179775"/>
                    <a:pt x="35858" y="182988"/>
                  </a:cubicBezTo>
                  <a:cubicBezTo>
                    <a:pt x="37143" y="183630"/>
                    <a:pt x="38428" y="184273"/>
                    <a:pt x="40356" y="184915"/>
                  </a:cubicBezTo>
                  <a:cubicBezTo>
                    <a:pt x="44211" y="185558"/>
                    <a:pt x="48708" y="183630"/>
                    <a:pt x="51278" y="181703"/>
                  </a:cubicBezTo>
                  <a:cubicBezTo>
                    <a:pt x="54490" y="179133"/>
                    <a:pt x="56418" y="175920"/>
                    <a:pt x="58988" y="173350"/>
                  </a:cubicBezTo>
                  <a:cubicBezTo>
                    <a:pt x="59630" y="172708"/>
                    <a:pt x="59630" y="172708"/>
                    <a:pt x="60273" y="172708"/>
                  </a:cubicBezTo>
                  <a:cubicBezTo>
                    <a:pt x="60915" y="172708"/>
                    <a:pt x="61558" y="172708"/>
                    <a:pt x="61558" y="172708"/>
                  </a:cubicBezTo>
                  <a:cubicBezTo>
                    <a:pt x="67340" y="173350"/>
                    <a:pt x="73122" y="171423"/>
                    <a:pt x="77620" y="168853"/>
                  </a:cubicBezTo>
                  <a:cubicBezTo>
                    <a:pt x="81475" y="166926"/>
                    <a:pt x="84687" y="163713"/>
                    <a:pt x="88542" y="161786"/>
                  </a:cubicBezTo>
                  <a:cubicBezTo>
                    <a:pt x="92397" y="159858"/>
                    <a:pt x="96252" y="157931"/>
                    <a:pt x="99464" y="154718"/>
                  </a:cubicBezTo>
                  <a:cubicBezTo>
                    <a:pt x="101392" y="152791"/>
                    <a:pt x="103319" y="151506"/>
                    <a:pt x="105889" y="150221"/>
                  </a:cubicBezTo>
                  <a:cubicBezTo>
                    <a:pt x="108459" y="148936"/>
                    <a:pt x="111029" y="148293"/>
                    <a:pt x="113599" y="148936"/>
                  </a:cubicBezTo>
                  <a:cubicBezTo>
                    <a:pt x="112957" y="152148"/>
                    <a:pt x="116811" y="154718"/>
                    <a:pt x="120024" y="154718"/>
                  </a:cubicBezTo>
                  <a:cubicBezTo>
                    <a:pt x="123236" y="154718"/>
                    <a:pt x="126449" y="153433"/>
                    <a:pt x="129661" y="152148"/>
                  </a:cubicBezTo>
                  <a:cubicBezTo>
                    <a:pt x="136086" y="149578"/>
                    <a:pt x="143154" y="147008"/>
                    <a:pt x="150221" y="145723"/>
                  </a:cubicBezTo>
                  <a:cubicBezTo>
                    <a:pt x="151506" y="145723"/>
                    <a:pt x="152791" y="145081"/>
                    <a:pt x="153433" y="145723"/>
                  </a:cubicBezTo>
                  <a:cubicBezTo>
                    <a:pt x="154718" y="145723"/>
                    <a:pt x="155361" y="146366"/>
                    <a:pt x="156003" y="147008"/>
                  </a:cubicBezTo>
                  <a:cubicBezTo>
                    <a:pt x="158573" y="148293"/>
                    <a:pt x="161143" y="149578"/>
                    <a:pt x="161786" y="151506"/>
                  </a:cubicBezTo>
                  <a:cubicBezTo>
                    <a:pt x="163713" y="156646"/>
                    <a:pt x="156646" y="161143"/>
                    <a:pt x="157931" y="166926"/>
                  </a:cubicBezTo>
                  <a:cubicBezTo>
                    <a:pt x="158573" y="170138"/>
                    <a:pt x="163071" y="172065"/>
                    <a:pt x="166283" y="170780"/>
                  </a:cubicBezTo>
                  <a:cubicBezTo>
                    <a:pt x="168210" y="170138"/>
                    <a:pt x="169496" y="168853"/>
                    <a:pt x="170780" y="166926"/>
                  </a:cubicBezTo>
                  <a:cubicBezTo>
                    <a:pt x="172708" y="163713"/>
                    <a:pt x="174635" y="159216"/>
                    <a:pt x="173350" y="155361"/>
                  </a:cubicBezTo>
                  <a:cubicBezTo>
                    <a:pt x="172708" y="153433"/>
                    <a:pt x="171423" y="151506"/>
                    <a:pt x="170780" y="148936"/>
                  </a:cubicBezTo>
                  <a:cubicBezTo>
                    <a:pt x="170780" y="145081"/>
                    <a:pt x="174635" y="141226"/>
                    <a:pt x="173993" y="137371"/>
                  </a:cubicBezTo>
                  <a:cubicBezTo>
                    <a:pt x="173350" y="135444"/>
                    <a:pt x="171423" y="133516"/>
                    <a:pt x="169496" y="132231"/>
                  </a:cubicBezTo>
                  <a:cubicBezTo>
                    <a:pt x="167568" y="130946"/>
                    <a:pt x="164998" y="130304"/>
                    <a:pt x="163071" y="129019"/>
                  </a:cubicBezTo>
                  <a:cubicBezTo>
                    <a:pt x="161143" y="127734"/>
                    <a:pt x="159216" y="126449"/>
                    <a:pt x="157288" y="125164"/>
                  </a:cubicBezTo>
                  <a:cubicBezTo>
                    <a:pt x="154718" y="123879"/>
                    <a:pt x="151506" y="123236"/>
                    <a:pt x="148936" y="122594"/>
                  </a:cubicBezTo>
                  <a:cubicBezTo>
                    <a:pt x="141226" y="120666"/>
                    <a:pt x="134801" y="116812"/>
                    <a:pt x="128376" y="112957"/>
                  </a:cubicBezTo>
                  <a:cubicBezTo>
                    <a:pt x="127734" y="112314"/>
                    <a:pt x="126449" y="111672"/>
                    <a:pt x="125806" y="111029"/>
                  </a:cubicBezTo>
                  <a:cubicBezTo>
                    <a:pt x="125164" y="109744"/>
                    <a:pt x="124521" y="108459"/>
                    <a:pt x="123879" y="107174"/>
                  </a:cubicBezTo>
                  <a:cubicBezTo>
                    <a:pt x="121951" y="102677"/>
                    <a:pt x="120666" y="97537"/>
                    <a:pt x="118739" y="93039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4" name="Freihandform 453">
              <a:extLst>
                <a:ext uri="{FF2B5EF4-FFF2-40B4-BE49-F238E27FC236}">
                  <a16:creationId xmlns:a16="http://schemas.microsoft.com/office/drawing/2014/main" id="{03B3B36A-26A4-FCD9-8731-EF79D79EDAAB}"/>
                </a:ext>
              </a:extLst>
            </p:cNvPr>
            <p:cNvSpPr/>
            <p:nvPr/>
          </p:nvSpPr>
          <p:spPr>
            <a:xfrm>
              <a:off x="3776116" y="2333695"/>
              <a:ext cx="174065" cy="185041"/>
            </a:xfrm>
            <a:custGeom>
              <a:avLst/>
              <a:gdLst>
                <a:gd name="connsiteX0" fmla="*/ 118097 w 174065"/>
                <a:gd name="connsiteY0" fmla="*/ 96252 h 185041"/>
                <a:gd name="connsiteX1" fmla="*/ 123879 w 174065"/>
                <a:gd name="connsiteY1" fmla="*/ 81475 h 185041"/>
                <a:gd name="connsiteX2" fmla="*/ 129019 w 174065"/>
                <a:gd name="connsiteY2" fmla="*/ 75692 h 185041"/>
                <a:gd name="connsiteX3" fmla="*/ 135444 w 174065"/>
                <a:gd name="connsiteY3" fmla="*/ 73765 h 185041"/>
                <a:gd name="connsiteX4" fmla="*/ 146366 w 174065"/>
                <a:gd name="connsiteY4" fmla="*/ 47423 h 185041"/>
                <a:gd name="connsiteX5" fmla="*/ 141226 w 174065"/>
                <a:gd name="connsiteY5" fmla="*/ 40998 h 185041"/>
                <a:gd name="connsiteX6" fmla="*/ 116811 w 174065"/>
                <a:gd name="connsiteY6" fmla="*/ 42283 h 185041"/>
                <a:gd name="connsiteX7" fmla="*/ 92397 w 174065"/>
                <a:gd name="connsiteY7" fmla="*/ 47423 h 185041"/>
                <a:gd name="connsiteX8" fmla="*/ 81475 w 174065"/>
                <a:gd name="connsiteY8" fmla="*/ 42925 h 185041"/>
                <a:gd name="connsiteX9" fmla="*/ 71837 w 174065"/>
                <a:gd name="connsiteY9" fmla="*/ 46780 h 185041"/>
                <a:gd name="connsiteX10" fmla="*/ 73765 w 174065"/>
                <a:gd name="connsiteY10" fmla="*/ 53205 h 185041"/>
                <a:gd name="connsiteX11" fmla="*/ 84687 w 174065"/>
                <a:gd name="connsiteY11" fmla="*/ 58345 h 185041"/>
                <a:gd name="connsiteX12" fmla="*/ 97537 w 174065"/>
                <a:gd name="connsiteY12" fmla="*/ 59630 h 185041"/>
                <a:gd name="connsiteX13" fmla="*/ 101392 w 174065"/>
                <a:gd name="connsiteY13" fmla="*/ 67982 h 185041"/>
                <a:gd name="connsiteX14" fmla="*/ 86615 w 174065"/>
                <a:gd name="connsiteY14" fmla="*/ 81475 h 185041"/>
                <a:gd name="connsiteX15" fmla="*/ 73765 w 174065"/>
                <a:gd name="connsiteY15" fmla="*/ 70552 h 185041"/>
                <a:gd name="connsiteX16" fmla="*/ 66698 w 174065"/>
                <a:gd name="connsiteY16" fmla="*/ 55133 h 185041"/>
                <a:gd name="connsiteX17" fmla="*/ 59630 w 174065"/>
                <a:gd name="connsiteY17" fmla="*/ 45495 h 185041"/>
                <a:gd name="connsiteX18" fmla="*/ 58345 w 174065"/>
                <a:gd name="connsiteY18" fmla="*/ 37143 h 185041"/>
                <a:gd name="connsiteX19" fmla="*/ 70552 w 174065"/>
                <a:gd name="connsiteY19" fmla="*/ 12729 h 185041"/>
                <a:gd name="connsiteX20" fmla="*/ 77620 w 174065"/>
                <a:gd name="connsiteY20" fmla="*/ 9516 h 185041"/>
                <a:gd name="connsiteX21" fmla="*/ 78905 w 174065"/>
                <a:gd name="connsiteY21" fmla="*/ 2449 h 185041"/>
                <a:gd name="connsiteX22" fmla="*/ 76335 w 174065"/>
                <a:gd name="connsiteY22" fmla="*/ 1164 h 185041"/>
                <a:gd name="connsiteX23" fmla="*/ 58345 w 174065"/>
                <a:gd name="connsiteY23" fmla="*/ 1806 h 185041"/>
                <a:gd name="connsiteX24" fmla="*/ 40998 w 174065"/>
                <a:gd name="connsiteY24" fmla="*/ 8231 h 185041"/>
                <a:gd name="connsiteX25" fmla="*/ 27506 w 174065"/>
                <a:gd name="connsiteY25" fmla="*/ 12086 h 185041"/>
                <a:gd name="connsiteX26" fmla="*/ 21081 w 174065"/>
                <a:gd name="connsiteY26" fmla="*/ 26863 h 185041"/>
                <a:gd name="connsiteX27" fmla="*/ 24936 w 174065"/>
                <a:gd name="connsiteY27" fmla="*/ 36501 h 185041"/>
                <a:gd name="connsiteX28" fmla="*/ 30718 w 174065"/>
                <a:gd name="connsiteY28" fmla="*/ 44210 h 185041"/>
                <a:gd name="connsiteX29" fmla="*/ 37786 w 174065"/>
                <a:gd name="connsiteY29" fmla="*/ 50635 h 185041"/>
                <a:gd name="connsiteX30" fmla="*/ 42925 w 174065"/>
                <a:gd name="connsiteY30" fmla="*/ 53205 h 185041"/>
                <a:gd name="connsiteX31" fmla="*/ 48065 w 174065"/>
                <a:gd name="connsiteY31" fmla="*/ 54490 h 185041"/>
                <a:gd name="connsiteX32" fmla="*/ 46780 w 174065"/>
                <a:gd name="connsiteY32" fmla="*/ 58345 h 185041"/>
                <a:gd name="connsiteX33" fmla="*/ 42925 w 174065"/>
                <a:gd name="connsiteY33" fmla="*/ 60273 h 185041"/>
                <a:gd name="connsiteX34" fmla="*/ 31361 w 174065"/>
                <a:gd name="connsiteY34" fmla="*/ 59630 h 185041"/>
                <a:gd name="connsiteX35" fmla="*/ 13371 w 174065"/>
                <a:gd name="connsiteY35" fmla="*/ 62200 h 185041"/>
                <a:gd name="connsiteX36" fmla="*/ 6946 w 174065"/>
                <a:gd name="connsiteY36" fmla="*/ 71837 h 185041"/>
                <a:gd name="connsiteX37" fmla="*/ 15941 w 174065"/>
                <a:gd name="connsiteY37" fmla="*/ 81475 h 185041"/>
                <a:gd name="connsiteX38" fmla="*/ 21723 w 174065"/>
                <a:gd name="connsiteY38" fmla="*/ 92397 h 185041"/>
                <a:gd name="connsiteX39" fmla="*/ 13371 w 174065"/>
                <a:gd name="connsiteY39" fmla="*/ 100749 h 185041"/>
                <a:gd name="connsiteX40" fmla="*/ 17226 w 174065"/>
                <a:gd name="connsiteY40" fmla="*/ 109744 h 185041"/>
                <a:gd name="connsiteX41" fmla="*/ 27506 w 174065"/>
                <a:gd name="connsiteY41" fmla="*/ 114242 h 185041"/>
                <a:gd name="connsiteX42" fmla="*/ 35216 w 174065"/>
                <a:gd name="connsiteY42" fmla="*/ 121309 h 185041"/>
                <a:gd name="connsiteX43" fmla="*/ 28148 w 174065"/>
                <a:gd name="connsiteY43" fmla="*/ 135444 h 185041"/>
                <a:gd name="connsiteX44" fmla="*/ 10801 w 174065"/>
                <a:gd name="connsiteY44" fmla="*/ 139299 h 185041"/>
                <a:gd name="connsiteX45" fmla="*/ 1164 w 174065"/>
                <a:gd name="connsiteY45" fmla="*/ 148293 h 185041"/>
                <a:gd name="connsiteX46" fmla="*/ 1806 w 174065"/>
                <a:gd name="connsiteY46" fmla="*/ 161143 h 185041"/>
                <a:gd name="connsiteX47" fmla="*/ 14014 w 174065"/>
                <a:gd name="connsiteY47" fmla="*/ 172065 h 185041"/>
                <a:gd name="connsiteX48" fmla="*/ 35858 w 174065"/>
                <a:gd name="connsiteY48" fmla="*/ 182988 h 185041"/>
                <a:gd name="connsiteX49" fmla="*/ 40356 w 174065"/>
                <a:gd name="connsiteY49" fmla="*/ 184915 h 185041"/>
                <a:gd name="connsiteX50" fmla="*/ 51278 w 174065"/>
                <a:gd name="connsiteY50" fmla="*/ 181703 h 185041"/>
                <a:gd name="connsiteX51" fmla="*/ 58988 w 174065"/>
                <a:gd name="connsiteY51" fmla="*/ 173350 h 185041"/>
                <a:gd name="connsiteX52" fmla="*/ 60273 w 174065"/>
                <a:gd name="connsiteY52" fmla="*/ 172708 h 185041"/>
                <a:gd name="connsiteX53" fmla="*/ 61558 w 174065"/>
                <a:gd name="connsiteY53" fmla="*/ 172708 h 185041"/>
                <a:gd name="connsiteX54" fmla="*/ 77620 w 174065"/>
                <a:gd name="connsiteY54" fmla="*/ 168853 h 185041"/>
                <a:gd name="connsiteX55" fmla="*/ 88542 w 174065"/>
                <a:gd name="connsiteY55" fmla="*/ 161786 h 185041"/>
                <a:gd name="connsiteX56" fmla="*/ 99464 w 174065"/>
                <a:gd name="connsiteY56" fmla="*/ 154718 h 185041"/>
                <a:gd name="connsiteX57" fmla="*/ 105889 w 174065"/>
                <a:gd name="connsiteY57" fmla="*/ 150221 h 185041"/>
                <a:gd name="connsiteX58" fmla="*/ 113599 w 174065"/>
                <a:gd name="connsiteY58" fmla="*/ 148936 h 185041"/>
                <a:gd name="connsiteX59" fmla="*/ 120024 w 174065"/>
                <a:gd name="connsiteY59" fmla="*/ 154718 h 185041"/>
                <a:gd name="connsiteX60" fmla="*/ 129661 w 174065"/>
                <a:gd name="connsiteY60" fmla="*/ 152148 h 185041"/>
                <a:gd name="connsiteX61" fmla="*/ 150221 w 174065"/>
                <a:gd name="connsiteY61" fmla="*/ 145723 h 185041"/>
                <a:gd name="connsiteX62" fmla="*/ 153433 w 174065"/>
                <a:gd name="connsiteY62" fmla="*/ 145723 h 185041"/>
                <a:gd name="connsiteX63" fmla="*/ 156003 w 174065"/>
                <a:gd name="connsiteY63" fmla="*/ 147008 h 185041"/>
                <a:gd name="connsiteX64" fmla="*/ 161786 w 174065"/>
                <a:gd name="connsiteY64" fmla="*/ 151506 h 185041"/>
                <a:gd name="connsiteX65" fmla="*/ 157931 w 174065"/>
                <a:gd name="connsiteY65" fmla="*/ 166926 h 185041"/>
                <a:gd name="connsiteX66" fmla="*/ 166283 w 174065"/>
                <a:gd name="connsiteY66" fmla="*/ 170780 h 185041"/>
                <a:gd name="connsiteX67" fmla="*/ 170780 w 174065"/>
                <a:gd name="connsiteY67" fmla="*/ 166926 h 185041"/>
                <a:gd name="connsiteX68" fmla="*/ 173350 w 174065"/>
                <a:gd name="connsiteY68" fmla="*/ 155361 h 185041"/>
                <a:gd name="connsiteX69" fmla="*/ 170780 w 174065"/>
                <a:gd name="connsiteY69" fmla="*/ 148936 h 185041"/>
                <a:gd name="connsiteX70" fmla="*/ 173993 w 174065"/>
                <a:gd name="connsiteY70" fmla="*/ 137371 h 185041"/>
                <a:gd name="connsiteX71" fmla="*/ 169496 w 174065"/>
                <a:gd name="connsiteY71" fmla="*/ 132231 h 185041"/>
                <a:gd name="connsiteX72" fmla="*/ 163071 w 174065"/>
                <a:gd name="connsiteY72" fmla="*/ 129019 h 185041"/>
                <a:gd name="connsiteX73" fmla="*/ 157288 w 174065"/>
                <a:gd name="connsiteY73" fmla="*/ 125164 h 185041"/>
                <a:gd name="connsiteX74" fmla="*/ 148936 w 174065"/>
                <a:gd name="connsiteY74" fmla="*/ 122594 h 185041"/>
                <a:gd name="connsiteX75" fmla="*/ 128376 w 174065"/>
                <a:gd name="connsiteY75" fmla="*/ 112957 h 185041"/>
                <a:gd name="connsiteX76" fmla="*/ 125806 w 174065"/>
                <a:gd name="connsiteY76" fmla="*/ 111029 h 185041"/>
                <a:gd name="connsiteX77" fmla="*/ 123879 w 174065"/>
                <a:gd name="connsiteY77" fmla="*/ 107174 h 185041"/>
                <a:gd name="connsiteX78" fmla="*/ 118739 w 174065"/>
                <a:gd name="connsiteY78" fmla="*/ 93039 h 185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74065" h="185041">
                  <a:moveTo>
                    <a:pt x="118097" y="96252"/>
                  </a:moveTo>
                  <a:cubicBezTo>
                    <a:pt x="119381" y="91112"/>
                    <a:pt x="121309" y="85972"/>
                    <a:pt x="123879" y="81475"/>
                  </a:cubicBezTo>
                  <a:cubicBezTo>
                    <a:pt x="125164" y="78905"/>
                    <a:pt x="127091" y="76977"/>
                    <a:pt x="129019" y="75692"/>
                  </a:cubicBezTo>
                  <a:cubicBezTo>
                    <a:pt x="130946" y="74407"/>
                    <a:pt x="133516" y="74407"/>
                    <a:pt x="135444" y="73765"/>
                  </a:cubicBezTo>
                  <a:cubicBezTo>
                    <a:pt x="145723" y="70552"/>
                    <a:pt x="150863" y="57060"/>
                    <a:pt x="146366" y="47423"/>
                  </a:cubicBezTo>
                  <a:cubicBezTo>
                    <a:pt x="145081" y="44853"/>
                    <a:pt x="143154" y="42283"/>
                    <a:pt x="141226" y="40998"/>
                  </a:cubicBezTo>
                  <a:cubicBezTo>
                    <a:pt x="134159" y="35858"/>
                    <a:pt x="124521" y="39071"/>
                    <a:pt x="116811" y="42283"/>
                  </a:cubicBezTo>
                  <a:cubicBezTo>
                    <a:pt x="109102" y="45495"/>
                    <a:pt x="100107" y="49993"/>
                    <a:pt x="92397" y="47423"/>
                  </a:cubicBezTo>
                  <a:cubicBezTo>
                    <a:pt x="88542" y="46138"/>
                    <a:pt x="85330" y="44210"/>
                    <a:pt x="81475" y="42925"/>
                  </a:cubicBezTo>
                  <a:cubicBezTo>
                    <a:pt x="77620" y="41640"/>
                    <a:pt x="72480" y="42925"/>
                    <a:pt x="71837" y="46780"/>
                  </a:cubicBezTo>
                  <a:cubicBezTo>
                    <a:pt x="71195" y="48708"/>
                    <a:pt x="72480" y="51278"/>
                    <a:pt x="73765" y="53205"/>
                  </a:cubicBezTo>
                  <a:cubicBezTo>
                    <a:pt x="76335" y="56418"/>
                    <a:pt x="80832" y="58345"/>
                    <a:pt x="84687" y="58345"/>
                  </a:cubicBezTo>
                  <a:cubicBezTo>
                    <a:pt x="89185" y="58988"/>
                    <a:pt x="93682" y="57703"/>
                    <a:pt x="97537" y="59630"/>
                  </a:cubicBezTo>
                  <a:cubicBezTo>
                    <a:pt x="100107" y="61558"/>
                    <a:pt x="101392" y="64770"/>
                    <a:pt x="101392" y="67982"/>
                  </a:cubicBezTo>
                  <a:cubicBezTo>
                    <a:pt x="101392" y="75050"/>
                    <a:pt x="94324" y="82760"/>
                    <a:pt x="86615" y="81475"/>
                  </a:cubicBezTo>
                  <a:cubicBezTo>
                    <a:pt x="80832" y="80832"/>
                    <a:pt x="76335" y="75692"/>
                    <a:pt x="73765" y="70552"/>
                  </a:cubicBezTo>
                  <a:cubicBezTo>
                    <a:pt x="71195" y="65413"/>
                    <a:pt x="69910" y="59630"/>
                    <a:pt x="66698" y="55133"/>
                  </a:cubicBezTo>
                  <a:cubicBezTo>
                    <a:pt x="64127" y="51920"/>
                    <a:pt x="60915" y="49350"/>
                    <a:pt x="59630" y="45495"/>
                  </a:cubicBezTo>
                  <a:cubicBezTo>
                    <a:pt x="58345" y="42925"/>
                    <a:pt x="58345" y="39713"/>
                    <a:pt x="58345" y="37143"/>
                  </a:cubicBezTo>
                  <a:cubicBezTo>
                    <a:pt x="58345" y="27506"/>
                    <a:pt x="61558" y="16583"/>
                    <a:pt x="70552" y="12729"/>
                  </a:cubicBezTo>
                  <a:cubicBezTo>
                    <a:pt x="73122" y="11444"/>
                    <a:pt x="75692" y="10801"/>
                    <a:pt x="77620" y="9516"/>
                  </a:cubicBezTo>
                  <a:cubicBezTo>
                    <a:pt x="79547" y="7589"/>
                    <a:pt x="80832" y="5019"/>
                    <a:pt x="78905" y="2449"/>
                  </a:cubicBezTo>
                  <a:cubicBezTo>
                    <a:pt x="78262" y="1806"/>
                    <a:pt x="77620" y="1164"/>
                    <a:pt x="76335" y="1164"/>
                  </a:cubicBezTo>
                  <a:cubicBezTo>
                    <a:pt x="70552" y="-764"/>
                    <a:pt x="64127" y="-121"/>
                    <a:pt x="58345" y="1806"/>
                  </a:cubicBezTo>
                  <a:cubicBezTo>
                    <a:pt x="52563" y="3734"/>
                    <a:pt x="46780" y="6946"/>
                    <a:pt x="40998" y="8231"/>
                  </a:cubicBezTo>
                  <a:cubicBezTo>
                    <a:pt x="36501" y="9516"/>
                    <a:pt x="31361" y="9516"/>
                    <a:pt x="27506" y="12086"/>
                  </a:cubicBezTo>
                  <a:cubicBezTo>
                    <a:pt x="22366" y="15299"/>
                    <a:pt x="20438" y="21081"/>
                    <a:pt x="21081" y="26863"/>
                  </a:cubicBezTo>
                  <a:cubicBezTo>
                    <a:pt x="21723" y="30076"/>
                    <a:pt x="23008" y="33931"/>
                    <a:pt x="24936" y="36501"/>
                  </a:cubicBezTo>
                  <a:cubicBezTo>
                    <a:pt x="26863" y="39071"/>
                    <a:pt x="29433" y="41640"/>
                    <a:pt x="30718" y="44210"/>
                  </a:cubicBezTo>
                  <a:cubicBezTo>
                    <a:pt x="32003" y="46780"/>
                    <a:pt x="35216" y="48708"/>
                    <a:pt x="37786" y="50635"/>
                  </a:cubicBezTo>
                  <a:cubicBezTo>
                    <a:pt x="39713" y="51278"/>
                    <a:pt x="40998" y="52563"/>
                    <a:pt x="42925" y="53205"/>
                  </a:cubicBezTo>
                  <a:cubicBezTo>
                    <a:pt x="43568" y="53205"/>
                    <a:pt x="48065" y="54490"/>
                    <a:pt x="48065" y="54490"/>
                  </a:cubicBezTo>
                  <a:cubicBezTo>
                    <a:pt x="48708" y="55775"/>
                    <a:pt x="48065" y="57060"/>
                    <a:pt x="46780" y="58345"/>
                  </a:cubicBezTo>
                  <a:cubicBezTo>
                    <a:pt x="45495" y="59630"/>
                    <a:pt x="44211" y="59630"/>
                    <a:pt x="42925" y="60273"/>
                  </a:cubicBezTo>
                  <a:cubicBezTo>
                    <a:pt x="39070" y="60915"/>
                    <a:pt x="35216" y="60273"/>
                    <a:pt x="31361" y="59630"/>
                  </a:cubicBezTo>
                  <a:cubicBezTo>
                    <a:pt x="24936" y="58345"/>
                    <a:pt x="19153" y="58988"/>
                    <a:pt x="13371" y="62200"/>
                  </a:cubicBezTo>
                  <a:cubicBezTo>
                    <a:pt x="9516" y="64128"/>
                    <a:pt x="6304" y="67982"/>
                    <a:pt x="6946" y="71837"/>
                  </a:cubicBezTo>
                  <a:cubicBezTo>
                    <a:pt x="7589" y="76335"/>
                    <a:pt x="12086" y="78905"/>
                    <a:pt x="15941" y="81475"/>
                  </a:cubicBezTo>
                  <a:cubicBezTo>
                    <a:pt x="19796" y="84045"/>
                    <a:pt x="23651" y="88542"/>
                    <a:pt x="21723" y="92397"/>
                  </a:cubicBezTo>
                  <a:cubicBezTo>
                    <a:pt x="20438" y="96252"/>
                    <a:pt x="15299" y="97537"/>
                    <a:pt x="13371" y="100749"/>
                  </a:cubicBezTo>
                  <a:cubicBezTo>
                    <a:pt x="12086" y="103962"/>
                    <a:pt x="14014" y="107817"/>
                    <a:pt x="17226" y="109744"/>
                  </a:cubicBezTo>
                  <a:cubicBezTo>
                    <a:pt x="20438" y="111672"/>
                    <a:pt x="24293" y="112957"/>
                    <a:pt x="27506" y="114242"/>
                  </a:cubicBezTo>
                  <a:cubicBezTo>
                    <a:pt x="30718" y="115527"/>
                    <a:pt x="34573" y="118096"/>
                    <a:pt x="35216" y="121309"/>
                  </a:cubicBezTo>
                  <a:cubicBezTo>
                    <a:pt x="37143" y="126449"/>
                    <a:pt x="32003" y="132231"/>
                    <a:pt x="28148" y="135444"/>
                  </a:cubicBezTo>
                  <a:cubicBezTo>
                    <a:pt x="24293" y="139299"/>
                    <a:pt x="15941" y="137371"/>
                    <a:pt x="10801" y="139299"/>
                  </a:cubicBezTo>
                  <a:cubicBezTo>
                    <a:pt x="6304" y="141226"/>
                    <a:pt x="3091" y="144438"/>
                    <a:pt x="1164" y="148293"/>
                  </a:cubicBezTo>
                  <a:cubicBezTo>
                    <a:pt x="-764" y="152148"/>
                    <a:pt x="-121" y="157288"/>
                    <a:pt x="1806" y="161143"/>
                  </a:cubicBezTo>
                  <a:cubicBezTo>
                    <a:pt x="4376" y="166283"/>
                    <a:pt x="8874" y="169495"/>
                    <a:pt x="14014" y="172065"/>
                  </a:cubicBezTo>
                  <a:cubicBezTo>
                    <a:pt x="21081" y="175920"/>
                    <a:pt x="28148" y="179775"/>
                    <a:pt x="35858" y="182988"/>
                  </a:cubicBezTo>
                  <a:cubicBezTo>
                    <a:pt x="37143" y="183630"/>
                    <a:pt x="38428" y="184273"/>
                    <a:pt x="40356" y="184915"/>
                  </a:cubicBezTo>
                  <a:cubicBezTo>
                    <a:pt x="44211" y="185558"/>
                    <a:pt x="48708" y="183630"/>
                    <a:pt x="51278" y="181703"/>
                  </a:cubicBezTo>
                  <a:cubicBezTo>
                    <a:pt x="54490" y="179133"/>
                    <a:pt x="56418" y="175920"/>
                    <a:pt x="58988" y="173350"/>
                  </a:cubicBezTo>
                  <a:cubicBezTo>
                    <a:pt x="59630" y="172708"/>
                    <a:pt x="59630" y="172708"/>
                    <a:pt x="60273" y="172708"/>
                  </a:cubicBezTo>
                  <a:cubicBezTo>
                    <a:pt x="60915" y="172708"/>
                    <a:pt x="61558" y="172708"/>
                    <a:pt x="61558" y="172708"/>
                  </a:cubicBezTo>
                  <a:cubicBezTo>
                    <a:pt x="67340" y="173350"/>
                    <a:pt x="73122" y="171423"/>
                    <a:pt x="77620" y="168853"/>
                  </a:cubicBezTo>
                  <a:cubicBezTo>
                    <a:pt x="81475" y="166926"/>
                    <a:pt x="84687" y="163713"/>
                    <a:pt x="88542" y="161786"/>
                  </a:cubicBezTo>
                  <a:cubicBezTo>
                    <a:pt x="92397" y="159858"/>
                    <a:pt x="96252" y="157931"/>
                    <a:pt x="99464" y="154718"/>
                  </a:cubicBezTo>
                  <a:cubicBezTo>
                    <a:pt x="101392" y="152791"/>
                    <a:pt x="103319" y="151506"/>
                    <a:pt x="105889" y="150221"/>
                  </a:cubicBezTo>
                  <a:cubicBezTo>
                    <a:pt x="108459" y="148936"/>
                    <a:pt x="111029" y="148293"/>
                    <a:pt x="113599" y="148936"/>
                  </a:cubicBezTo>
                  <a:cubicBezTo>
                    <a:pt x="112957" y="152148"/>
                    <a:pt x="116811" y="154718"/>
                    <a:pt x="120024" y="154718"/>
                  </a:cubicBezTo>
                  <a:cubicBezTo>
                    <a:pt x="123236" y="154718"/>
                    <a:pt x="126449" y="153433"/>
                    <a:pt x="129661" y="152148"/>
                  </a:cubicBezTo>
                  <a:cubicBezTo>
                    <a:pt x="136086" y="149578"/>
                    <a:pt x="143154" y="147008"/>
                    <a:pt x="150221" y="145723"/>
                  </a:cubicBezTo>
                  <a:cubicBezTo>
                    <a:pt x="151506" y="145723"/>
                    <a:pt x="152791" y="145081"/>
                    <a:pt x="153433" y="145723"/>
                  </a:cubicBezTo>
                  <a:cubicBezTo>
                    <a:pt x="154718" y="145723"/>
                    <a:pt x="155361" y="146366"/>
                    <a:pt x="156003" y="147008"/>
                  </a:cubicBezTo>
                  <a:cubicBezTo>
                    <a:pt x="158573" y="148293"/>
                    <a:pt x="161143" y="149578"/>
                    <a:pt x="161786" y="151506"/>
                  </a:cubicBezTo>
                  <a:cubicBezTo>
                    <a:pt x="163713" y="156646"/>
                    <a:pt x="156646" y="161143"/>
                    <a:pt x="157931" y="166926"/>
                  </a:cubicBezTo>
                  <a:cubicBezTo>
                    <a:pt x="158573" y="170138"/>
                    <a:pt x="163071" y="172065"/>
                    <a:pt x="166283" y="170780"/>
                  </a:cubicBezTo>
                  <a:cubicBezTo>
                    <a:pt x="168210" y="170138"/>
                    <a:pt x="169496" y="168853"/>
                    <a:pt x="170780" y="166926"/>
                  </a:cubicBezTo>
                  <a:cubicBezTo>
                    <a:pt x="172708" y="163713"/>
                    <a:pt x="174635" y="159216"/>
                    <a:pt x="173350" y="155361"/>
                  </a:cubicBezTo>
                  <a:cubicBezTo>
                    <a:pt x="172708" y="153433"/>
                    <a:pt x="171423" y="151506"/>
                    <a:pt x="170780" y="148936"/>
                  </a:cubicBezTo>
                  <a:cubicBezTo>
                    <a:pt x="170780" y="145081"/>
                    <a:pt x="174635" y="141226"/>
                    <a:pt x="173993" y="137371"/>
                  </a:cubicBezTo>
                  <a:cubicBezTo>
                    <a:pt x="173350" y="135444"/>
                    <a:pt x="171423" y="133516"/>
                    <a:pt x="169496" y="132231"/>
                  </a:cubicBezTo>
                  <a:cubicBezTo>
                    <a:pt x="167568" y="130946"/>
                    <a:pt x="164998" y="130304"/>
                    <a:pt x="163071" y="129019"/>
                  </a:cubicBezTo>
                  <a:cubicBezTo>
                    <a:pt x="161143" y="127734"/>
                    <a:pt x="159216" y="126449"/>
                    <a:pt x="157288" y="125164"/>
                  </a:cubicBezTo>
                  <a:cubicBezTo>
                    <a:pt x="154718" y="123879"/>
                    <a:pt x="151506" y="123236"/>
                    <a:pt x="148936" y="122594"/>
                  </a:cubicBezTo>
                  <a:cubicBezTo>
                    <a:pt x="141226" y="120666"/>
                    <a:pt x="134801" y="116812"/>
                    <a:pt x="128376" y="112957"/>
                  </a:cubicBezTo>
                  <a:cubicBezTo>
                    <a:pt x="127734" y="112314"/>
                    <a:pt x="126449" y="111672"/>
                    <a:pt x="125806" y="111029"/>
                  </a:cubicBezTo>
                  <a:cubicBezTo>
                    <a:pt x="125164" y="109744"/>
                    <a:pt x="124521" y="108459"/>
                    <a:pt x="123879" y="107174"/>
                  </a:cubicBezTo>
                  <a:cubicBezTo>
                    <a:pt x="121951" y="102677"/>
                    <a:pt x="120666" y="97537"/>
                    <a:pt x="118739" y="93039"/>
                  </a:cubicBezTo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5" name="Freihandform 454">
              <a:extLst>
                <a:ext uri="{FF2B5EF4-FFF2-40B4-BE49-F238E27FC236}">
                  <a16:creationId xmlns:a16="http://schemas.microsoft.com/office/drawing/2014/main" id="{8EE5C079-CD23-F018-E5A1-D59A92041588}"/>
                </a:ext>
              </a:extLst>
            </p:cNvPr>
            <p:cNvSpPr/>
            <p:nvPr/>
          </p:nvSpPr>
          <p:spPr>
            <a:xfrm>
              <a:off x="3764046" y="2370838"/>
              <a:ext cx="22008" cy="19274"/>
            </a:xfrm>
            <a:custGeom>
              <a:avLst/>
              <a:gdLst>
                <a:gd name="connsiteX0" fmla="*/ 1669 w 22008"/>
                <a:gd name="connsiteY0" fmla="*/ 19275 h 19274"/>
                <a:gd name="connsiteX1" fmla="*/ 384 w 22008"/>
                <a:gd name="connsiteY1" fmla="*/ 7710 h 19274"/>
                <a:gd name="connsiteX2" fmla="*/ 1027 w 22008"/>
                <a:gd name="connsiteY2" fmla="*/ 3855 h 19274"/>
                <a:gd name="connsiteX3" fmla="*/ 8094 w 22008"/>
                <a:gd name="connsiteY3" fmla="*/ 0 h 19274"/>
                <a:gd name="connsiteX4" fmla="*/ 16446 w 22008"/>
                <a:gd name="connsiteY4" fmla="*/ 1927 h 19274"/>
                <a:gd name="connsiteX5" fmla="*/ 20944 w 22008"/>
                <a:gd name="connsiteY5" fmla="*/ 5782 h 19274"/>
                <a:gd name="connsiteX6" fmla="*/ 21586 w 22008"/>
                <a:gd name="connsiteY6" fmla="*/ 10922 h 19274"/>
                <a:gd name="connsiteX7" fmla="*/ 19659 w 22008"/>
                <a:gd name="connsiteY7" fmla="*/ 13492 h 19274"/>
                <a:gd name="connsiteX8" fmla="*/ 17089 w 22008"/>
                <a:gd name="connsiteY8" fmla="*/ 14777 h 19274"/>
                <a:gd name="connsiteX9" fmla="*/ 13234 w 22008"/>
                <a:gd name="connsiteY9" fmla="*/ 16062 h 19274"/>
                <a:gd name="connsiteX10" fmla="*/ 1669 w 22008"/>
                <a:gd name="connsiteY10" fmla="*/ 19275 h 1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008" h="19274">
                  <a:moveTo>
                    <a:pt x="1669" y="19275"/>
                  </a:moveTo>
                  <a:cubicBezTo>
                    <a:pt x="-258" y="16062"/>
                    <a:pt x="-258" y="11565"/>
                    <a:pt x="384" y="7710"/>
                  </a:cubicBezTo>
                  <a:cubicBezTo>
                    <a:pt x="384" y="6425"/>
                    <a:pt x="384" y="5140"/>
                    <a:pt x="1027" y="3855"/>
                  </a:cubicBezTo>
                  <a:cubicBezTo>
                    <a:pt x="2312" y="1285"/>
                    <a:pt x="4882" y="0"/>
                    <a:pt x="8094" y="0"/>
                  </a:cubicBezTo>
                  <a:cubicBezTo>
                    <a:pt x="10664" y="0"/>
                    <a:pt x="13877" y="643"/>
                    <a:pt x="16446" y="1927"/>
                  </a:cubicBezTo>
                  <a:cubicBezTo>
                    <a:pt x="18374" y="2570"/>
                    <a:pt x="19659" y="3855"/>
                    <a:pt x="20944" y="5782"/>
                  </a:cubicBezTo>
                  <a:cubicBezTo>
                    <a:pt x="22229" y="7067"/>
                    <a:pt x="22229" y="9637"/>
                    <a:pt x="21586" y="10922"/>
                  </a:cubicBezTo>
                  <a:cubicBezTo>
                    <a:pt x="20944" y="11565"/>
                    <a:pt x="20301" y="12850"/>
                    <a:pt x="19659" y="13492"/>
                  </a:cubicBezTo>
                  <a:cubicBezTo>
                    <a:pt x="19016" y="14135"/>
                    <a:pt x="18374" y="14777"/>
                    <a:pt x="17089" y="14777"/>
                  </a:cubicBezTo>
                  <a:cubicBezTo>
                    <a:pt x="15804" y="15420"/>
                    <a:pt x="14519" y="16062"/>
                    <a:pt x="13234" y="16062"/>
                  </a:cubicBezTo>
                  <a:cubicBezTo>
                    <a:pt x="9379" y="17347"/>
                    <a:pt x="5524" y="18632"/>
                    <a:pt x="1669" y="19275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6" name="Freihandform 455">
              <a:extLst>
                <a:ext uri="{FF2B5EF4-FFF2-40B4-BE49-F238E27FC236}">
                  <a16:creationId xmlns:a16="http://schemas.microsoft.com/office/drawing/2014/main" id="{1009EFDC-0B5F-1889-72C2-FB7B903E348C}"/>
                </a:ext>
              </a:extLst>
            </p:cNvPr>
            <p:cNvSpPr/>
            <p:nvPr/>
          </p:nvSpPr>
          <p:spPr>
            <a:xfrm>
              <a:off x="3764046" y="2370838"/>
              <a:ext cx="22008" cy="19274"/>
            </a:xfrm>
            <a:custGeom>
              <a:avLst/>
              <a:gdLst>
                <a:gd name="connsiteX0" fmla="*/ 1669 w 22008"/>
                <a:gd name="connsiteY0" fmla="*/ 19275 h 19274"/>
                <a:gd name="connsiteX1" fmla="*/ 384 w 22008"/>
                <a:gd name="connsiteY1" fmla="*/ 7710 h 19274"/>
                <a:gd name="connsiteX2" fmla="*/ 1027 w 22008"/>
                <a:gd name="connsiteY2" fmla="*/ 3855 h 19274"/>
                <a:gd name="connsiteX3" fmla="*/ 8094 w 22008"/>
                <a:gd name="connsiteY3" fmla="*/ 0 h 19274"/>
                <a:gd name="connsiteX4" fmla="*/ 16446 w 22008"/>
                <a:gd name="connsiteY4" fmla="*/ 1927 h 19274"/>
                <a:gd name="connsiteX5" fmla="*/ 20944 w 22008"/>
                <a:gd name="connsiteY5" fmla="*/ 5782 h 19274"/>
                <a:gd name="connsiteX6" fmla="*/ 21586 w 22008"/>
                <a:gd name="connsiteY6" fmla="*/ 10922 h 19274"/>
                <a:gd name="connsiteX7" fmla="*/ 19659 w 22008"/>
                <a:gd name="connsiteY7" fmla="*/ 13492 h 19274"/>
                <a:gd name="connsiteX8" fmla="*/ 17089 w 22008"/>
                <a:gd name="connsiteY8" fmla="*/ 14777 h 19274"/>
                <a:gd name="connsiteX9" fmla="*/ 13234 w 22008"/>
                <a:gd name="connsiteY9" fmla="*/ 16062 h 19274"/>
                <a:gd name="connsiteX10" fmla="*/ 1669 w 22008"/>
                <a:gd name="connsiteY10" fmla="*/ 19275 h 1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008" h="19274">
                  <a:moveTo>
                    <a:pt x="1669" y="19275"/>
                  </a:moveTo>
                  <a:cubicBezTo>
                    <a:pt x="-258" y="16062"/>
                    <a:pt x="-258" y="11565"/>
                    <a:pt x="384" y="7710"/>
                  </a:cubicBezTo>
                  <a:cubicBezTo>
                    <a:pt x="384" y="6425"/>
                    <a:pt x="384" y="5140"/>
                    <a:pt x="1027" y="3855"/>
                  </a:cubicBezTo>
                  <a:cubicBezTo>
                    <a:pt x="2312" y="1285"/>
                    <a:pt x="4882" y="0"/>
                    <a:pt x="8094" y="0"/>
                  </a:cubicBezTo>
                  <a:cubicBezTo>
                    <a:pt x="10664" y="0"/>
                    <a:pt x="13877" y="643"/>
                    <a:pt x="16446" y="1927"/>
                  </a:cubicBezTo>
                  <a:cubicBezTo>
                    <a:pt x="18374" y="2570"/>
                    <a:pt x="19659" y="3855"/>
                    <a:pt x="20944" y="5782"/>
                  </a:cubicBezTo>
                  <a:cubicBezTo>
                    <a:pt x="22229" y="7067"/>
                    <a:pt x="22229" y="9637"/>
                    <a:pt x="21586" y="10922"/>
                  </a:cubicBezTo>
                  <a:cubicBezTo>
                    <a:pt x="20944" y="11565"/>
                    <a:pt x="20301" y="12850"/>
                    <a:pt x="19659" y="13492"/>
                  </a:cubicBezTo>
                  <a:cubicBezTo>
                    <a:pt x="19016" y="14135"/>
                    <a:pt x="18374" y="14777"/>
                    <a:pt x="17089" y="14777"/>
                  </a:cubicBezTo>
                  <a:cubicBezTo>
                    <a:pt x="15804" y="15420"/>
                    <a:pt x="14519" y="16062"/>
                    <a:pt x="13234" y="16062"/>
                  </a:cubicBezTo>
                  <a:cubicBezTo>
                    <a:pt x="9379" y="17347"/>
                    <a:pt x="5524" y="18632"/>
                    <a:pt x="1669" y="19275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7" name="Freihandform 456">
              <a:extLst>
                <a:ext uri="{FF2B5EF4-FFF2-40B4-BE49-F238E27FC236}">
                  <a16:creationId xmlns:a16="http://schemas.microsoft.com/office/drawing/2014/main" id="{D76AF5A5-D3F6-DBBC-84F8-FF7787810F68}"/>
                </a:ext>
              </a:extLst>
            </p:cNvPr>
            <p:cNvSpPr/>
            <p:nvPr/>
          </p:nvSpPr>
          <p:spPr>
            <a:xfrm>
              <a:off x="3745798" y="2400107"/>
              <a:ext cx="21284" cy="47855"/>
            </a:xfrm>
            <a:custGeom>
              <a:avLst/>
              <a:gdLst>
                <a:gd name="connsiteX0" fmla="*/ 15420 w 21284"/>
                <a:gd name="connsiteY0" fmla="*/ 286 h 47855"/>
                <a:gd name="connsiteX1" fmla="*/ 21202 w 21284"/>
                <a:gd name="connsiteY1" fmla="*/ 15705 h 47855"/>
                <a:gd name="connsiteX2" fmla="*/ 18632 w 21284"/>
                <a:gd name="connsiteY2" fmla="*/ 28555 h 47855"/>
                <a:gd name="connsiteX3" fmla="*/ 0 w 21284"/>
                <a:gd name="connsiteY3" fmla="*/ 47830 h 47855"/>
                <a:gd name="connsiteX4" fmla="*/ 2570 w 21284"/>
                <a:gd name="connsiteY4" fmla="*/ 43975 h 47855"/>
                <a:gd name="connsiteX5" fmla="*/ 7067 w 21284"/>
                <a:gd name="connsiteY5" fmla="*/ 40120 h 47855"/>
                <a:gd name="connsiteX6" fmla="*/ 8995 w 21284"/>
                <a:gd name="connsiteY6" fmla="*/ 37550 h 47855"/>
                <a:gd name="connsiteX7" fmla="*/ 9637 w 21284"/>
                <a:gd name="connsiteY7" fmla="*/ 33695 h 47855"/>
                <a:gd name="connsiteX8" fmla="*/ 9637 w 21284"/>
                <a:gd name="connsiteY8" fmla="*/ 22773 h 47855"/>
                <a:gd name="connsiteX9" fmla="*/ 10922 w 21284"/>
                <a:gd name="connsiteY9" fmla="*/ 13778 h 47855"/>
                <a:gd name="connsiteX10" fmla="*/ 14135 w 21284"/>
                <a:gd name="connsiteY10" fmla="*/ 928 h 47855"/>
                <a:gd name="connsiteX11" fmla="*/ 14777 w 21284"/>
                <a:gd name="connsiteY11" fmla="*/ 286 h 47855"/>
                <a:gd name="connsiteX12" fmla="*/ 15420 w 21284"/>
                <a:gd name="connsiteY12" fmla="*/ 286 h 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284" h="47855">
                  <a:moveTo>
                    <a:pt x="15420" y="286"/>
                  </a:moveTo>
                  <a:cubicBezTo>
                    <a:pt x="18632" y="4783"/>
                    <a:pt x="21845" y="9923"/>
                    <a:pt x="21202" y="15705"/>
                  </a:cubicBezTo>
                  <a:cubicBezTo>
                    <a:pt x="20559" y="20203"/>
                    <a:pt x="19275" y="24058"/>
                    <a:pt x="18632" y="28555"/>
                  </a:cubicBezTo>
                  <a:cubicBezTo>
                    <a:pt x="17347" y="36907"/>
                    <a:pt x="10922" y="48472"/>
                    <a:pt x="0" y="47830"/>
                  </a:cubicBezTo>
                  <a:cubicBezTo>
                    <a:pt x="0" y="45902"/>
                    <a:pt x="1285" y="44617"/>
                    <a:pt x="2570" y="43975"/>
                  </a:cubicBezTo>
                  <a:cubicBezTo>
                    <a:pt x="4497" y="42690"/>
                    <a:pt x="5782" y="41405"/>
                    <a:pt x="7067" y="40120"/>
                  </a:cubicBezTo>
                  <a:cubicBezTo>
                    <a:pt x="7710" y="39477"/>
                    <a:pt x="8352" y="38192"/>
                    <a:pt x="8995" y="37550"/>
                  </a:cubicBezTo>
                  <a:cubicBezTo>
                    <a:pt x="9637" y="36265"/>
                    <a:pt x="9637" y="34980"/>
                    <a:pt x="9637" y="33695"/>
                  </a:cubicBezTo>
                  <a:cubicBezTo>
                    <a:pt x="9637" y="29840"/>
                    <a:pt x="9637" y="25985"/>
                    <a:pt x="9637" y="22773"/>
                  </a:cubicBezTo>
                  <a:cubicBezTo>
                    <a:pt x="9637" y="19560"/>
                    <a:pt x="10280" y="16990"/>
                    <a:pt x="10922" y="13778"/>
                  </a:cubicBezTo>
                  <a:cubicBezTo>
                    <a:pt x="11565" y="9280"/>
                    <a:pt x="11565" y="4140"/>
                    <a:pt x="14135" y="928"/>
                  </a:cubicBezTo>
                  <a:cubicBezTo>
                    <a:pt x="14135" y="928"/>
                    <a:pt x="14777" y="286"/>
                    <a:pt x="14777" y="286"/>
                  </a:cubicBezTo>
                  <a:cubicBezTo>
                    <a:pt x="14777" y="-357"/>
                    <a:pt x="15420" y="286"/>
                    <a:pt x="15420" y="286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8" name="Freihandform 457">
              <a:extLst>
                <a:ext uri="{FF2B5EF4-FFF2-40B4-BE49-F238E27FC236}">
                  <a16:creationId xmlns:a16="http://schemas.microsoft.com/office/drawing/2014/main" id="{8D2F2F17-4F3B-44E1-685A-C8B06BC738FD}"/>
                </a:ext>
              </a:extLst>
            </p:cNvPr>
            <p:cNvSpPr/>
            <p:nvPr/>
          </p:nvSpPr>
          <p:spPr>
            <a:xfrm>
              <a:off x="3745798" y="2400107"/>
              <a:ext cx="21284" cy="47855"/>
            </a:xfrm>
            <a:custGeom>
              <a:avLst/>
              <a:gdLst>
                <a:gd name="connsiteX0" fmla="*/ 15420 w 21284"/>
                <a:gd name="connsiteY0" fmla="*/ 286 h 47855"/>
                <a:gd name="connsiteX1" fmla="*/ 21202 w 21284"/>
                <a:gd name="connsiteY1" fmla="*/ 15705 h 47855"/>
                <a:gd name="connsiteX2" fmla="*/ 18632 w 21284"/>
                <a:gd name="connsiteY2" fmla="*/ 28555 h 47855"/>
                <a:gd name="connsiteX3" fmla="*/ 0 w 21284"/>
                <a:gd name="connsiteY3" fmla="*/ 47830 h 47855"/>
                <a:gd name="connsiteX4" fmla="*/ 2570 w 21284"/>
                <a:gd name="connsiteY4" fmla="*/ 43975 h 47855"/>
                <a:gd name="connsiteX5" fmla="*/ 7067 w 21284"/>
                <a:gd name="connsiteY5" fmla="*/ 40120 h 47855"/>
                <a:gd name="connsiteX6" fmla="*/ 8995 w 21284"/>
                <a:gd name="connsiteY6" fmla="*/ 37550 h 47855"/>
                <a:gd name="connsiteX7" fmla="*/ 9637 w 21284"/>
                <a:gd name="connsiteY7" fmla="*/ 33695 h 47855"/>
                <a:gd name="connsiteX8" fmla="*/ 9637 w 21284"/>
                <a:gd name="connsiteY8" fmla="*/ 22773 h 47855"/>
                <a:gd name="connsiteX9" fmla="*/ 10922 w 21284"/>
                <a:gd name="connsiteY9" fmla="*/ 13778 h 47855"/>
                <a:gd name="connsiteX10" fmla="*/ 14135 w 21284"/>
                <a:gd name="connsiteY10" fmla="*/ 928 h 47855"/>
                <a:gd name="connsiteX11" fmla="*/ 14777 w 21284"/>
                <a:gd name="connsiteY11" fmla="*/ 286 h 47855"/>
                <a:gd name="connsiteX12" fmla="*/ 15420 w 21284"/>
                <a:gd name="connsiteY12" fmla="*/ 286 h 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284" h="47855">
                  <a:moveTo>
                    <a:pt x="15420" y="286"/>
                  </a:moveTo>
                  <a:cubicBezTo>
                    <a:pt x="18632" y="4783"/>
                    <a:pt x="21845" y="9923"/>
                    <a:pt x="21202" y="15705"/>
                  </a:cubicBezTo>
                  <a:cubicBezTo>
                    <a:pt x="20559" y="20203"/>
                    <a:pt x="19275" y="24058"/>
                    <a:pt x="18632" y="28555"/>
                  </a:cubicBezTo>
                  <a:cubicBezTo>
                    <a:pt x="17347" y="36907"/>
                    <a:pt x="10922" y="48472"/>
                    <a:pt x="0" y="47830"/>
                  </a:cubicBezTo>
                  <a:cubicBezTo>
                    <a:pt x="0" y="45902"/>
                    <a:pt x="1285" y="44617"/>
                    <a:pt x="2570" y="43975"/>
                  </a:cubicBezTo>
                  <a:cubicBezTo>
                    <a:pt x="4497" y="42690"/>
                    <a:pt x="5782" y="41405"/>
                    <a:pt x="7067" y="40120"/>
                  </a:cubicBezTo>
                  <a:cubicBezTo>
                    <a:pt x="7710" y="39477"/>
                    <a:pt x="8352" y="38192"/>
                    <a:pt x="8995" y="37550"/>
                  </a:cubicBezTo>
                  <a:cubicBezTo>
                    <a:pt x="9637" y="36265"/>
                    <a:pt x="9637" y="34980"/>
                    <a:pt x="9637" y="33695"/>
                  </a:cubicBezTo>
                  <a:cubicBezTo>
                    <a:pt x="9637" y="29840"/>
                    <a:pt x="9637" y="25985"/>
                    <a:pt x="9637" y="22773"/>
                  </a:cubicBezTo>
                  <a:cubicBezTo>
                    <a:pt x="9637" y="19560"/>
                    <a:pt x="10280" y="16990"/>
                    <a:pt x="10922" y="13778"/>
                  </a:cubicBezTo>
                  <a:cubicBezTo>
                    <a:pt x="11565" y="9280"/>
                    <a:pt x="11565" y="4140"/>
                    <a:pt x="14135" y="928"/>
                  </a:cubicBezTo>
                  <a:cubicBezTo>
                    <a:pt x="14135" y="928"/>
                    <a:pt x="14777" y="286"/>
                    <a:pt x="14777" y="286"/>
                  </a:cubicBezTo>
                  <a:cubicBezTo>
                    <a:pt x="14777" y="-357"/>
                    <a:pt x="15420" y="286"/>
                    <a:pt x="15420" y="286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9" name="Freihandform 458">
              <a:extLst>
                <a:ext uri="{FF2B5EF4-FFF2-40B4-BE49-F238E27FC236}">
                  <a16:creationId xmlns:a16="http://schemas.microsoft.com/office/drawing/2014/main" id="{AB022728-68DC-20D3-0BB8-ACC14209291B}"/>
                </a:ext>
              </a:extLst>
            </p:cNvPr>
            <p:cNvSpPr/>
            <p:nvPr/>
          </p:nvSpPr>
          <p:spPr>
            <a:xfrm>
              <a:off x="3113328" y="2429090"/>
              <a:ext cx="1054584" cy="616866"/>
            </a:xfrm>
            <a:custGeom>
              <a:avLst/>
              <a:gdLst>
                <a:gd name="connsiteX0" fmla="*/ 1054585 w 1054584"/>
                <a:gd name="connsiteY0" fmla="*/ 472442 h 616866"/>
                <a:gd name="connsiteX1" fmla="*/ 1048802 w 1054584"/>
                <a:gd name="connsiteY1" fmla="*/ 472442 h 616866"/>
                <a:gd name="connsiteX2" fmla="*/ 1034668 w 1054584"/>
                <a:gd name="connsiteY2" fmla="*/ 473085 h 616866"/>
                <a:gd name="connsiteX3" fmla="*/ 1020533 w 1054584"/>
                <a:gd name="connsiteY3" fmla="*/ 485292 h 616866"/>
                <a:gd name="connsiteX4" fmla="*/ 999331 w 1054584"/>
                <a:gd name="connsiteY4" fmla="*/ 505852 h 616866"/>
                <a:gd name="connsiteX5" fmla="*/ 969134 w 1054584"/>
                <a:gd name="connsiteY5" fmla="*/ 505852 h 616866"/>
                <a:gd name="connsiteX6" fmla="*/ 951787 w 1054584"/>
                <a:gd name="connsiteY6" fmla="*/ 482722 h 616866"/>
                <a:gd name="connsiteX7" fmla="*/ 950502 w 1054584"/>
                <a:gd name="connsiteY7" fmla="*/ 471157 h 616866"/>
                <a:gd name="connsiteX8" fmla="*/ 920305 w 1054584"/>
                <a:gd name="connsiteY8" fmla="*/ 451883 h 616866"/>
                <a:gd name="connsiteX9" fmla="*/ 889465 w 1054584"/>
                <a:gd name="connsiteY9" fmla="*/ 454453 h 616866"/>
                <a:gd name="connsiteX10" fmla="*/ 870191 w 1054584"/>
                <a:gd name="connsiteY10" fmla="*/ 462163 h 616866"/>
                <a:gd name="connsiteX11" fmla="*/ 849631 w 1054584"/>
                <a:gd name="connsiteY11" fmla="*/ 462805 h 616866"/>
                <a:gd name="connsiteX12" fmla="*/ 834211 w 1054584"/>
                <a:gd name="connsiteY12" fmla="*/ 455095 h 616866"/>
                <a:gd name="connsiteX13" fmla="*/ 804657 w 1054584"/>
                <a:gd name="connsiteY13" fmla="*/ 464732 h 616866"/>
                <a:gd name="connsiteX14" fmla="*/ 792450 w 1054584"/>
                <a:gd name="connsiteY14" fmla="*/ 493644 h 616866"/>
                <a:gd name="connsiteX15" fmla="*/ 782812 w 1054584"/>
                <a:gd name="connsiteY15" fmla="*/ 517416 h 616866"/>
                <a:gd name="connsiteX16" fmla="*/ 761610 w 1054584"/>
                <a:gd name="connsiteY16" fmla="*/ 525769 h 616866"/>
                <a:gd name="connsiteX17" fmla="*/ 739766 w 1054584"/>
                <a:gd name="connsiteY17" fmla="*/ 521271 h 616866"/>
                <a:gd name="connsiteX18" fmla="*/ 712781 w 1054584"/>
                <a:gd name="connsiteY18" fmla="*/ 526411 h 616866"/>
                <a:gd name="connsiteX19" fmla="*/ 689009 w 1054584"/>
                <a:gd name="connsiteY19" fmla="*/ 541831 h 616866"/>
                <a:gd name="connsiteX20" fmla="*/ 680014 w 1054584"/>
                <a:gd name="connsiteY20" fmla="*/ 557251 h 616866"/>
                <a:gd name="connsiteX21" fmla="*/ 667165 w 1054584"/>
                <a:gd name="connsiteY21" fmla="*/ 568173 h 616866"/>
                <a:gd name="connsiteX22" fmla="*/ 621548 w 1054584"/>
                <a:gd name="connsiteY22" fmla="*/ 564961 h 616866"/>
                <a:gd name="connsiteX23" fmla="*/ 593921 w 1054584"/>
                <a:gd name="connsiteY23" fmla="*/ 555966 h 616866"/>
                <a:gd name="connsiteX24" fmla="*/ 561797 w 1054584"/>
                <a:gd name="connsiteY24" fmla="*/ 544401 h 616866"/>
                <a:gd name="connsiteX25" fmla="*/ 539310 w 1054584"/>
                <a:gd name="connsiteY25" fmla="*/ 536049 h 616866"/>
                <a:gd name="connsiteX26" fmla="*/ 502045 w 1054584"/>
                <a:gd name="connsiteY26" fmla="*/ 533479 h 616866"/>
                <a:gd name="connsiteX27" fmla="*/ 476346 w 1054584"/>
                <a:gd name="connsiteY27" fmla="*/ 521271 h 616866"/>
                <a:gd name="connsiteX28" fmla="*/ 450646 w 1054584"/>
                <a:gd name="connsiteY28" fmla="*/ 505852 h 616866"/>
                <a:gd name="connsiteX29" fmla="*/ 429444 w 1054584"/>
                <a:gd name="connsiteY29" fmla="*/ 494929 h 616866"/>
                <a:gd name="connsiteX30" fmla="*/ 394750 w 1054584"/>
                <a:gd name="connsiteY30" fmla="*/ 494929 h 616866"/>
                <a:gd name="connsiteX31" fmla="*/ 384470 w 1054584"/>
                <a:gd name="connsiteY31" fmla="*/ 514847 h 616866"/>
                <a:gd name="connsiteX32" fmla="*/ 343994 w 1054584"/>
                <a:gd name="connsiteY32" fmla="*/ 550826 h 616866"/>
                <a:gd name="connsiteX33" fmla="*/ 294522 w 1054584"/>
                <a:gd name="connsiteY33" fmla="*/ 549541 h 616866"/>
                <a:gd name="connsiteX34" fmla="*/ 268180 w 1054584"/>
                <a:gd name="connsiteY34" fmla="*/ 568173 h 616866"/>
                <a:gd name="connsiteX35" fmla="*/ 264325 w 1054584"/>
                <a:gd name="connsiteY35" fmla="*/ 574598 h 616866"/>
                <a:gd name="connsiteX36" fmla="*/ 264325 w 1054584"/>
                <a:gd name="connsiteY36" fmla="*/ 593230 h 616866"/>
                <a:gd name="connsiteX37" fmla="*/ 246978 w 1054584"/>
                <a:gd name="connsiteY37" fmla="*/ 604795 h 616866"/>
                <a:gd name="connsiteX38" fmla="*/ 227061 w 1054584"/>
                <a:gd name="connsiteY38" fmla="*/ 599012 h 616866"/>
                <a:gd name="connsiteX39" fmla="*/ 214854 w 1054584"/>
                <a:gd name="connsiteY39" fmla="*/ 614432 h 616866"/>
                <a:gd name="connsiteX40" fmla="*/ 205216 w 1054584"/>
                <a:gd name="connsiteY40" fmla="*/ 614432 h 616866"/>
                <a:gd name="connsiteX41" fmla="*/ 180802 w 1054584"/>
                <a:gd name="connsiteY41" fmla="*/ 604795 h 616866"/>
                <a:gd name="connsiteX42" fmla="*/ 174377 w 1054584"/>
                <a:gd name="connsiteY42" fmla="*/ 603510 h 616866"/>
                <a:gd name="connsiteX43" fmla="*/ 158315 w 1054584"/>
                <a:gd name="connsiteY43" fmla="*/ 593230 h 616866"/>
                <a:gd name="connsiteX44" fmla="*/ 145465 w 1054584"/>
                <a:gd name="connsiteY44" fmla="*/ 575883 h 616866"/>
                <a:gd name="connsiteX45" fmla="*/ 126190 w 1054584"/>
                <a:gd name="connsiteY45" fmla="*/ 560463 h 616866"/>
                <a:gd name="connsiteX46" fmla="*/ 111413 w 1054584"/>
                <a:gd name="connsiteY46" fmla="*/ 541831 h 616866"/>
                <a:gd name="connsiteX47" fmla="*/ 77361 w 1054584"/>
                <a:gd name="connsiteY47" fmla="*/ 512277 h 616866"/>
                <a:gd name="connsiteX48" fmla="*/ 54874 w 1054584"/>
                <a:gd name="connsiteY48" fmla="*/ 523841 h 616866"/>
                <a:gd name="connsiteX49" fmla="*/ 34315 w 1054584"/>
                <a:gd name="connsiteY49" fmla="*/ 512919 h 616866"/>
                <a:gd name="connsiteX50" fmla="*/ 8615 w 1054584"/>
                <a:gd name="connsiteY50" fmla="*/ 502639 h 616866"/>
                <a:gd name="connsiteX51" fmla="*/ 4118 w 1054584"/>
                <a:gd name="connsiteY51" fmla="*/ 500069 h 616866"/>
                <a:gd name="connsiteX52" fmla="*/ 905 w 1054584"/>
                <a:gd name="connsiteY52" fmla="*/ 468587 h 616866"/>
                <a:gd name="connsiteX53" fmla="*/ 26605 w 1054584"/>
                <a:gd name="connsiteY53" fmla="*/ 458308 h 616866"/>
                <a:gd name="connsiteX54" fmla="*/ 49734 w 1054584"/>
                <a:gd name="connsiteY54" fmla="*/ 440960 h 616866"/>
                <a:gd name="connsiteX55" fmla="*/ 60014 w 1054584"/>
                <a:gd name="connsiteY55" fmla="*/ 417831 h 616866"/>
                <a:gd name="connsiteX56" fmla="*/ 73506 w 1054584"/>
                <a:gd name="connsiteY56" fmla="*/ 413976 h 616866"/>
                <a:gd name="connsiteX57" fmla="*/ 86356 w 1054584"/>
                <a:gd name="connsiteY57" fmla="*/ 396629 h 616866"/>
                <a:gd name="connsiteX58" fmla="*/ 91496 w 1054584"/>
                <a:gd name="connsiteY58" fmla="*/ 390204 h 616866"/>
                <a:gd name="connsiteX59" fmla="*/ 78646 w 1054584"/>
                <a:gd name="connsiteY59" fmla="*/ 363220 h 616866"/>
                <a:gd name="connsiteX60" fmla="*/ 55517 w 1054584"/>
                <a:gd name="connsiteY60" fmla="*/ 363220 h 616866"/>
                <a:gd name="connsiteX61" fmla="*/ 35600 w 1054584"/>
                <a:gd name="connsiteY61" fmla="*/ 328525 h 616866"/>
                <a:gd name="connsiteX62" fmla="*/ 26605 w 1054584"/>
                <a:gd name="connsiteY62" fmla="*/ 298971 h 616866"/>
                <a:gd name="connsiteX63" fmla="*/ 37527 w 1054584"/>
                <a:gd name="connsiteY63" fmla="*/ 275199 h 616866"/>
                <a:gd name="connsiteX64" fmla="*/ 66439 w 1054584"/>
                <a:gd name="connsiteY64" fmla="*/ 258494 h 616866"/>
                <a:gd name="connsiteX65" fmla="*/ 64512 w 1054584"/>
                <a:gd name="connsiteY65" fmla="*/ 246287 h 616866"/>
                <a:gd name="connsiteX66" fmla="*/ 68366 w 1054584"/>
                <a:gd name="connsiteY66" fmla="*/ 245644 h 616866"/>
                <a:gd name="connsiteX67" fmla="*/ 85714 w 1054584"/>
                <a:gd name="connsiteY67" fmla="*/ 235365 h 616866"/>
                <a:gd name="connsiteX68" fmla="*/ 108201 w 1054584"/>
                <a:gd name="connsiteY68" fmla="*/ 225085 h 616866"/>
                <a:gd name="connsiteX69" fmla="*/ 135185 w 1054584"/>
                <a:gd name="connsiteY69" fmla="*/ 220587 h 616866"/>
                <a:gd name="connsiteX70" fmla="*/ 145465 w 1054584"/>
                <a:gd name="connsiteY70" fmla="*/ 223800 h 616866"/>
                <a:gd name="connsiteX71" fmla="*/ 157672 w 1054584"/>
                <a:gd name="connsiteY71" fmla="*/ 231510 h 616866"/>
                <a:gd name="connsiteX72" fmla="*/ 161527 w 1054584"/>
                <a:gd name="connsiteY72" fmla="*/ 248214 h 616866"/>
                <a:gd name="connsiteX73" fmla="*/ 177589 w 1054584"/>
                <a:gd name="connsiteY73" fmla="*/ 257209 h 616866"/>
                <a:gd name="connsiteX74" fmla="*/ 194294 w 1054584"/>
                <a:gd name="connsiteY74" fmla="*/ 255924 h 616866"/>
                <a:gd name="connsiteX75" fmla="*/ 204574 w 1054584"/>
                <a:gd name="connsiteY75" fmla="*/ 259779 h 616866"/>
                <a:gd name="connsiteX76" fmla="*/ 217424 w 1054584"/>
                <a:gd name="connsiteY76" fmla="*/ 250784 h 616866"/>
                <a:gd name="connsiteX77" fmla="*/ 205859 w 1054584"/>
                <a:gd name="connsiteY77" fmla="*/ 242432 h 616866"/>
                <a:gd name="connsiteX78" fmla="*/ 194937 w 1054584"/>
                <a:gd name="connsiteY78" fmla="*/ 236007 h 616866"/>
                <a:gd name="connsiteX79" fmla="*/ 199434 w 1054584"/>
                <a:gd name="connsiteY79" fmla="*/ 223157 h 616866"/>
                <a:gd name="connsiteX80" fmla="*/ 218066 w 1054584"/>
                <a:gd name="connsiteY80" fmla="*/ 219302 h 616866"/>
                <a:gd name="connsiteX81" fmla="*/ 230916 w 1054584"/>
                <a:gd name="connsiteY81" fmla="*/ 214805 h 616866"/>
                <a:gd name="connsiteX82" fmla="*/ 244408 w 1054584"/>
                <a:gd name="connsiteY82" fmla="*/ 210950 h 616866"/>
                <a:gd name="connsiteX83" fmla="*/ 259828 w 1054584"/>
                <a:gd name="connsiteY83" fmla="*/ 195530 h 616866"/>
                <a:gd name="connsiteX84" fmla="*/ 262398 w 1054584"/>
                <a:gd name="connsiteY84" fmla="*/ 182038 h 616866"/>
                <a:gd name="connsiteX85" fmla="*/ 255330 w 1054584"/>
                <a:gd name="connsiteY85" fmla="*/ 181396 h 616866"/>
                <a:gd name="connsiteX86" fmla="*/ 243123 w 1054584"/>
                <a:gd name="connsiteY86" fmla="*/ 194888 h 616866"/>
                <a:gd name="connsiteX87" fmla="*/ 234128 w 1054584"/>
                <a:gd name="connsiteY87" fmla="*/ 197458 h 616866"/>
                <a:gd name="connsiteX88" fmla="*/ 244408 w 1054584"/>
                <a:gd name="connsiteY88" fmla="*/ 179468 h 616866"/>
                <a:gd name="connsiteX89" fmla="*/ 256615 w 1054584"/>
                <a:gd name="connsiteY89" fmla="*/ 171116 h 616866"/>
                <a:gd name="connsiteX90" fmla="*/ 264968 w 1054584"/>
                <a:gd name="connsiteY90" fmla="*/ 168546 h 616866"/>
                <a:gd name="connsiteX91" fmla="*/ 272678 w 1054584"/>
                <a:gd name="connsiteY91" fmla="*/ 159551 h 616866"/>
                <a:gd name="connsiteX92" fmla="*/ 278460 w 1054584"/>
                <a:gd name="connsiteY92" fmla="*/ 150556 h 616866"/>
                <a:gd name="connsiteX93" fmla="*/ 301589 w 1054584"/>
                <a:gd name="connsiteY93" fmla="*/ 151199 h 616866"/>
                <a:gd name="connsiteX94" fmla="*/ 329216 w 1054584"/>
                <a:gd name="connsiteY94" fmla="*/ 151199 h 616866"/>
                <a:gd name="connsiteX95" fmla="*/ 348491 w 1054584"/>
                <a:gd name="connsiteY95" fmla="*/ 143489 h 616866"/>
                <a:gd name="connsiteX96" fmla="*/ 371621 w 1054584"/>
                <a:gd name="connsiteY96" fmla="*/ 136421 h 616866"/>
                <a:gd name="connsiteX97" fmla="*/ 387040 w 1054584"/>
                <a:gd name="connsiteY97" fmla="*/ 135137 h 616866"/>
                <a:gd name="connsiteX98" fmla="*/ 401175 w 1054584"/>
                <a:gd name="connsiteY98" fmla="*/ 131924 h 616866"/>
                <a:gd name="connsiteX99" fmla="*/ 407600 w 1054584"/>
                <a:gd name="connsiteY99" fmla="*/ 126784 h 616866"/>
                <a:gd name="connsiteX100" fmla="*/ 433299 w 1054584"/>
                <a:gd name="connsiteY100" fmla="*/ 104297 h 616866"/>
                <a:gd name="connsiteX101" fmla="*/ 452574 w 1054584"/>
                <a:gd name="connsiteY101" fmla="*/ 82453 h 616866"/>
                <a:gd name="connsiteX102" fmla="*/ 466066 w 1054584"/>
                <a:gd name="connsiteY102" fmla="*/ 66390 h 616866"/>
                <a:gd name="connsiteX103" fmla="*/ 468636 w 1054584"/>
                <a:gd name="connsiteY103" fmla="*/ 67675 h 616866"/>
                <a:gd name="connsiteX104" fmla="*/ 464139 w 1054584"/>
                <a:gd name="connsiteY104" fmla="*/ 79883 h 616866"/>
                <a:gd name="connsiteX105" fmla="*/ 462211 w 1054584"/>
                <a:gd name="connsiteY105" fmla="*/ 97230 h 616866"/>
                <a:gd name="connsiteX106" fmla="*/ 475061 w 1054584"/>
                <a:gd name="connsiteY106" fmla="*/ 105582 h 616866"/>
                <a:gd name="connsiteX107" fmla="*/ 476988 w 1054584"/>
                <a:gd name="connsiteY107" fmla="*/ 94017 h 616866"/>
                <a:gd name="connsiteX108" fmla="*/ 476988 w 1054584"/>
                <a:gd name="connsiteY108" fmla="*/ 79240 h 616866"/>
                <a:gd name="connsiteX109" fmla="*/ 488553 w 1054584"/>
                <a:gd name="connsiteY109" fmla="*/ 69603 h 616866"/>
                <a:gd name="connsiteX110" fmla="*/ 496906 w 1054584"/>
                <a:gd name="connsiteY110" fmla="*/ 63178 h 616866"/>
                <a:gd name="connsiteX111" fmla="*/ 502045 w 1054584"/>
                <a:gd name="connsiteY111" fmla="*/ 55468 h 616866"/>
                <a:gd name="connsiteX112" fmla="*/ 498833 w 1054584"/>
                <a:gd name="connsiteY112" fmla="*/ 47116 h 616866"/>
                <a:gd name="connsiteX113" fmla="*/ 489838 w 1054584"/>
                <a:gd name="connsiteY113" fmla="*/ 46473 h 616866"/>
                <a:gd name="connsiteX114" fmla="*/ 482128 w 1054584"/>
                <a:gd name="connsiteY114" fmla="*/ 54826 h 616866"/>
                <a:gd name="connsiteX115" fmla="*/ 475704 w 1054584"/>
                <a:gd name="connsiteY115" fmla="*/ 59965 h 616866"/>
                <a:gd name="connsiteX116" fmla="*/ 469279 w 1054584"/>
                <a:gd name="connsiteY116" fmla="*/ 54183 h 616866"/>
                <a:gd name="connsiteX117" fmla="*/ 475061 w 1054584"/>
                <a:gd name="connsiteY117" fmla="*/ 43903 h 616866"/>
                <a:gd name="connsiteX118" fmla="*/ 483413 w 1054584"/>
                <a:gd name="connsiteY118" fmla="*/ 29769 h 616866"/>
                <a:gd name="connsiteX119" fmla="*/ 485341 w 1054584"/>
                <a:gd name="connsiteY119" fmla="*/ 16919 h 616866"/>
                <a:gd name="connsiteX120" fmla="*/ 491123 w 1054584"/>
                <a:gd name="connsiteY120" fmla="*/ 3427 h 616866"/>
                <a:gd name="connsiteX121" fmla="*/ 504616 w 1054584"/>
                <a:gd name="connsiteY121" fmla="*/ 1499 h 616866"/>
                <a:gd name="connsiteX122" fmla="*/ 512325 w 1054584"/>
                <a:gd name="connsiteY122" fmla="*/ 9209 h 616866"/>
                <a:gd name="connsiteX123" fmla="*/ 523248 w 1054584"/>
                <a:gd name="connsiteY123" fmla="*/ 13706 h 616866"/>
                <a:gd name="connsiteX124" fmla="*/ 536097 w 1054584"/>
                <a:gd name="connsiteY124" fmla="*/ 14991 h 616866"/>
                <a:gd name="connsiteX125" fmla="*/ 561797 w 1054584"/>
                <a:gd name="connsiteY125" fmla="*/ 18846 h 616866"/>
                <a:gd name="connsiteX126" fmla="*/ 595206 w 1054584"/>
                <a:gd name="connsiteY126" fmla="*/ 18846 h 616866"/>
                <a:gd name="connsiteX127" fmla="*/ 608056 w 1054584"/>
                <a:gd name="connsiteY127" fmla="*/ 21416 h 616866"/>
                <a:gd name="connsiteX128" fmla="*/ 603559 w 1054584"/>
                <a:gd name="connsiteY128" fmla="*/ 26556 h 616866"/>
                <a:gd name="connsiteX129" fmla="*/ 584284 w 1054584"/>
                <a:gd name="connsiteY129" fmla="*/ 30411 h 616866"/>
                <a:gd name="connsiteX130" fmla="*/ 558584 w 1054584"/>
                <a:gd name="connsiteY130" fmla="*/ 31054 h 616866"/>
                <a:gd name="connsiteX131" fmla="*/ 537382 w 1054584"/>
                <a:gd name="connsiteY131" fmla="*/ 31054 h 616866"/>
                <a:gd name="connsiteX132" fmla="*/ 521963 w 1054584"/>
                <a:gd name="connsiteY132" fmla="*/ 34266 h 616866"/>
                <a:gd name="connsiteX133" fmla="*/ 516823 w 1054584"/>
                <a:gd name="connsiteY133" fmla="*/ 45188 h 616866"/>
                <a:gd name="connsiteX134" fmla="*/ 521963 w 1054584"/>
                <a:gd name="connsiteY134" fmla="*/ 51613 h 616866"/>
                <a:gd name="connsiteX135" fmla="*/ 538025 w 1054584"/>
                <a:gd name="connsiteY135" fmla="*/ 50971 h 616866"/>
                <a:gd name="connsiteX136" fmla="*/ 553444 w 1054584"/>
                <a:gd name="connsiteY136" fmla="*/ 44546 h 616866"/>
                <a:gd name="connsiteX137" fmla="*/ 575931 w 1054584"/>
                <a:gd name="connsiteY137" fmla="*/ 45188 h 616866"/>
                <a:gd name="connsiteX138" fmla="*/ 583641 w 1054584"/>
                <a:gd name="connsiteY138" fmla="*/ 45831 h 616866"/>
                <a:gd name="connsiteX139" fmla="*/ 599704 w 1054584"/>
                <a:gd name="connsiteY139" fmla="*/ 40048 h 616866"/>
                <a:gd name="connsiteX140" fmla="*/ 620906 w 1054584"/>
                <a:gd name="connsiteY140" fmla="*/ 32981 h 616866"/>
                <a:gd name="connsiteX141" fmla="*/ 638895 w 1054584"/>
                <a:gd name="connsiteY141" fmla="*/ 31054 h 616866"/>
                <a:gd name="connsiteX142" fmla="*/ 645320 w 1054584"/>
                <a:gd name="connsiteY142" fmla="*/ 44546 h 616866"/>
                <a:gd name="connsiteX143" fmla="*/ 654958 w 1054584"/>
                <a:gd name="connsiteY143" fmla="*/ 72815 h 616866"/>
                <a:gd name="connsiteX144" fmla="*/ 678087 w 1054584"/>
                <a:gd name="connsiteY144" fmla="*/ 90162 h 616866"/>
                <a:gd name="connsiteX145" fmla="*/ 693507 w 1054584"/>
                <a:gd name="connsiteY145" fmla="*/ 92732 h 616866"/>
                <a:gd name="connsiteX146" fmla="*/ 706999 w 1054584"/>
                <a:gd name="connsiteY146" fmla="*/ 101085 h 616866"/>
                <a:gd name="connsiteX147" fmla="*/ 717921 w 1054584"/>
                <a:gd name="connsiteY147" fmla="*/ 102370 h 616866"/>
                <a:gd name="connsiteX148" fmla="*/ 731413 w 1054584"/>
                <a:gd name="connsiteY148" fmla="*/ 115862 h 616866"/>
                <a:gd name="connsiteX149" fmla="*/ 743621 w 1054584"/>
                <a:gd name="connsiteY149" fmla="*/ 128712 h 616866"/>
                <a:gd name="connsiteX150" fmla="*/ 736553 w 1054584"/>
                <a:gd name="connsiteY150" fmla="*/ 137706 h 616866"/>
                <a:gd name="connsiteX151" fmla="*/ 745548 w 1054584"/>
                <a:gd name="connsiteY151" fmla="*/ 142846 h 616866"/>
                <a:gd name="connsiteX152" fmla="*/ 757755 w 1054584"/>
                <a:gd name="connsiteY152" fmla="*/ 146701 h 616866"/>
                <a:gd name="connsiteX153" fmla="*/ 762895 w 1054584"/>
                <a:gd name="connsiteY153" fmla="*/ 160194 h 616866"/>
                <a:gd name="connsiteX154" fmla="*/ 773818 w 1054584"/>
                <a:gd name="connsiteY154" fmla="*/ 163406 h 616866"/>
                <a:gd name="connsiteX155" fmla="*/ 774460 w 1054584"/>
                <a:gd name="connsiteY155" fmla="*/ 157624 h 616866"/>
                <a:gd name="connsiteX156" fmla="*/ 768678 w 1054584"/>
                <a:gd name="connsiteY156" fmla="*/ 150556 h 616866"/>
                <a:gd name="connsiteX157" fmla="*/ 766750 w 1054584"/>
                <a:gd name="connsiteY157" fmla="*/ 144774 h 616866"/>
                <a:gd name="connsiteX158" fmla="*/ 779600 w 1054584"/>
                <a:gd name="connsiteY158" fmla="*/ 137064 h 616866"/>
                <a:gd name="connsiteX159" fmla="*/ 804657 w 1054584"/>
                <a:gd name="connsiteY159" fmla="*/ 129354 h 616866"/>
                <a:gd name="connsiteX160" fmla="*/ 817507 w 1054584"/>
                <a:gd name="connsiteY160" fmla="*/ 121644 h 616866"/>
                <a:gd name="connsiteX161" fmla="*/ 829714 w 1054584"/>
                <a:gd name="connsiteY161" fmla="*/ 121644 h 616866"/>
                <a:gd name="connsiteX162" fmla="*/ 838709 w 1054584"/>
                <a:gd name="connsiteY162" fmla="*/ 126784 h 616866"/>
                <a:gd name="connsiteX163" fmla="*/ 848989 w 1054584"/>
                <a:gd name="connsiteY163" fmla="*/ 119717 h 616866"/>
                <a:gd name="connsiteX164" fmla="*/ 859911 w 1054584"/>
                <a:gd name="connsiteY164" fmla="*/ 119074 h 616866"/>
                <a:gd name="connsiteX165" fmla="*/ 863123 w 1054584"/>
                <a:gd name="connsiteY165" fmla="*/ 132567 h 616866"/>
                <a:gd name="connsiteX166" fmla="*/ 880471 w 1054584"/>
                <a:gd name="connsiteY166" fmla="*/ 153769 h 616866"/>
                <a:gd name="connsiteX167" fmla="*/ 891393 w 1054584"/>
                <a:gd name="connsiteY167" fmla="*/ 166618 h 616866"/>
                <a:gd name="connsiteX168" fmla="*/ 897175 w 1054584"/>
                <a:gd name="connsiteY168" fmla="*/ 181396 h 616866"/>
                <a:gd name="connsiteX169" fmla="*/ 885610 w 1054584"/>
                <a:gd name="connsiteY169" fmla="*/ 187820 h 616866"/>
                <a:gd name="connsiteX170" fmla="*/ 870833 w 1054584"/>
                <a:gd name="connsiteY170" fmla="*/ 181396 h 616866"/>
                <a:gd name="connsiteX171" fmla="*/ 863123 w 1054584"/>
                <a:gd name="connsiteY171" fmla="*/ 173043 h 616866"/>
                <a:gd name="connsiteX172" fmla="*/ 855413 w 1054584"/>
                <a:gd name="connsiteY172" fmla="*/ 175613 h 616866"/>
                <a:gd name="connsiteX173" fmla="*/ 858626 w 1054584"/>
                <a:gd name="connsiteY173" fmla="*/ 186536 h 616866"/>
                <a:gd name="connsiteX174" fmla="*/ 866336 w 1054584"/>
                <a:gd name="connsiteY174" fmla="*/ 196815 h 616866"/>
                <a:gd name="connsiteX175" fmla="*/ 867621 w 1054584"/>
                <a:gd name="connsiteY175" fmla="*/ 201955 h 616866"/>
                <a:gd name="connsiteX176" fmla="*/ 875331 w 1054584"/>
                <a:gd name="connsiteY176" fmla="*/ 207095 h 616866"/>
                <a:gd name="connsiteX177" fmla="*/ 875331 w 1054584"/>
                <a:gd name="connsiteY177" fmla="*/ 214805 h 616866"/>
                <a:gd name="connsiteX178" fmla="*/ 875973 w 1054584"/>
                <a:gd name="connsiteY178" fmla="*/ 228297 h 616866"/>
                <a:gd name="connsiteX179" fmla="*/ 880471 w 1054584"/>
                <a:gd name="connsiteY179" fmla="*/ 235365 h 616866"/>
                <a:gd name="connsiteX180" fmla="*/ 892035 w 1054584"/>
                <a:gd name="connsiteY180" fmla="*/ 230225 h 616866"/>
                <a:gd name="connsiteX181" fmla="*/ 902315 w 1054584"/>
                <a:gd name="connsiteY181" fmla="*/ 230867 h 616866"/>
                <a:gd name="connsiteX182" fmla="*/ 908097 w 1054584"/>
                <a:gd name="connsiteY182" fmla="*/ 216732 h 616866"/>
                <a:gd name="connsiteX183" fmla="*/ 908097 w 1054584"/>
                <a:gd name="connsiteY183" fmla="*/ 208380 h 616866"/>
                <a:gd name="connsiteX184" fmla="*/ 917092 w 1054584"/>
                <a:gd name="connsiteY184" fmla="*/ 210308 h 616866"/>
                <a:gd name="connsiteX185" fmla="*/ 922875 w 1054584"/>
                <a:gd name="connsiteY185" fmla="*/ 216090 h 616866"/>
                <a:gd name="connsiteX186" fmla="*/ 928657 w 1054584"/>
                <a:gd name="connsiteY186" fmla="*/ 206453 h 616866"/>
                <a:gd name="connsiteX187" fmla="*/ 925445 w 1054584"/>
                <a:gd name="connsiteY187" fmla="*/ 192318 h 616866"/>
                <a:gd name="connsiteX188" fmla="*/ 911310 w 1054584"/>
                <a:gd name="connsiteY188" fmla="*/ 187178 h 616866"/>
                <a:gd name="connsiteX189" fmla="*/ 899745 w 1054584"/>
                <a:gd name="connsiteY189" fmla="*/ 165976 h 616866"/>
                <a:gd name="connsiteX190" fmla="*/ 896533 w 1054584"/>
                <a:gd name="connsiteY190" fmla="*/ 159551 h 616866"/>
                <a:gd name="connsiteX191" fmla="*/ 909383 w 1054584"/>
                <a:gd name="connsiteY191" fmla="*/ 160194 h 616866"/>
                <a:gd name="connsiteX192" fmla="*/ 926730 w 1054584"/>
                <a:gd name="connsiteY192" fmla="*/ 173686 h 616866"/>
                <a:gd name="connsiteX193" fmla="*/ 944719 w 1054584"/>
                <a:gd name="connsiteY193" fmla="*/ 192318 h 616866"/>
                <a:gd name="connsiteX194" fmla="*/ 954999 w 1054584"/>
                <a:gd name="connsiteY194" fmla="*/ 200670 h 616866"/>
                <a:gd name="connsiteX195" fmla="*/ 969776 w 1054584"/>
                <a:gd name="connsiteY195" fmla="*/ 212877 h 616866"/>
                <a:gd name="connsiteX196" fmla="*/ 976201 w 1054584"/>
                <a:gd name="connsiteY196" fmla="*/ 221230 h 616866"/>
                <a:gd name="connsiteX197" fmla="*/ 980698 w 1054584"/>
                <a:gd name="connsiteY197" fmla="*/ 241789 h 616866"/>
                <a:gd name="connsiteX198" fmla="*/ 965921 w 1054584"/>
                <a:gd name="connsiteY198" fmla="*/ 248214 h 616866"/>
                <a:gd name="connsiteX199" fmla="*/ 933797 w 1054584"/>
                <a:gd name="connsiteY199" fmla="*/ 247572 h 616866"/>
                <a:gd name="connsiteX200" fmla="*/ 919020 w 1054584"/>
                <a:gd name="connsiteY200" fmla="*/ 256567 h 616866"/>
                <a:gd name="connsiteX201" fmla="*/ 905528 w 1054584"/>
                <a:gd name="connsiteY201" fmla="*/ 256567 h 616866"/>
                <a:gd name="connsiteX202" fmla="*/ 894605 w 1054584"/>
                <a:gd name="connsiteY202" fmla="*/ 254639 h 616866"/>
                <a:gd name="connsiteX203" fmla="*/ 882398 w 1054584"/>
                <a:gd name="connsiteY203" fmla="*/ 260422 h 616866"/>
                <a:gd name="connsiteX204" fmla="*/ 870833 w 1054584"/>
                <a:gd name="connsiteY204" fmla="*/ 260422 h 616866"/>
                <a:gd name="connsiteX205" fmla="*/ 881755 w 1054584"/>
                <a:gd name="connsiteY205" fmla="*/ 273271 h 616866"/>
                <a:gd name="connsiteX206" fmla="*/ 917735 w 1054584"/>
                <a:gd name="connsiteY206" fmla="*/ 292546 h 616866"/>
                <a:gd name="connsiteX207" fmla="*/ 949859 w 1054584"/>
                <a:gd name="connsiteY207" fmla="*/ 304753 h 616866"/>
                <a:gd name="connsiteX208" fmla="*/ 970419 w 1054584"/>
                <a:gd name="connsiteY208" fmla="*/ 304753 h 616866"/>
                <a:gd name="connsiteX209" fmla="*/ 971061 w 1054584"/>
                <a:gd name="connsiteY209" fmla="*/ 315033 h 616866"/>
                <a:gd name="connsiteX210" fmla="*/ 990978 w 1054584"/>
                <a:gd name="connsiteY210" fmla="*/ 317603 h 616866"/>
                <a:gd name="connsiteX211" fmla="*/ 1008968 w 1054584"/>
                <a:gd name="connsiteY211" fmla="*/ 320173 h 616866"/>
                <a:gd name="connsiteX212" fmla="*/ 1005756 w 1054584"/>
                <a:gd name="connsiteY212" fmla="*/ 332380 h 616866"/>
                <a:gd name="connsiteX213" fmla="*/ 1009610 w 1054584"/>
                <a:gd name="connsiteY213" fmla="*/ 353582 h 616866"/>
                <a:gd name="connsiteX214" fmla="*/ 1019890 w 1054584"/>
                <a:gd name="connsiteY214" fmla="*/ 387634 h 616866"/>
                <a:gd name="connsiteX215" fmla="*/ 1027600 w 1054584"/>
                <a:gd name="connsiteY215" fmla="*/ 412691 h 616866"/>
                <a:gd name="connsiteX216" fmla="*/ 1042377 w 1054584"/>
                <a:gd name="connsiteY216" fmla="*/ 442245 h 616866"/>
                <a:gd name="connsiteX217" fmla="*/ 1046875 w 1054584"/>
                <a:gd name="connsiteY217" fmla="*/ 451883 h 616866"/>
                <a:gd name="connsiteX218" fmla="*/ 1046875 w 1054584"/>
                <a:gd name="connsiteY218" fmla="*/ 451883 h 616866"/>
                <a:gd name="connsiteX219" fmla="*/ 1049445 w 1054584"/>
                <a:gd name="connsiteY219" fmla="*/ 457665 h 616866"/>
                <a:gd name="connsiteX220" fmla="*/ 1050730 w 1054584"/>
                <a:gd name="connsiteY220" fmla="*/ 459593 h 616866"/>
                <a:gd name="connsiteX221" fmla="*/ 1052015 w 1054584"/>
                <a:gd name="connsiteY221" fmla="*/ 462163 h 616866"/>
                <a:gd name="connsiteX222" fmla="*/ 1052657 w 1054584"/>
                <a:gd name="connsiteY222" fmla="*/ 464732 h 616866"/>
                <a:gd name="connsiteX223" fmla="*/ 1053300 w 1054584"/>
                <a:gd name="connsiteY223" fmla="*/ 467302 h 616866"/>
                <a:gd name="connsiteX224" fmla="*/ 1053942 w 1054584"/>
                <a:gd name="connsiteY224" fmla="*/ 469872 h 616866"/>
                <a:gd name="connsiteX225" fmla="*/ 1054585 w 1054584"/>
                <a:gd name="connsiteY225" fmla="*/ 472442 h 61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1054584" h="616866">
                  <a:moveTo>
                    <a:pt x="1054585" y="472442"/>
                  </a:moveTo>
                  <a:cubicBezTo>
                    <a:pt x="1052657" y="472442"/>
                    <a:pt x="1050730" y="472442"/>
                    <a:pt x="1048802" y="472442"/>
                  </a:cubicBezTo>
                  <a:cubicBezTo>
                    <a:pt x="1044305" y="472442"/>
                    <a:pt x="1039165" y="471800"/>
                    <a:pt x="1034668" y="473085"/>
                  </a:cubicBezTo>
                  <a:cubicBezTo>
                    <a:pt x="1028243" y="475012"/>
                    <a:pt x="1024388" y="480152"/>
                    <a:pt x="1020533" y="485292"/>
                  </a:cubicBezTo>
                  <a:cubicBezTo>
                    <a:pt x="1014108" y="493002"/>
                    <a:pt x="1008326" y="501354"/>
                    <a:pt x="999331" y="505852"/>
                  </a:cubicBezTo>
                  <a:cubicBezTo>
                    <a:pt x="990336" y="510349"/>
                    <a:pt x="978771" y="510349"/>
                    <a:pt x="969134" y="505852"/>
                  </a:cubicBezTo>
                  <a:cubicBezTo>
                    <a:pt x="959496" y="501354"/>
                    <a:pt x="953072" y="492359"/>
                    <a:pt x="951787" y="482722"/>
                  </a:cubicBezTo>
                  <a:cubicBezTo>
                    <a:pt x="951144" y="478867"/>
                    <a:pt x="951787" y="475012"/>
                    <a:pt x="950502" y="471157"/>
                  </a:cubicBezTo>
                  <a:cubicBezTo>
                    <a:pt x="946647" y="460235"/>
                    <a:pt x="931227" y="453810"/>
                    <a:pt x="920305" y="451883"/>
                  </a:cubicBezTo>
                  <a:cubicBezTo>
                    <a:pt x="910025" y="449955"/>
                    <a:pt x="899103" y="451240"/>
                    <a:pt x="889465" y="454453"/>
                  </a:cubicBezTo>
                  <a:cubicBezTo>
                    <a:pt x="883041" y="457023"/>
                    <a:pt x="876616" y="460235"/>
                    <a:pt x="870191" y="462163"/>
                  </a:cubicBezTo>
                  <a:cubicBezTo>
                    <a:pt x="863766" y="464090"/>
                    <a:pt x="856056" y="465375"/>
                    <a:pt x="849631" y="462805"/>
                  </a:cubicBezTo>
                  <a:cubicBezTo>
                    <a:pt x="844491" y="460878"/>
                    <a:pt x="839994" y="457023"/>
                    <a:pt x="834211" y="455095"/>
                  </a:cubicBezTo>
                  <a:cubicBezTo>
                    <a:pt x="823932" y="451240"/>
                    <a:pt x="811724" y="457023"/>
                    <a:pt x="804657" y="464732"/>
                  </a:cubicBezTo>
                  <a:cubicBezTo>
                    <a:pt x="797590" y="473085"/>
                    <a:pt x="795020" y="483365"/>
                    <a:pt x="792450" y="493644"/>
                  </a:cubicBezTo>
                  <a:cubicBezTo>
                    <a:pt x="790522" y="501997"/>
                    <a:pt x="788595" y="510992"/>
                    <a:pt x="782812" y="517416"/>
                  </a:cubicBezTo>
                  <a:cubicBezTo>
                    <a:pt x="777673" y="523199"/>
                    <a:pt x="769320" y="526411"/>
                    <a:pt x="761610" y="525769"/>
                  </a:cubicBezTo>
                  <a:cubicBezTo>
                    <a:pt x="753901" y="525126"/>
                    <a:pt x="747476" y="521914"/>
                    <a:pt x="739766" y="521271"/>
                  </a:cubicBezTo>
                  <a:cubicBezTo>
                    <a:pt x="730771" y="519986"/>
                    <a:pt x="721134" y="522556"/>
                    <a:pt x="712781" y="526411"/>
                  </a:cubicBezTo>
                  <a:cubicBezTo>
                    <a:pt x="703787" y="529624"/>
                    <a:pt x="694149" y="534764"/>
                    <a:pt x="689009" y="541831"/>
                  </a:cubicBezTo>
                  <a:cubicBezTo>
                    <a:pt x="685154" y="546328"/>
                    <a:pt x="683227" y="552111"/>
                    <a:pt x="680014" y="557251"/>
                  </a:cubicBezTo>
                  <a:cubicBezTo>
                    <a:pt x="676802" y="561748"/>
                    <a:pt x="672305" y="565603"/>
                    <a:pt x="667165" y="568173"/>
                  </a:cubicBezTo>
                  <a:cubicBezTo>
                    <a:pt x="653030" y="575240"/>
                    <a:pt x="636325" y="570100"/>
                    <a:pt x="621548" y="564961"/>
                  </a:cubicBezTo>
                  <a:cubicBezTo>
                    <a:pt x="612553" y="561748"/>
                    <a:pt x="603559" y="559178"/>
                    <a:pt x="593921" y="555966"/>
                  </a:cubicBezTo>
                  <a:cubicBezTo>
                    <a:pt x="582999" y="552111"/>
                    <a:pt x="572719" y="548898"/>
                    <a:pt x="561797" y="544401"/>
                  </a:cubicBezTo>
                  <a:cubicBezTo>
                    <a:pt x="554087" y="541189"/>
                    <a:pt x="547020" y="537976"/>
                    <a:pt x="539310" y="536049"/>
                  </a:cubicBezTo>
                  <a:cubicBezTo>
                    <a:pt x="527103" y="533479"/>
                    <a:pt x="514253" y="536049"/>
                    <a:pt x="502045" y="533479"/>
                  </a:cubicBezTo>
                  <a:cubicBezTo>
                    <a:pt x="493051" y="531551"/>
                    <a:pt x="484698" y="526411"/>
                    <a:pt x="476346" y="521271"/>
                  </a:cubicBezTo>
                  <a:cubicBezTo>
                    <a:pt x="467994" y="516131"/>
                    <a:pt x="458999" y="510992"/>
                    <a:pt x="450646" y="505852"/>
                  </a:cubicBezTo>
                  <a:cubicBezTo>
                    <a:pt x="444222" y="501997"/>
                    <a:pt x="437154" y="497499"/>
                    <a:pt x="429444" y="494929"/>
                  </a:cubicBezTo>
                  <a:cubicBezTo>
                    <a:pt x="418522" y="491075"/>
                    <a:pt x="405672" y="491075"/>
                    <a:pt x="394750" y="494929"/>
                  </a:cubicBezTo>
                  <a:cubicBezTo>
                    <a:pt x="385113" y="498142"/>
                    <a:pt x="379973" y="505209"/>
                    <a:pt x="384470" y="514847"/>
                  </a:cubicBezTo>
                  <a:cubicBezTo>
                    <a:pt x="388968" y="525126"/>
                    <a:pt x="357486" y="543758"/>
                    <a:pt x="343994" y="550826"/>
                  </a:cubicBezTo>
                  <a:cubicBezTo>
                    <a:pt x="330501" y="557251"/>
                    <a:pt x="311869" y="551468"/>
                    <a:pt x="294522" y="549541"/>
                  </a:cubicBezTo>
                  <a:cubicBezTo>
                    <a:pt x="282957" y="548256"/>
                    <a:pt x="273320" y="560463"/>
                    <a:pt x="268180" y="568173"/>
                  </a:cubicBezTo>
                  <a:cubicBezTo>
                    <a:pt x="265610" y="572028"/>
                    <a:pt x="264325" y="574598"/>
                    <a:pt x="264325" y="574598"/>
                  </a:cubicBezTo>
                  <a:lnTo>
                    <a:pt x="264325" y="593230"/>
                  </a:lnTo>
                  <a:cubicBezTo>
                    <a:pt x="264325" y="600940"/>
                    <a:pt x="257900" y="602867"/>
                    <a:pt x="246978" y="604795"/>
                  </a:cubicBezTo>
                  <a:cubicBezTo>
                    <a:pt x="236698" y="606722"/>
                    <a:pt x="230916" y="599655"/>
                    <a:pt x="227061" y="599012"/>
                  </a:cubicBezTo>
                  <a:cubicBezTo>
                    <a:pt x="223206" y="598370"/>
                    <a:pt x="216781" y="608650"/>
                    <a:pt x="214854" y="614432"/>
                  </a:cubicBezTo>
                  <a:cubicBezTo>
                    <a:pt x="212284" y="619572"/>
                    <a:pt x="208429" y="615075"/>
                    <a:pt x="205216" y="614432"/>
                  </a:cubicBezTo>
                  <a:cubicBezTo>
                    <a:pt x="202646" y="613790"/>
                    <a:pt x="191724" y="607365"/>
                    <a:pt x="180802" y="604795"/>
                  </a:cubicBezTo>
                  <a:cubicBezTo>
                    <a:pt x="178874" y="604152"/>
                    <a:pt x="176304" y="604152"/>
                    <a:pt x="174377" y="603510"/>
                  </a:cubicBezTo>
                  <a:cubicBezTo>
                    <a:pt x="161527" y="602225"/>
                    <a:pt x="159600" y="595800"/>
                    <a:pt x="158315" y="593230"/>
                  </a:cubicBezTo>
                  <a:cubicBezTo>
                    <a:pt x="157030" y="590660"/>
                    <a:pt x="153175" y="581665"/>
                    <a:pt x="145465" y="575883"/>
                  </a:cubicBezTo>
                  <a:cubicBezTo>
                    <a:pt x="137755" y="570743"/>
                    <a:pt x="134543" y="571385"/>
                    <a:pt x="126190" y="560463"/>
                  </a:cubicBezTo>
                  <a:cubicBezTo>
                    <a:pt x="118481" y="550183"/>
                    <a:pt x="118481" y="550826"/>
                    <a:pt x="111413" y="541831"/>
                  </a:cubicBezTo>
                  <a:cubicBezTo>
                    <a:pt x="104988" y="533479"/>
                    <a:pt x="99206" y="521271"/>
                    <a:pt x="77361" y="512277"/>
                  </a:cubicBezTo>
                  <a:cubicBezTo>
                    <a:pt x="55517" y="502639"/>
                    <a:pt x="61299" y="520629"/>
                    <a:pt x="54874" y="523841"/>
                  </a:cubicBezTo>
                  <a:cubicBezTo>
                    <a:pt x="48450" y="527054"/>
                    <a:pt x="38812" y="518701"/>
                    <a:pt x="34315" y="512919"/>
                  </a:cubicBezTo>
                  <a:cubicBezTo>
                    <a:pt x="30460" y="507137"/>
                    <a:pt x="18253" y="505209"/>
                    <a:pt x="8615" y="502639"/>
                  </a:cubicBezTo>
                  <a:cubicBezTo>
                    <a:pt x="6688" y="501997"/>
                    <a:pt x="5403" y="501354"/>
                    <a:pt x="4118" y="500069"/>
                  </a:cubicBezTo>
                  <a:cubicBezTo>
                    <a:pt x="-1022" y="493002"/>
                    <a:pt x="-380" y="476940"/>
                    <a:pt x="905" y="468587"/>
                  </a:cubicBezTo>
                  <a:cubicBezTo>
                    <a:pt x="2833" y="458308"/>
                    <a:pt x="26605" y="459593"/>
                    <a:pt x="26605" y="458308"/>
                  </a:cubicBezTo>
                  <a:cubicBezTo>
                    <a:pt x="27247" y="457023"/>
                    <a:pt x="46522" y="448028"/>
                    <a:pt x="49734" y="440960"/>
                  </a:cubicBezTo>
                  <a:cubicBezTo>
                    <a:pt x="52304" y="433893"/>
                    <a:pt x="60014" y="417831"/>
                    <a:pt x="60014" y="417831"/>
                  </a:cubicBezTo>
                  <a:lnTo>
                    <a:pt x="73506" y="413976"/>
                  </a:lnTo>
                  <a:cubicBezTo>
                    <a:pt x="73506" y="413976"/>
                    <a:pt x="79931" y="404981"/>
                    <a:pt x="86356" y="396629"/>
                  </a:cubicBezTo>
                  <a:cubicBezTo>
                    <a:pt x="88284" y="394701"/>
                    <a:pt x="89569" y="392131"/>
                    <a:pt x="91496" y="390204"/>
                  </a:cubicBezTo>
                  <a:cubicBezTo>
                    <a:pt x="99206" y="381209"/>
                    <a:pt x="85071" y="368359"/>
                    <a:pt x="78646" y="363220"/>
                  </a:cubicBezTo>
                  <a:cubicBezTo>
                    <a:pt x="72221" y="357437"/>
                    <a:pt x="61942" y="363220"/>
                    <a:pt x="55517" y="363220"/>
                  </a:cubicBezTo>
                  <a:cubicBezTo>
                    <a:pt x="49092" y="363220"/>
                    <a:pt x="35600" y="328525"/>
                    <a:pt x="35600" y="328525"/>
                  </a:cubicBezTo>
                  <a:cubicBezTo>
                    <a:pt x="35600" y="328525"/>
                    <a:pt x="26605" y="306038"/>
                    <a:pt x="26605" y="298971"/>
                  </a:cubicBezTo>
                  <a:cubicBezTo>
                    <a:pt x="26605" y="291261"/>
                    <a:pt x="36242" y="277126"/>
                    <a:pt x="37527" y="275199"/>
                  </a:cubicBezTo>
                  <a:cubicBezTo>
                    <a:pt x="39455" y="273914"/>
                    <a:pt x="64512" y="262349"/>
                    <a:pt x="66439" y="258494"/>
                  </a:cubicBezTo>
                  <a:cubicBezTo>
                    <a:pt x="68366" y="255282"/>
                    <a:pt x="64512" y="246929"/>
                    <a:pt x="64512" y="246287"/>
                  </a:cubicBezTo>
                  <a:cubicBezTo>
                    <a:pt x="65154" y="246929"/>
                    <a:pt x="65797" y="246929"/>
                    <a:pt x="68366" y="245644"/>
                  </a:cubicBezTo>
                  <a:cubicBezTo>
                    <a:pt x="76719" y="241789"/>
                    <a:pt x="83144" y="237934"/>
                    <a:pt x="85714" y="235365"/>
                  </a:cubicBezTo>
                  <a:cubicBezTo>
                    <a:pt x="88926" y="232152"/>
                    <a:pt x="100491" y="227655"/>
                    <a:pt x="108201" y="225085"/>
                  </a:cubicBezTo>
                  <a:cubicBezTo>
                    <a:pt x="115911" y="222515"/>
                    <a:pt x="121050" y="217375"/>
                    <a:pt x="135185" y="220587"/>
                  </a:cubicBezTo>
                  <a:cubicBezTo>
                    <a:pt x="139040" y="221230"/>
                    <a:pt x="142895" y="222515"/>
                    <a:pt x="145465" y="223800"/>
                  </a:cubicBezTo>
                  <a:cubicBezTo>
                    <a:pt x="152532" y="226370"/>
                    <a:pt x="157030" y="229582"/>
                    <a:pt x="157672" y="231510"/>
                  </a:cubicBezTo>
                  <a:cubicBezTo>
                    <a:pt x="158957" y="234080"/>
                    <a:pt x="161527" y="246287"/>
                    <a:pt x="161527" y="248214"/>
                  </a:cubicBezTo>
                  <a:cubicBezTo>
                    <a:pt x="161527" y="250142"/>
                    <a:pt x="172449" y="257209"/>
                    <a:pt x="177589" y="257209"/>
                  </a:cubicBezTo>
                  <a:cubicBezTo>
                    <a:pt x="182729" y="257209"/>
                    <a:pt x="187869" y="252712"/>
                    <a:pt x="194294" y="255924"/>
                  </a:cubicBezTo>
                  <a:cubicBezTo>
                    <a:pt x="201361" y="259137"/>
                    <a:pt x="198149" y="261064"/>
                    <a:pt x="204574" y="259779"/>
                  </a:cubicBezTo>
                  <a:cubicBezTo>
                    <a:pt x="210999" y="258494"/>
                    <a:pt x="218709" y="253997"/>
                    <a:pt x="217424" y="250784"/>
                  </a:cubicBezTo>
                  <a:cubicBezTo>
                    <a:pt x="216139" y="247572"/>
                    <a:pt x="209714" y="242432"/>
                    <a:pt x="205859" y="242432"/>
                  </a:cubicBezTo>
                  <a:cubicBezTo>
                    <a:pt x="202004" y="242432"/>
                    <a:pt x="194937" y="239219"/>
                    <a:pt x="194937" y="236007"/>
                  </a:cubicBezTo>
                  <a:cubicBezTo>
                    <a:pt x="194294" y="232795"/>
                    <a:pt x="194294" y="225727"/>
                    <a:pt x="199434" y="223157"/>
                  </a:cubicBezTo>
                  <a:cubicBezTo>
                    <a:pt x="205216" y="220587"/>
                    <a:pt x="215496" y="221230"/>
                    <a:pt x="218066" y="219302"/>
                  </a:cubicBezTo>
                  <a:cubicBezTo>
                    <a:pt x="220636" y="217375"/>
                    <a:pt x="226418" y="215447"/>
                    <a:pt x="230916" y="214805"/>
                  </a:cubicBezTo>
                  <a:cubicBezTo>
                    <a:pt x="235413" y="214805"/>
                    <a:pt x="242481" y="212235"/>
                    <a:pt x="244408" y="210950"/>
                  </a:cubicBezTo>
                  <a:cubicBezTo>
                    <a:pt x="246336" y="209665"/>
                    <a:pt x="257258" y="201313"/>
                    <a:pt x="259828" y="195530"/>
                  </a:cubicBezTo>
                  <a:cubicBezTo>
                    <a:pt x="262398" y="190390"/>
                    <a:pt x="263683" y="183323"/>
                    <a:pt x="262398" y="182038"/>
                  </a:cubicBezTo>
                  <a:cubicBezTo>
                    <a:pt x="261113" y="180753"/>
                    <a:pt x="258543" y="177541"/>
                    <a:pt x="255330" y="181396"/>
                  </a:cubicBezTo>
                  <a:cubicBezTo>
                    <a:pt x="252118" y="185251"/>
                    <a:pt x="246978" y="192318"/>
                    <a:pt x="243123" y="194888"/>
                  </a:cubicBezTo>
                  <a:cubicBezTo>
                    <a:pt x="239268" y="197458"/>
                    <a:pt x="232843" y="204525"/>
                    <a:pt x="234128" y="197458"/>
                  </a:cubicBezTo>
                  <a:cubicBezTo>
                    <a:pt x="234771" y="189748"/>
                    <a:pt x="241196" y="182681"/>
                    <a:pt x="244408" y="179468"/>
                  </a:cubicBezTo>
                  <a:cubicBezTo>
                    <a:pt x="248263" y="176256"/>
                    <a:pt x="254045" y="171758"/>
                    <a:pt x="256615" y="171116"/>
                  </a:cubicBezTo>
                  <a:cubicBezTo>
                    <a:pt x="259185" y="170473"/>
                    <a:pt x="261755" y="171758"/>
                    <a:pt x="264968" y="168546"/>
                  </a:cubicBezTo>
                  <a:cubicBezTo>
                    <a:pt x="267538" y="165333"/>
                    <a:pt x="272035" y="161478"/>
                    <a:pt x="272678" y="159551"/>
                  </a:cubicBezTo>
                  <a:cubicBezTo>
                    <a:pt x="273320" y="157624"/>
                    <a:pt x="278460" y="150556"/>
                    <a:pt x="278460" y="150556"/>
                  </a:cubicBezTo>
                  <a:cubicBezTo>
                    <a:pt x="278460" y="150556"/>
                    <a:pt x="289382" y="151199"/>
                    <a:pt x="301589" y="151199"/>
                  </a:cubicBezTo>
                  <a:cubicBezTo>
                    <a:pt x="313797" y="151199"/>
                    <a:pt x="325361" y="152484"/>
                    <a:pt x="329216" y="151199"/>
                  </a:cubicBezTo>
                  <a:cubicBezTo>
                    <a:pt x="333071" y="149914"/>
                    <a:pt x="341424" y="146059"/>
                    <a:pt x="348491" y="143489"/>
                  </a:cubicBezTo>
                  <a:cubicBezTo>
                    <a:pt x="355558" y="140919"/>
                    <a:pt x="365196" y="137064"/>
                    <a:pt x="371621" y="136421"/>
                  </a:cubicBezTo>
                  <a:cubicBezTo>
                    <a:pt x="378045" y="135779"/>
                    <a:pt x="381258" y="136421"/>
                    <a:pt x="387040" y="135137"/>
                  </a:cubicBezTo>
                  <a:cubicBezTo>
                    <a:pt x="392823" y="133852"/>
                    <a:pt x="397963" y="134494"/>
                    <a:pt x="401175" y="131924"/>
                  </a:cubicBezTo>
                  <a:cubicBezTo>
                    <a:pt x="404387" y="129354"/>
                    <a:pt x="407600" y="126784"/>
                    <a:pt x="407600" y="126784"/>
                  </a:cubicBezTo>
                  <a:cubicBezTo>
                    <a:pt x="407600" y="126784"/>
                    <a:pt x="424305" y="113292"/>
                    <a:pt x="433299" y="104297"/>
                  </a:cubicBezTo>
                  <a:cubicBezTo>
                    <a:pt x="441652" y="95302"/>
                    <a:pt x="450004" y="86307"/>
                    <a:pt x="452574" y="82453"/>
                  </a:cubicBezTo>
                  <a:cubicBezTo>
                    <a:pt x="455144" y="78598"/>
                    <a:pt x="465424" y="66390"/>
                    <a:pt x="466066" y="66390"/>
                  </a:cubicBezTo>
                  <a:cubicBezTo>
                    <a:pt x="467351" y="65748"/>
                    <a:pt x="468636" y="63820"/>
                    <a:pt x="468636" y="67675"/>
                  </a:cubicBezTo>
                  <a:cubicBezTo>
                    <a:pt x="468636" y="72173"/>
                    <a:pt x="466066" y="75385"/>
                    <a:pt x="464139" y="79883"/>
                  </a:cubicBezTo>
                  <a:cubicBezTo>
                    <a:pt x="462854" y="84380"/>
                    <a:pt x="458356" y="91447"/>
                    <a:pt x="462211" y="97230"/>
                  </a:cubicBezTo>
                  <a:cubicBezTo>
                    <a:pt x="466066" y="103655"/>
                    <a:pt x="473133" y="109437"/>
                    <a:pt x="475061" y="105582"/>
                  </a:cubicBezTo>
                  <a:cubicBezTo>
                    <a:pt x="476988" y="101727"/>
                    <a:pt x="478273" y="99157"/>
                    <a:pt x="476988" y="94017"/>
                  </a:cubicBezTo>
                  <a:cubicBezTo>
                    <a:pt x="475704" y="88877"/>
                    <a:pt x="473133" y="83095"/>
                    <a:pt x="476988" y="79240"/>
                  </a:cubicBezTo>
                  <a:cubicBezTo>
                    <a:pt x="480201" y="74743"/>
                    <a:pt x="484698" y="72815"/>
                    <a:pt x="488553" y="69603"/>
                  </a:cubicBezTo>
                  <a:cubicBezTo>
                    <a:pt x="492408" y="66390"/>
                    <a:pt x="494336" y="65748"/>
                    <a:pt x="496906" y="63178"/>
                  </a:cubicBezTo>
                  <a:cubicBezTo>
                    <a:pt x="499475" y="60608"/>
                    <a:pt x="502045" y="56753"/>
                    <a:pt x="502045" y="55468"/>
                  </a:cubicBezTo>
                  <a:cubicBezTo>
                    <a:pt x="502045" y="53541"/>
                    <a:pt x="500761" y="48401"/>
                    <a:pt x="498833" y="47116"/>
                  </a:cubicBezTo>
                  <a:cubicBezTo>
                    <a:pt x="496906" y="46473"/>
                    <a:pt x="494336" y="42618"/>
                    <a:pt x="489838" y="46473"/>
                  </a:cubicBezTo>
                  <a:cubicBezTo>
                    <a:pt x="485341" y="50328"/>
                    <a:pt x="484056" y="51613"/>
                    <a:pt x="482128" y="54826"/>
                  </a:cubicBezTo>
                  <a:cubicBezTo>
                    <a:pt x="480201" y="58038"/>
                    <a:pt x="478916" y="61250"/>
                    <a:pt x="475704" y="59965"/>
                  </a:cubicBezTo>
                  <a:cubicBezTo>
                    <a:pt x="472491" y="58681"/>
                    <a:pt x="468636" y="58038"/>
                    <a:pt x="469279" y="54183"/>
                  </a:cubicBezTo>
                  <a:cubicBezTo>
                    <a:pt x="469921" y="50328"/>
                    <a:pt x="473133" y="47758"/>
                    <a:pt x="475061" y="43903"/>
                  </a:cubicBezTo>
                  <a:cubicBezTo>
                    <a:pt x="476346" y="40691"/>
                    <a:pt x="481486" y="38121"/>
                    <a:pt x="483413" y="29769"/>
                  </a:cubicBezTo>
                  <a:cubicBezTo>
                    <a:pt x="484698" y="21416"/>
                    <a:pt x="484698" y="21416"/>
                    <a:pt x="485341" y="16919"/>
                  </a:cubicBezTo>
                  <a:cubicBezTo>
                    <a:pt x="485983" y="12421"/>
                    <a:pt x="487911" y="5997"/>
                    <a:pt x="491123" y="3427"/>
                  </a:cubicBezTo>
                  <a:cubicBezTo>
                    <a:pt x="494336" y="857"/>
                    <a:pt x="502045" y="-1713"/>
                    <a:pt x="504616" y="1499"/>
                  </a:cubicBezTo>
                  <a:cubicBezTo>
                    <a:pt x="507828" y="5354"/>
                    <a:pt x="509755" y="6639"/>
                    <a:pt x="512325" y="9209"/>
                  </a:cubicBezTo>
                  <a:cubicBezTo>
                    <a:pt x="514895" y="11779"/>
                    <a:pt x="517465" y="13706"/>
                    <a:pt x="523248" y="13706"/>
                  </a:cubicBezTo>
                  <a:cubicBezTo>
                    <a:pt x="529030" y="13706"/>
                    <a:pt x="534812" y="14349"/>
                    <a:pt x="536097" y="14991"/>
                  </a:cubicBezTo>
                  <a:cubicBezTo>
                    <a:pt x="537382" y="15634"/>
                    <a:pt x="549590" y="18846"/>
                    <a:pt x="561797" y="18846"/>
                  </a:cubicBezTo>
                  <a:lnTo>
                    <a:pt x="595206" y="18846"/>
                  </a:lnTo>
                  <a:cubicBezTo>
                    <a:pt x="598419" y="18846"/>
                    <a:pt x="607413" y="20131"/>
                    <a:pt x="608056" y="21416"/>
                  </a:cubicBezTo>
                  <a:cubicBezTo>
                    <a:pt x="608056" y="22701"/>
                    <a:pt x="610626" y="23986"/>
                    <a:pt x="603559" y="26556"/>
                  </a:cubicBezTo>
                  <a:cubicBezTo>
                    <a:pt x="596491" y="29126"/>
                    <a:pt x="591351" y="29769"/>
                    <a:pt x="584284" y="30411"/>
                  </a:cubicBezTo>
                  <a:cubicBezTo>
                    <a:pt x="577217" y="31054"/>
                    <a:pt x="567579" y="31054"/>
                    <a:pt x="558584" y="31054"/>
                  </a:cubicBezTo>
                  <a:cubicBezTo>
                    <a:pt x="549590" y="31054"/>
                    <a:pt x="545735" y="31054"/>
                    <a:pt x="537382" y="31054"/>
                  </a:cubicBezTo>
                  <a:cubicBezTo>
                    <a:pt x="529030" y="31054"/>
                    <a:pt x="523248" y="32339"/>
                    <a:pt x="521963" y="34266"/>
                  </a:cubicBezTo>
                  <a:cubicBezTo>
                    <a:pt x="520678" y="36193"/>
                    <a:pt x="516180" y="41333"/>
                    <a:pt x="516823" y="45188"/>
                  </a:cubicBezTo>
                  <a:cubicBezTo>
                    <a:pt x="517465" y="49043"/>
                    <a:pt x="517465" y="50328"/>
                    <a:pt x="521963" y="51613"/>
                  </a:cubicBezTo>
                  <a:cubicBezTo>
                    <a:pt x="526460" y="52256"/>
                    <a:pt x="532885" y="52898"/>
                    <a:pt x="538025" y="50971"/>
                  </a:cubicBezTo>
                  <a:cubicBezTo>
                    <a:pt x="543165" y="48401"/>
                    <a:pt x="546377" y="44546"/>
                    <a:pt x="553444" y="44546"/>
                  </a:cubicBezTo>
                  <a:cubicBezTo>
                    <a:pt x="559869" y="44546"/>
                    <a:pt x="574647" y="44546"/>
                    <a:pt x="575931" y="45188"/>
                  </a:cubicBezTo>
                  <a:cubicBezTo>
                    <a:pt x="577217" y="45831"/>
                    <a:pt x="580429" y="45831"/>
                    <a:pt x="583641" y="45831"/>
                  </a:cubicBezTo>
                  <a:cubicBezTo>
                    <a:pt x="586854" y="45831"/>
                    <a:pt x="595206" y="41333"/>
                    <a:pt x="599704" y="40048"/>
                  </a:cubicBezTo>
                  <a:cubicBezTo>
                    <a:pt x="604201" y="38763"/>
                    <a:pt x="613838" y="34908"/>
                    <a:pt x="620906" y="32981"/>
                  </a:cubicBezTo>
                  <a:cubicBezTo>
                    <a:pt x="628615" y="31696"/>
                    <a:pt x="636325" y="28484"/>
                    <a:pt x="638895" y="31054"/>
                  </a:cubicBezTo>
                  <a:cubicBezTo>
                    <a:pt x="641465" y="33624"/>
                    <a:pt x="645320" y="41333"/>
                    <a:pt x="645320" y="44546"/>
                  </a:cubicBezTo>
                  <a:cubicBezTo>
                    <a:pt x="645320" y="47758"/>
                    <a:pt x="646605" y="63820"/>
                    <a:pt x="654958" y="72815"/>
                  </a:cubicBezTo>
                  <a:cubicBezTo>
                    <a:pt x="663310" y="81810"/>
                    <a:pt x="669735" y="88877"/>
                    <a:pt x="678087" y="90162"/>
                  </a:cubicBezTo>
                  <a:cubicBezTo>
                    <a:pt x="686439" y="91447"/>
                    <a:pt x="690294" y="90805"/>
                    <a:pt x="693507" y="92732"/>
                  </a:cubicBezTo>
                  <a:cubicBezTo>
                    <a:pt x="696077" y="94660"/>
                    <a:pt x="701216" y="98515"/>
                    <a:pt x="706999" y="101085"/>
                  </a:cubicBezTo>
                  <a:cubicBezTo>
                    <a:pt x="706999" y="101085"/>
                    <a:pt x="714066" y="100442"/>
                    <a:pt x="717921" y="102370"/>
                  </a:cubicBezTo>
                  <a:cubicBezTo>
                    <a:pt x="722419" y="104297"/>
                    <a:pt x="728201" y="112649"/>
                    <a:pt x="731413" y="115862"/>
                  </a:cubicBezTo>
                  <a:cubicBezTo>
                    <a:pt x="734626" y="119074"/>
                    <a:pt x="745548" y="124857"/>
                    <a:pt x="743621" y="128712"/>
                  </a:cubicBezTo>
                  <a:cubicBezTo>
                    <a:pt x="741693" y="133209"/>
                    <a:pt x="735268" y="135779"/>
                    <a:pt x="736553" y="137706"/>
                  </a:cubicBezTo>
                  <a:cubicBezTo>
                    <a:pt x="737196" y="139634"/>
                    <a:pt x="742336" y="142846"/>
                    <a:pt x="745548" y="142846"/>
                  </a:cubicBezTo>
                  <a:cubicBezTo>
                    <a:pt x="748761" y="142846"/>
                    <a:pt x="756470" y="144131"/>
                    <a:pt x="757755" y="146701"/>
                  </a:cubicBezTo>
                  <a:cubicBezTo>
                    <a:pt x="759040" y="149271"/>
                    <a:pt x="759683" y="157624"/>
                    <a:pt x="762895" y="160194"/>
                  </a:cubicBezTo>
                  <a:cubicBezTo>
                    <a:pt x="766108" y="162763"/>
                    <a:pt x="773175" y="163406"/>
                    <a:pt x="773818" y="163406"/>
                  </a:cubicBezTo>
                  <a:cubicBezTo>
                    <a:pt x="774460" y="162763"/>
                    <a:pt x="776388" y="159551"/>
                    <a:pt x="774460" y="157624"/>
                  </a:cubicBezTo>
                  <a:cubicBezTo>
                    <a:pt x="772533" y="155054"/>
                    <a:pt x="769963" y="152484"/>
                    <a:pt x="768678" y="150556"/>
                  </a:cubicBezTo>
                  <a:cubicBezTo>
                    <a:pt x="767393" y="149271"/>
                    <a:pt x="763538" y="147986"/>
                    <a:pt x="766750" y="144774"/>
                  </a:cubicBezTo>
                  <a:cubicBezTo>
                    <a:pt x="770605" y="141561"/>
                    <a:pt x="779600" y="137064"/>
                    <a:pt x="779600" y="137064"/>
                  </a:cubicBezTo>
                  <a:cubicBezTo>
                    <a:pt x="779600" y="137064"/>
                    <a:pt x="798875" y="132567"/>
                    <a:pt x="804657" y="129354"/>
                  </a:cubicBezTo>
                  <a:cubicBezTo>
                    <a:pt x="810439" y="126142"/>
                    <a:pt x="814294" y="122287"/>
                    <a:pt x="817507" y="121644"/>
                  </a:cubicBezTo>
                  <a:cubicBezTo>
                    <a:pt x="821362" y="121002"/>
                    <a:pt x="828429" y="119074"/>
                    <a:pt x="829714" y="121644"/>
                  </a:cubicBezTo>
                  <a:cubicBezTo>
                    <a:pt x="830999" y="124214"/>
                    <a:pt x="836139" y="128069"/>
                    <a:pt x="838709" y="126784"/>
                  </a:cubicBezTo>
                  <a:cubicBezTo>
                    <a:pt x="841279" y="125499"/>
                    <a:pt x="846419" y="119717"/>
                    <a:pt x="848989" y="119717"/>
                  </a:cubicBezTo>
                  <a:cubicBezTo>
                    <a:pt x="850916" y="119074"/>
                    <a:pt x="859268" y="117789"/>
                    <a:pt x="859911" y="119074"/>
                  </a:cubicBezTo>
                  <a:cubicBezTo>
                    <a:pt x="860553" y="120359"/>
                    <a:pt x="863123" y="131924"/>
                    <a:pt x="863123" y="132567"/>
                  </a:cubicBezTo>
                  <a:cubicBezTo>
                    <a:pt x="863123" y="133209"/>
                    <a:pt x="876616" y="149271"/>
                    <a:pt x="880471" y="153769"/>
                  </a:cubicBezTo>
                  <a:cubicBezTo>
                    <a:pt x="884325" y="158266"/>
                    <a:pt x="889465" y="162763"/>
                    <a:pt x="891393" y="166618"/>
                  </a:cubicBezTo>
                  <a:cubicBezTo>
                    <a:pt x="893320" y="170473"/>
                    <a:pt x="900388" y="178826"/>
                    <a:pt x="897175" y="181396"/>
                  </a:cubicBezTo>
                  <a:cubicBezTo>
                    <a:pt x="894605" y="183966"/>
                    <a:pt x="892035" y="188463"/>
                    <a:pt x="885610" y="187820"/>
                  </a:cubicBezTo>
                  <a:cubicBezTo>
                    <a:pt x="878543" y="187820"/>
                    <a:pt x="874046" y="184608"/>
                    <a:pt x="870833" y="181396"/>
                  </a:cubicBezTo>
                  <a:cubicBezTo>
                    <a:pt x="867621" y="178183"/>
                    <a:pt x="865693" y="174328"/>
                    <a:pt x="863123" y="173043"/>
                  </a:cubicBezTo>
                  <a:cubicBezTo>
                    <a:pt x="860553" y="171758"/>
                    <a:pt x="856056" y="172401"/>
                    <a:pt x="855413" y="175613"/>
                  </a:cubicBezTo>
                  <a:cubicBezTo>
                    <a:pt x="854771" y="178183"/>
                    <a:pt x="855413" y="182681"/>
                    <a:pt x="858626" y="186536"/>
                  </a:cubicBezTo>
                  <a:cubicBezTo>
                    <a:pt x="861838" y="190390"/>
                    <a:pt x="866336" y="195530"/>
                    <a:pt x="866336" y="196815"/>
                  </a:cubicBezTo>
                  <a:cubicBezTo>
                    <a:pt x="866336" y="198100"/>
                    <a:pt x="865693" y="199385"/>
                    <a:pt x="867621" y="201955"/>
                  </a:cubicBezTo>
                  <a:cubicBezTo>
                    <a:pt x="870191" y="205168"/>
                    <a:pt x="874688" y="205168"/>
                    <a:pt x="875331" y="207095"/>
                  </a:cubicBezTo>
                  <a:cubicBezTo>
                    <a:pt x="875331" y="208380"/>
                    <a:pt x="874046" y="208380"/>
                    <a:pt x="875331" y="214805"/>
                  </a:cubicBezTo>
                  <a:cubicBezTo>
                    <a:pt x="876616" y="221230"/>
                    <a:pt x="875973" y="224442"/>
                    <a:pt x="875973" y="228297"/>
                  </a:cubicBezTo>
                  <a:cubicBezTo>
                    <a:pt x="875973" y="232152"/>
                    <a:pt x="877258" y="234722"/>
                    <a:pt x="880471" y="235365"/>
                  </a:cubicBezTo>
                  <a:cubicBezTo>
                    <a:pt x="883683" y="235365"/>
                    <a:pt x="890108" y="230867"/>
                    <a:pt x="892035" y="230225"/>
                  </a:cubicBezTo>
                  <a:cubicBezTo>
                    <a:pt x="893963" y="230225"/>
                    <a:pt x="898460" y="236007"/>
                    <a:pt x="902315" y="230867"/>
                  </a:cubicBezTo>
                  <a:cubicBezTo>
                    <a:pt x="906170" y="225085"/>
                    <a:pt x="908740" y="219945"/>
                    <a:pt x="908097" y="216732"/>
                  </a:cubicBezTo>
                  <a:cubicBezTo>
                    <a:pt x="908097" y="213520"/>
                    <a:pt x="906812" y="209023"/>
                    <a:pt x="908097" y="208380"/>
                  </a:cubicBezTo>
                  <a:cubicBezTo>
                    <a:pt x="910025" y="207738"/>
                    <a:pt x="915807" y="207738"/>
                    <a:pt x="917092" y="210308"/>
                  </a:cubicBezTo>
                  <a:cubicBezTo>
                    <a:pt x="917735" y="212877"/>
                    <a:pt x="919662" y="218017"/>
                    <a:pt x="922875" y="216090"/>
                  </a:cubicBezTo>
                  <a:cubicBezTo>
                    <a:pt x="926087" y="214162"/>
                    <a:pt x="928015" y="211593"/>
                    <a:pt x="928657" y="206453"/>
                  </a:cubicBezTo>
                  <a:cubicBezTo>
                    <a:pt x="929299" y="201313"/>
                    <a:pt x="929299" y="194245"/>
                    <a:pt x="925445" y="192318"/>
                  </a:cubicBezTo>
                  <a:cubicBezTo>
                    <a:pt x="920947" y="191033"/>
                    <a:pt x="913880" y="192318"/>
                    <a:pt x="911310" y="187178"/>
                  </a:cubicBezTo>
                  <a:cubicBezTo>
                    <a:pt x="909383" y="182038"/>
                    <a:pt x="900388" y="167261"/>
                    <a:pt x="899745" y="165976"/>
                  </a:cubicBezTo>
                  <a:cubicBezTo>
                    <a:pt x="899103" y="164691"/>
                    <a:pt x="893963" y="160836"/>
                    <a:pt x="896533" y="159551"/>
                  </a:cubicBezTo>
                  <a:cubicBezTo>
                    <a:pt x="899103" y="158266"/>
                    <a:pt x="904243" y="156981"/>
                    <a:pt x="909383" y="160194"/>
                  </a:cubicBezTo>
                  <a:cubicBezTo>
                    <a:pt x="914522" y="163406"/>
                    <a:pt x="924802" y="171116"/>
                    <a:pt x="926730" y="173686"/>
                  </a:cubicBezTo>
                  <a:cubicBezTo>
                    <a:pt x="928657" y="176256"/>
                    <a:pt x="940864" y="189748"/>
                    <a:pt x="944719" y="192318"/>
                  </a:cubicBezTo>
                  <a:cubicBezTo>
                    <a:pt x="947932" y="194888"/>
                    <a:pt x="953072" y="198743"/>
                    <a:pt x="954999" y="200670"/>
                  </a:cubicBezTo>
                  <a:cubicBezTo>
                    <a:pt x="956927" y="203240"/>
                    <a:pt x="966564" y="210950"/>
                    <a:pt x="969776" y="212877"/>
                  </a:cubicBezTo>
                  <a:cubicBezTo>
                    <a:pt x="972989" y="214805"/>
                    <a:pt x="974274" y="214805"/>
                    <a:pt x="976201" y="221230"/>
                  </a:cubicBezTo>
                  <a:cubicBezTo>
                    <a:pt x="978129" y="227655"/>
                    <a:pt x="983269" y="238577"/>
                    <a:pt x="980698" y="241789"/>
                  </a:cubicBezTo>
                  <a:cubicBezTo>
                    <a:pt x="978129" y="245644"/>
                    <a:pt x="974274" y="248857"/>
                    <a:pt x="965921" y="248214"/>
                  </a:cubicBezTo>
                  <a:cubicBezTo>
                    <a:pt x="956927" y="247572"/>
                    <a:pt x="939579" y="245002"/>
                    <a:pt x="933797" y="247572"/>
                  </a:cubicBezTo>
                  <a:cubicBezTo>
                    <a:pt x="928015" y="250142"/>
                    <a:pt x="928015" y="255924"/>
                    <a:pt x="919020" y="256567"/>
                  </a:cubicBezTo>
                  <a:cubicBezTo>
                    <a:pt x="910667" y="257209"/>
                    <a:pt x="908097" y="257209"/>
                    <a:pt x="905528" y="256567"/>
                  </a:cubicBezTo>
                  <a:cubicBezTo>
                    <a:pt x="902958" y="255924"/>
                    <a:pt x="899745" y="252712"/>
                    <a:pt x="894605" y="254639"/>
                  </a:cubicBezTo>
                  <a:cubicBezTo>
                    <a:pt x="889465" y="256567"/>
                    <a:pt x="886895" y="259137"/>
                    <a:pt x="882398" y="260422"/>
                  </a:cubicBezTo>
                  <a:cubicBezTo>
                    <a:pt x="877900" y="261706"/>
                    <a:pt x="871476" y="258494"/>
                    <a:pt x="870833" y="260422"/>
                  </a:cubicBezTo>
                  <a:cubicBezTo>
                    <a:pt x="870191" y="262349"/>
                    <a:pt x="879186" y="271986"/>
                    <a:pt x="881755" y="273271"/>
                  </a:cubicBezTo>
                  <a:cubicBezTo>
                    <a:pt x="883683" y="274556"/>
                    <a:pt x="895890" y="282909"/>
                    <a:pt x="917735" y="292546"/>
                  </a:cubicBezTo>
                  <a:cubicBezTo>
                    <a:pt x="939579" y="302183"/>
                    <a:pt x="941507" y="304753"/>
                    <a:pt x="949859" y="304753"/>
                  </a:cubicBezTo>
                  <a:cubicBezTo>
                    <a:pt x="958211" y="304753"/>
                    <a:pt x="970419" y="300898"/>
                    <a:pt x="970419" y="304753"/>
                  </a:cubicBezTo>
                  <a:cubicBezTo>
                    <a:pt x="970419" y="308608"/>
                    <a:pt x="963994" y="313105"/>
                    <a:pt x="971061" y="315033"/>
                  </a:cubicBezTo>
                  <a:cubicBezTo>
                    <a:pt x="978129" y="316960"/>
                    <a:pt x="984553" y="318888"/>
                    <a:pt x="990978" y="317603"/>
                  </a:cubicBezTo>
                  <a:cubicBezTo>
                    <a:pt x="997403" y="316318"/>
                    <a:pt x="1008326" y="318245"/>
                    <a:pt x="1008968" y="320173"/>
                  </a:cubicBezTo>
                  <a:cubicBezTo>
                    <a:pt x="1009610" y="322100"/>
                    <a:pt x="1006398" y="329168"/>
                    <a:pt x="1005756" y="332380"/>
                  </a:cubicBezTo>
                  <a:cubicBezTo>
                    <a:pt x="1005756" y="334950"/>
                    <a:pt x="1001258" y="332380"/>
                    <a:pt x="1009610" y="353582"/>
                  </a:cubicBezTo>
                  <a:cubicBezTo>
                    <a:pt x="1017963" y="374784"/>
                    <a:pt x="1019248" y="376712"/>
                    <a:pt x="1019890" y="387634"/>
                  </a:cubicBezTo>
                  <a:cubicBezTo>
                    <a:pt x="1020533" y="398556"/>
                    <a:pt x="1026315" y="409479"/>
                    <a:pt x="1027600" y="412691"/>
                  </a:cubicBezTo>
                  <a:cubicBezTo>
                    <a:pt x="1028885" y="415903"/>
                    <a:pt x="1034668" y="424898"/>
                    <a:pt x="1042377" y="442245"/>
                  </a:cubicBezTo>
                  <a:cubicBezTo>
                    <a:pt x="1044305" y="446100"/>
                    <a:pt x="1045590" y="449313"/>
                    <a:pt x="1046875" y="451883"/>
                  </a:cubicBezTo>
                  <a:lnTo>
                    <a:pt x="1046875" y="451883"/>
                  </a:lnTo>
                  <a:cubicBezTo>
                    <a:pt x="1048160" y="454453"/>
                    <a:pt x="1048802" y="455738"/>
                    <a:pt x="1049445" y="457665"/>
                  </a:cubicBezTo>
                  <a:cubicBezTo>
                    <a:pt x="1050087" y="458308"/>
                    <a:pt x="1050087" y="458950"/>
                    <a:pt x="1050730" y="459593"/>
                  </a:cubicBezTo>
                  <a:cubicBezTo>
                    <a:pt x="1051372" y="460878"/>
                    <a:pt x="1051372" y="461520"/>
                    <a:pt x="1052015" y="462163"/>
                  </a:cubicBezTo>
                  <a:cubicBezTo>
                    <a:pt x="1052657" y="462805"/>
                    <a:pt x="1052657" y="463448"/>
                    <a:pt x="1052657" y="464732"/>
                  </a:cubicBezTo>
                  <a:cubicBezTo>
                    <a:pt x="1052657" y="465375"/>
                    <a:pt x="1053300" y="466660"/>
                    <a:pt x="1053300" y="467302"/>
                  </a:cubicBezTo>
                  <a:cubicBezTo>
                    <a:pt x="1053300" y="467945"/>
                    <a:pt x="1053300" y="469230"/>
                    <a:pt x="1053942" y="469872"/>
                  </a:cubicBezTo>
                  <a:cubicBezTo>
                    <a:pt x="1054585" y="469872"/>
                    <a:pt x="1054585" y="471157"/>
                    <a:pt x="1054585" y="472442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0" name="Freihandform 459">
              <a:extLst>
                <a:ext uri="{FF2B5EF4-FFF2-40B4-BE49-F238E27FC236}">
                  <a16:creationId xmlns:a16="http://schemas.microsoft.com/office/drawing/2014/main" id="{7734B393-9368-AF5C-5B37-B230C89A8516}"/>
                </a:ext>
              </a:extLst>
            </p:cNvPr>
            <p:cNvSpPr/>
            <p:nvPr/>
          </p:nvSpPr>
          <p:spPr>
            <a:xfrm>
              <a:off x="3113328" y="2429090"/>
              <a:ext cx="1054584" cy="616866"/>
            </a:xfrm>
            <a:custGeom>
              <a:avLst/>
              <a:gdLst>
                <a:gd name="connsiteX0" fmla="*/ 1054585 w 1054584"/>
                <a:gd name="connsiteY0" fmla="*/ 472442 h 616866"/>
                <a:gd name="connsiteX1" fmla="*/ 1048802 w 1054584"/>
                <a:gd name="connsiteY1" fmla="*/ 472442 h 616866"/>
                <a:gd name="connsiteX2" fmla="*/ 1034668 w 1054584"/>
                <a:gd name="connsiteY2" fmla="*/ 473085 h 616866"/>
                <a:gd name="connsiteX3" fmla="*/ 1020533 w 1054584"/>
                <a:gd name="connsiteY3" fmla="*/ 485292 h 616866"/>
                <a:gd name="connsiteX4" fmla="*/ 999331 w 1054584"/>
                <a:gd name="connsiteY4" fmla="*/ 505852 h 616866"/>
                <a:gd name="connsiteX5" fmla="*/ 969134 w 1054584"/>
                <a:gd name="connsiteY5" fmla="*/ 505852 h 616866"/>
                <a:gd name="connsiteX6" fmla="*/ 951787 w 1054584"/>
                <a:gd name="connsiteY6" fmla="*/ 482722 h 616866"/>
                <a:gd name="connsiteX7" fmla="*/ 950502 w 1054584"/>
                <a:gd name="connsiteY7" fmla="*/ 471157 h 616866"/>
                <a:gd name="connsiteX8" fmla="*/ 920305 w 1054584"/>
                <a:gd name="connsiteY8" fmla="*/ 451883 h 616866"/>
                <a:gd name="connsiteX9" fmla="*/ 889465 w 1054584"/>
                <a:gd name="connsiteY9" fmla="*/ 454453 h 616866"/>
                <a:gd name="connsiteX10" fmla="*/ 870191 w 1054584"/>
                <a:gd name="connsiteY10" fmla="*/ 462163 h 616866"/>
                <a:gd name="connsiteX11" fmla="*/ 849631 w 1054584"/>
                <a:gd name="connsiteY11" fmla="*/ 462805 h 616866"/>
                <a:gd name="connsiteX12" fmla="*/ 834211 w 1054584"/>
                <a:gd name="connsiteY12" fmla="*/ 455095 h 616866"/>
                <a:gd name="connsiteX13" fmla="*/ 804657 w 1054584"/>
                <a:gd name="connsiteY13" fmla="*/ 464732 h 616866"/>
                <a:gd name="connsiteX14" fmla="*/ 792450 w 1054584"/>
                <a:gd name="connsiteY14" fmla="*/ 493644 h 616866"/>
                <a:gd name="connsiteX15" fmla="*/ 782812 w 1054584"/>
                <a:gd name="connsiteY15" fmla="*/ 517416 h 616866"/>
                <a:gd name="connsiteX16" fmla="*/ 761610 w 1054584"/>
                <a:gd name="connsiteY16" fmla="*/ 525769 h 616866"/>
                <a:gd name="connsiteX17" fmla="*/ 739766 w 1054584"/>
                <a:gd name="connsiteY17" fmla="*/ 521271 h 616866"/>
                <a:gd name="connsiteX18" fmla="*/ 712781 w 1054584"/>
                <a:gd name="connsiteY18" fmla="*/ 526411 h 616866"/>
                <a:gd name="connsiteX19" fmla="*/ 689009 w 1054584"/>
                <a:gd name="connsiteY19" fmla="*/ 541831 h 616866"/>
                <a:gd name="connsiteX20" fmla="*/ 680014 w 1054584"/>
                <a:gd name="connsiteY20" fmla="*/ 557251 h 616866"/>
                <a:gd name="connsiteX21" fmla="*/ 667165 w 1054584"/>
                <a:gd name="connsiteY21" fmla="*/ 568173 h 616866"/>
                <a:gd name="connsiteX22" fmla="*/ 621548 w 1054584"/>
                <a:gd name="connsiteY22" fmla="*/ 564961 h 616866"/>
                <a:gd name="connsiteX23" fmla="*/ 593921 w 1054584"/>
                <a:gd name="connsiteY23" fmla="*/ 555966 h 616866"/>
                <a:gd name="connsiteX24" fmla="*/ 561797 w 1054584"/>
                <a:gd name="connsiteY24" fmla="*/ 544401 h 616866"/>
                <a:gd name="connsiteX25" fmla="*/ 539310 w 1054584"/>
                <a:gd name="connsiteY25" fmla="*/ 536049 h 616866"/>
                <a:gd name="connsiteX26" fmla="*/ 502045 w 1054584"/>
                <a:gd name="connsiteY26" fmla="*/ 533479 h 616866"/>
                <a:gd name="connsiteX27" fmla="*/ 476346 w 1054584"/>
                <a:gd name="connsiteY27" fmla="*/ 521271 h 616866"/>
                <a:gd name="connsiteX28" fmla="*/ 450646 w 1054584"/>
                <a:gd name="connsiteY28" fmla="*/ 505852 h 616866"/>
                <a:gd name="connsiteX29" fmla="*/ 429444 w 1054584"/>
                <a:gd name="connsiteY29" fmla="*/ 494929 h 616866"/>
                <a:gd name="connsiteX30" fmla="*/ 394750 w 1054584"/>
                <a:gd name="connsiteY30" fmla="*/ 494929 h 616866"/>
                <a:gd name="connsiteX31" fmla="*/ 384470 w 1054584"/>
                <a:gd name="connsiteY31" fmla="*/ 514847 h 616866"/>
                <a:gd name="connsiteX32" fmla="*/ 343994 w 1054584"/>
                <a:gd name="connsiteY32" fmla="*/ 550826 h 616866"/>
                <a:gd name="connsiteX33" fmla="*/ 294522 w 1054584"/>
                <a:gd name="connsiteY33" fmla="*/ 549541 h 616866"/>
                <a:gd name="connsiteX34" fmla="*/ 268180 w 1054584"/>
                <a:gd name="connsiteY34" fmla="*/ 568173 h 616866"/>
                <a:gd name="connsiteX35" fmla="*/ 264325 w 1054584"/>
                <a:gd name="connsiteY35" fmla="*/ 574598 h 616866"/>
                <a:gd name="connsiteX36" fmla="*/ 264325 w 1054584"/>
                <a:gd name="connsiteY36" fmla="*/ 593230 h 616866"/>
                <a:gd name="connsiteX37" fmla="*/ 246978 w 1054584"/>
                <a:gd name="connsiteY37" fmla="*/ 604795 h 616866"/>
                <a:gd name="connsiteX38" fmla="*/ 227061 w 1054584"/>
                <a:gd name="connsiteY38" fmla="*/ 599012 h 616866"/>
                <a:gd name="connsiteX39" fmla="*/ 214854 w 1054584"/>
                <a:gd name="connsiteY39" fmla="*/ 614432 h 616866"/>
                <a:gd name="connsiteX40" fmla="*/ 205216 w 1054584"/>
                <a:gd name="connsiteY40" fmla="*/ 614432 h 616866"/>
                <a:gd name="connsiteX41" fmla="*/ 180802 w 1054584"/>
                <a:gd name="connsiteY41" fmla="*/ 604795 h 616866"/>
                <a:gd name="connsiteX42" fmla="*/ 174377 w 1054584"/>
                <a:gd name="connsiteY42" fmla="*/ 603510 h 616866"/>
                <a:gd name="connsiteX43" fmla="*/ 158315 w 1054584"/>
                <a:gd name="connsiteY43" fmla="*/ 593230 h 616866"/>
                <a:gd name="connsiteX44" fmla="*/ 145465 w 1054584"/>
                <a:gd name="connsiteY44" fmla="*/ 575883 h 616866"/>
                <a:gd name="connsiteX45" fmla="*/ 126190 w 1054584"/>
                <a:gd name="connsiteY45" fmla="*/ 560463 h 616866"/>
                <a:gd name="connsiteX46" fmla="*/ 111413 w 1054584"/>
                <a:gd name="connsiteY46" fmla="*/ 541831 h 616866"/>
                <a:gd name="connsiteX47" fmla="*/ 77361 w 1054584"/>
                <a:gd name="connsiteY47" fmla="*/ 512277 h 616866"/>
                <a:gd name="connsiteX48" fmla="*/ 54874 w 1054584"/>
                <a:gd name="connsiteY48" fmla="*/ 523841 h 616866"/>
                <a:gd name="connsiteX49" fmla="*/ 34315 w 1054584"/>
                <a:gd name="connsiteY49" fmla="*/ 512919 h 616866"/>
                <a:gd name="connsiteX50" fmla="*/ 8615 w 1054584"/>
                <a:gd name="connsiteY50" fmla="*/ 502639 h 616866"/>
                <a:gd name="connsiteX51" fmla="*/ 4118 w 1054584"/>
                <a:gd name="connsiteY51" fmla="*/ 500069 h 616866"/>
                <a:gd name="connsiteX52" fmla="*/ 905 w 1054584"/>
                <a:gd name="connsiteY52" fmla="*/ 468587 h 616866"/>
                <a:gd name="connsiteX53" fmla="*/ 26605 w 1054584"/>
                <a:gd name="connsiteY53" fmla="*/ 458308 h 616866"/>
                <a:gd name="connsiteX54" fmla="*/ 49734 w 1054584"/>
                <a:gd name="connsiteY54" fmla="*/ 440960 h 616866"/>
                <a:gd name="connsiteX55" fmla="*/ 60014 w 1054584"/>
                <a:gd name="connsiteY55" fmla="*/ 417831 h 616866"/>
                <a:gd name="connsiteX56" fmla="*/ 73506 w 1054584"/>
                <a:gd name="connsiteY56" fmla="*/ 413976 h 616866"/>
                <a:gd name="connsiteX57" fmla="*/ 86356 w 1054584"/>
                <a:gd name="connsiteY57" fmla="*/ 396629 h 616866"/>
                <a:gd name="connsiteX58" fmla="*/ 91496 w 1054584"/>
                <a:gd name="connsiteY58" fmla="*/ 390204 h 616866"/>
                <a:gd name="connsiteX59" fmla="*/ 78646 w 1054584"/>
                <a:gd name="connsiteY59" fmla="*/ 363220 h 616866"/>
                <a:gd name="connsiteX60" fmla="*/ 55517 w 1054584"/>
                <a:gd name="connsiteY60" fmla="*/ 363220 h 616866"/>
                <a:gd name="connsiteX61" fmla="*/ 35600 w 1054584"/>
                <a:gd name="connsiteY61" fmla="*/ 328525 h 616866"/>
                <a:gd name="connsiteX62" fmla="*/ 26605 w 1054584"/>
                <a:gd name="connsiteY62" fmla="*/ 298971 h 616866"/>
                <a:gd name="connsiteX63" fmla="*/ 37527 w 1054584"/>
                <a:gd name="connsiteY63" fmla="*/ 275199 h 616866"/>
                <a:gd name="connsiteX64" fmla="*/ 66439 w 1054584"/>
                <a:gd name="connsiteY64" fmla="*/ 258494 h 616866"/>
                <a:gd name="connsiteX65" fmla="*/ 64512 w 1054584"/>
                <a:gd name="connsiteY65" fmla="*/ 246287 h 616866"/>
                <a:gd name="connsiteX66" fmla="*/ 68366 w 1054584"/>
                <a:gd name="connsiteY66" fmla="*/ 245644 h 616866"/>
                <a:gd name="connsiteX67" fmla="*/ 85714 w 1054584"/>
                <a:gd name="connsiteY67" fmla="*/ 235365 h 616866"/>
                <a:gd name="connsiteX68" fmla="*/ 108201 w 1054584"/>
                <a:gd name="connsiteY68" fmla="*/ 225085 h 616866"/>
                <a:gd name="connsiteX69" fmla="*/ 135185 w 1054584"/>
                <a:gd name="connsiteY69" fmla="*/ 220587 h 616866"/>
                <a:gd name="connsiteX70" fmla="*/ 145465 w 1054584"/>
                <a:gd name="connsiteY70" fmla="*/ 223800 h 616866"/>
                <a:gd name="connsiteX71" fmla="*/ 157672 w 1054584"/>
                <a:gd name="connsiteY71" fmla="*/ 231510 h 616866"/>
                <a:gd name="connsiteX72" fmla="*/ 161527 w 1054584"/>
                <a:gd name="connsiteY72" fmla="*/ 248214 h 616866"/>
                <a:gd name="connsiteX73" fmla="*/ 177589 w 1054584"/>
                <a:gd name="connsiteY73" fmla="*/ 257209 h 616866"/>
                <a:gd name="connsiteX74" fmla="*/ 194294 w 1054584"/>
                <a:gd name="connsiteY74" fmla="*/ 255924 h 616866"/>
                <a:gd name="connsiteX75" fmla="*/ 204574 w 1054584"/>
                <a:gd name="connsiteY75" fmla="*/ 259779 h 616866"/>
                <a:gd name="connsiteX76" fmla="*/ 217424 w 1054584"/>
                <a:gd name="connsiteY76" fmla="*/ 250784 h 616866"/>
                <a:gd name="connsiteX77" fmla="*/ 205859 w 1054584"/>
                <a:gd name="connsiteY77" fmla="*/ 242432 h 616866"/>
                <a:gd name="connsiteX78" fmla="*/ 194937 w 1054584"/>
                <a:gd name="connsiteY78" fmla="*/ 236007 h 616866"/>
                <a:gd name="connsiteX79" fmla="*/ 199434 w 1054584"/>
                <a:gd name="connsiteY79" fmla="*/ 223157 h 616866"/>
                <a:gd name="connsiteX80" fmla="*/ 218066 w 1054584"/>
                <a:gd name="connsiteY80" fmla="*/ 219302 h 616866"/>
                <a:gd name="connsiteX81" fmla="*/ 230916 w 1054584"/>
                <a:gd name="connsiteY81" fmla="*/ 214805 h 616866"/>
                <a:gd name="connsiteX82" fmla="*/ 244408 w 1054584"/>
                <a:gd name="connsiteY82" fmla="*/ 210950 h 616866"/>
                <a:gd name="connsiteX83" fmla="*/ 259828 w 1054584"/>
                <a:gd name="connsiteY83" fmla="*/ 195530 h 616866"/>
                <a:gd name="connsiteX84" fmla="*/ 262398 w 1054584"/>
                <a:gd name="connsiteY84" fmla="*/ 182038 h 616866"/>
                <a:gd name="connsiteX85" fmla="*/ 255330 w 1054584"/>
                <a:gd name="connsiteY85" fmla="*/ 181396 h 616866"/>
                <a:gd name="connsiteX86" fmla="*/ 243123 w 1054584"/>
                <a:gd name="connsiteY86" fmla="*/ 194888 h 616866"/>
                <a:gd name="connsiteX87" fmla="*/ 234128 w 1054584"/>
                <a:gd name="connsiteY87" fmla="*/ 197458 h 616866"/>
                <a:gd name="connsiteX88" fmla="*/ 244408 w 1054584"/>
                <a:gd name="connsiteY88" fmla="*/ 179468 h 616866"/>
                <a:gd name="connsiteX89" fmla="*/ 256615 w 1054584"/>
                <a:gd name="connsiteY89" fmla="*/ 171116 h 616866"/>
                <a:gd name="connsiteX90" fmla="*/ 264968 w 1054584"/>
                <a:gd name="connsiteY90" fmla="*/ 168546 h 616866"/>
                <a:gd name="connsiteX91" fmla="*/ 272678 w 1054584"/>
                <a:gd name="connsiteY91" fmla="*/ 159551 h 616866"/>
                <a:gd name="connsiteX92" fmla="*/ 278460 w 1054584"/>
                <a:gd name="connsiteY92" fmla="*/ 150556 h 616866"/>
                <a:gd name="connsiteX93" fmla="*/ 301589 w 1054584"/>
                <a:gd name="connsiteY93" fmla="*/ 151199 h 616866"/>
                <a:gd name="connsiteX94" fmla="*/ 329216 w 1054584"/>
                <a:gd name="connsiteY94" fmla="*/ 151199 h 616866"/>
                <a:gd name="connsiteX95" fmla="*/ 348491 w 1054584"/>
                <a:gd name="connsiteY95" fmla="*/ 143489 h 616866"/>
                <a:gd name="connsiteX96" fmla="*/ 371621 w 1054584"/>
                <a:gd name="connsiteY96" fmla="*/ 136421 h 616866"/>
                <a:gd name="connsiteX97" fmla="*/ 387040 w 1054584"/>
                <a:gd name="connsiteY97" fmla="*/ 135137 h 616866"/>
                <a:gd name="connsiteX98" fmla="*/ 401175 w 1054584"/>
                <a:gd name="connsiteY98" fmla="*/ 131924 h 616866"/>
                <a:gd name="connsiteX99" fmla="*/ 407600 w 1054584"/>
                <a:gd name="connsiteY99" fmla="*/ 126784 h 616866"/>
                <a:gd name="connsiteX100" fmla="*/ 433299 w 1054584"/>
                <a:gd name="connsiteY100" fmla="*/ 104297 h 616866"/>
                <a:gd name="connsiteX101" fmla="*/ 452574 w 1054584"/>
                <a:gd name="connsiteY101" fmla="*/ 82453 h 616866"/>
                <a:gd name="connsiteX102" fmla="*/ 466066 w 1054584"/>
                <a:gd name="connsiteY102" fmla="*/ 66390 h 616866"/>
                <a:gd name="connsiteX103" fmla="*/ 468636 w 1054584"/>
                <a:gd name="connsiteY103" fmla="*/ 67675 h 616866"/>
                <a:gd name="connsiteX104" fmla="*/ 464139 w 1054584"/>
                <a:gd name="connsiteY104" fmla="*/ 79883 h 616866"/>
                <a:gd name="connsiteX105" fmla="*/ 462211 w 1054584"/>
                <a:gd name="connsiteY105" fmla="*/ 97230 h 616866"/>
                <a:gd name="connsiteX106" fmla="*/ 475061 w 1054584"/>
                <a:gd name="connsiteY106" fmla="*/ 105582 h 616866"/>
                <a:gd name="connsiteX107" fmla="*/ 476988 w 1054584"/>
                <a:gd name="connsiteY107" fmla="*/ 94017 h 616866"/>
                <a:gd name="connsiteX108" fmla="*/ 476988 w 1054584"/>
                <a:gd name="connsiteY108" fmla="*/ 79240 h 616866"/>
                <a:gd name="connsiteX109" fmla="*/ 488553 w 1054584"/>
                <a:gd name="connsiteY109" fmla="*/ 69603 h 616866"/>
                <a:gd name="connsiteX110" fmla="*/ 496906 w 1054584"/>
                <a:gd name="connsiteY110" fmla="*/ 63178 h 616866"/>
                <a:gd name="connsiteX111" fmla="*/ 502045 w 1054584"/>
                <a:gd name="connsiteY111" fmla="*/ 55468 h 616866"/>
                <a:gd name="connsiteX112" fmla="*/ 498833 w 1054584"/>
                <a:gd name="connsiteY112" fmla="*/ 47116 h 616866"/>
                <a:gd name="connsiteX113" fmla="*/ 489838 w 1054584"/>
                <a:gd name="connsiteY113" fmla="*/ 46473 h 616866"/>
                <a:gd name="connsiteX114" fmla="*/ 482128 w 1054584"/>
                <a:gd name="connsiteY114" fmla="*/ 54826 h 616866"/>
                <a:gd name="connsiteX115" fmla="*/ 475704 w 1054584"/>
                <a:gd name="connsiteY115" fmla="*/ 59965 h 616866"/>
                <a:gd name="connsiteX116" fmla="*/ 469279 w 1054584"/>
                <a:gd name="connsiteY116" fmla="*/ 54183 h 616866"/>
                <a:gd name="connsiteX117" fmla="*/ 475061 w 1054584"/>
                <a:gd name="connsiteY117" fmla="*/ 43903 h 616866"/>
                <a:gd name="connsiteX118" fmla="*/ 483413 w 1054584"/>
                <a:gd name="connsiteY118" fmla="*/ 29769 h 616866"/>
                <a:gd name="connsiteX119" fmla="*/ 485341 w 1054584"/>
                <a:gd name="connsiteY119" fmla="*/ 16919 h 616866"/>
                <a:gd name="connsiteX120" fmla="*/ 491123 w 1054584"/>
                <a:gd name="connsiteY120" fmla="*/ 3427 h 616866"/>
                <a:gd name="connsiteX121" fmla="*/ 504616 w 1054584"/>
                <a:gd name="connsiteY121" fmla="*/ 1499 h 616866"/>
                <a:gd name="connsiteX122" fmla="*/ 512325 w 1054584"/>
                <a:gd name="connsiteY122" fmla="*/ 9209 h 616866"/>
                <a:gd name="connsiteX123" fmla="*/ 523248 w 1054584"/>
                <a:gd name="connsiteY123" fmla="*/ 13706 h 616866"/>
                <a:gd name="connsiteX124" fmla="*/ 536097 w 1054584"/>
                <a:gd name="connsiteY124" fmla="*/ 14991 h 616866"/>
                <a:gd name="connsiteX125" fmla="*/ 561797 w 1054584"/>
                <a:gd name="connsiteY125" fmla="*/ 18846 h 616866"/>
                <a:gd name="connsiteX126" fmla="*/ 595206 w 1054584"/>
                <a:gd name="connsiteY126" fmla="*/ 18846 h 616866"/>
                <a:gd name="connsiteX127" fmla="*/ 608056 w 1054584"/>
                <a:gd name="connsiteY127" fmla="*/ 21416 h 616866"/>
                <a:gd name="connsiteX128" fmla="*/ 603559 w 1054584"/>
                <a:gd name="connsiteY128" fmla="*/ 26556 h 616866"/>
                <a:gd name="connsiteX129" fmla="*/ 584284 w 1054584"/>
                <a:gd name="connsiteY129" fmla="*/ 30411 h 616866"/>
                <a:gd name="connsiteX130" fmla="*/ 558584 w 1054584"/>
                <a:gd name="connsiteY130" fmla="*/ 31054 h 616866"/>
                <a:gd name="connsiteX131" fmla="*/ 537382 w 1054584"/>
                <a:gd name="connsiteY131" fmla="*/ 31054 h 616866"/>
                <a:gd name="connsiteX132" fmla="*/ 521963 w 1054584"/>
                <a:gd name="connsiteY132" fmla="*/ 34266 h 616866"/>
                <a:gd name="connsiteX133" fmla="*/ 516823 w 1054584"/>
                <a:gd name="connsiteY133" fmla="*/ 45188 h 616866"/>
                <a:gd name="connsiteX134" fmla="*/ 521963 w 1054584"/>
                <a:gd name="connsiteY134" fmla="*/ 51613 h 616866"/>
                <a:gd name="connsiteX135" fmla="*/ 538025 w 1054584"/>
                <a:gd name="connsiteY135" fmla="*/ 50971 h 616866"/>
                <a:gd name="connsiteX136" fmla="*/ 553444 w 1054584"/>
                <a:gd name="connsiteY136" fmla="*/ 44546 h 616866"/>
                <a:gd name="connsiteX137" fmla="*/ 575931 w 1054584"/>
                <a:gd name="connsiteY137" fmla="*/ 45188 h 616866"/>
                <a:gd name="connsiteX138" fmla="*/ 583641 w 1054584"/>
                <a:gd name="connsiteY138" fmla="*/ 45831 h 616866"/>
                <a:gd name="connsiteX139" fmla="*/ 599704 w 1054584"/>
                <a:gd name="connsiteY139" fmla="*/ 40048 h 616866"/>
                <a:gd name="connsiteX140" fmla="*/ 620906 w 1054584"/>
                <a:gd name="connsiteY140" fmla="*/ 32981 h 616866"/>
                <a:gd name="connsiteX141" fmla="*/ 638895 w 1054584"/>
                <a:gd name="connsiteY141" fmla="*/ 31054 h 616866"/>
                <a:gd name="connsiteX142" fmla="*/ 645320 w 1054584"/>
                <a:gd name="connsiteY142" fmla="*/ 44546 h 616866"/>
                <a:gd name="connsiteX143" fmla="*/ 654958 w 1054584"/>
                <a:gd name="connsiteY143" fmla="*/ 72815 h 616866"/>
                <a:gd name="connsiteX144" fmla="*/ 678087 w 1054584"/>
                <a:gd name="connsiteY144" fmla="*/ 90162 h 616866"/>
                <a:gd name="connsiteX145" fmla="*/ 693507 w 1054584"/>
                <a:gd name="connsiteY145" fmla="*/ 92732 h 616866"/>
                <a:gd name="connsiteX146" fmla="*/ 706999 w 1054584"/>
                <a:gd name="connsiteY146" fmla="*/ 101085 h 616866"/>
                <a:gd name="connsiteX147" fmla="*/ 717921 w 1054584"/>
                <a:gd name="connsiteY147" fmla="*/ 102370 h 616866"/>
                <a:gd name="connsiteX148" fmla="*/ 731413 w 1054584"/>
                <a:gd name="connsiteY148" fmla="*/ 115862 h 616866"/>
                <a:gd name="connsiteX149" fmla="*/ 743621 w 1054584"/>
                <a:gd name="connsiteY149" fmla="*/ 128712 h 616866"/>
                <a:gd name="connsiteX150" fmla="*/ 736553 w 1054584"/>
                <a:gd name="connsiteY150" fmla="*/ 137706 h 616866"/>
                <a:gd name="connsiteX151" fmla="*/ 745548 w 1054584"/>
                <a:gd name="connsiteY151" fmla="*/ 142846 h 616866"/>
                <a:gd name="connsiteX152" fmla="*/ 757755 w 1054584"/>
                <a:gd name="connsiteY152" fmla="*/ 146701 h 616866"/>
                <a:gd name="connsiteX153" fmla="*/ 762895 w 1054584"/>
                <a:gd name="connsiteY153" fmla="*/ 160194 h 616866"/>
                <a:gd name="connsiteX154" fmla="*/ 773818 w 1054584"/>
                <a:gd name="connsiteY154" fmla="*/ 163406 h 616866"/>
                <a:gd name="connsiteX155" fmla="*/ 774460 w 1054584"/>
                <a:gd name="connsiteY155" fmla="*/ 157624 h 616866"/>
                <a:gd name="connsiteX156" fmla="*/ 768678 w 1054584"/>
                <a:gd name="connsiteY156" fmla="*/ 150556 h 616866"/>
                <a:gd name="connsiteX157" fmla="*/ 766750 w 1054584"/>
                <a:gd name="connsiteY157" fmla="*/ 144774 h 616866"/>
                <a:gd name="connsiteX158" fmla="*/ 779600 w 1054584"/>
                <a:gd name="connsiteY158" fmla="*/ 137064 h 616866"/>
                <a:gd name="connsiteX159" fmla="*/ 804657 w 1054584"/>
                <a:gd name="connsiteY159" fmla="*/ 129354 h 616866"/>
                <a:gd name="connsiteX160" fmla="*/ 817507 w 1054584"/>
                <a:gd name="connsiteY160" fmla="*/ 121644 h 616866"/>
                <a:gd name="connsiteX161" fmla="*/ 829714 w 1054584"/>
                <a:gd name="connsiteY161" fmla="*/ 121644 h 616866"/>
                <a:gd name="connsiteX162" fmla="*/ 838709 w 1054584"/>
                <a:gd name="connsiteY162" fmla="*/ 126784 h 616866"/>
                <a:gd name="connsiteX163" fmla="*/ 848989 w 1054584"/>
                <a:gd name="connsiteY163" fmla="*/ 119717 h 616866"/>
                <a:gd name="connsiteX164" fmla="*/ 859911 w 1054584"/>
                <a:gd name="connsiteY164" fmla="*/ 119074 h 616866"/>
                <a:gd name="connsiteX165" fmla="*/ 863123 w 1054584"/>
                <a:gd name="connsiteY165" fmla="*/ 132567 h 616866"/>
                <a:gd name="connsiteX166" fmla="*/ 880471 w 1054584"/>
                <a:gd name="connsiteY166" fmla="*/ 153769 h 616866"/>
                <a:gd name="connsiteX167" fmla="*/ 891393 w 1054584"/>
                <a:gd name="connsiteY167" fmla="*/ 166618 h 616866"/>
                <a:gd name="connsiteX168" fmla="*/ 897175 w 1054584"/>
                <a:gd name="connsiteY168" fmla="*/ 181396 h 616866"/>
                <a:gd name="connsiteX169" fmla="*/ 885610 w 1054584"/>
                <a:gd name="connsiteY169" fmla="*/ 187820 h 616866"/>
                <a:gd name="connsiteX170" fmla="*/ 870833 w 1054584"/>
                <a:gd name="connsiteY170" fmla="*/ 181396 h 616866"/>
                <a:gd name="connsiteX171" fmla="*/ 863123 w 1054584"/>
                <a:gd name="connsiteY171" fmla="*/ 173043 h 616866"/>
                <a:gd name="connsiteX172" fmla="*/ 855413 w 1054584"/>
                <a:gd name="connsiteY172" fmla="*/ 175613 h 616866"/>
                <a:gd name="connsiteX173" fmla="*/ 858626 w 1054584"/>
                <a:gd name="connsiteY173" fmla="*/ 186536 h 616866"/>
                <a:gd name="connsiteX174" fmla="*/ 866336 w 1054584"/>
                <a:gd name="connsiteY174" fmla="*/ 196815 h 616866"/>
                <a:gd name="connsiteX175" fmla="*/ 867621 w 1054584"/>
                <a:gd name="connsiteY175" fmla="*/ 201955 h 616866"/>
                <a:gd name="connsiteX176" fmla="*/ 875331 w 1054584"/>
                <a:gd name="connsiteY176" fmla="*/ 207095 h 616866"/>
                <a:gd name="connsiteX177" fmla="*/ 875331 w 1054584"/>
                <a:gd name="connsiteY177" fmla="*/ 214805 h 616866"/>
                <a:gd name="connsiteX178" fmla="*/ 875973 w 1054584"/>
                <a:gd name="connsiteY178" fmla="*/ 228297 h 616866"/>
                <a:gd name="connsiteX179" fmla="*/ 880471 w 1054584"/>
                <a:gd name="connsiteY179" fmla="*/ 235365 h 616866"/>
                <a:gd name="connsiteX180" fmla="*/ 892035 w 1054584"/>
                <a:gd name="connsiteY180" fmla="*/ 230225 h 616866"/>
                <a:gd name="connsiteX181" fmla="*/ 902315 w 1054584"/>
                <a:gd name="connsiteY181" fmla="*/ 230867 h 616866"/>
                <a:gd name="connsiteX182" fmla="*/ 908097 w 1054584"/>
                <a:gd name="connsiteY182" fmla="*/ 216732 h 616866"/>
                <a:gd name="connsiteX183" fmla="*/ 908097 w 1054584"/>
                <a:gd name="connsiteY183" fmla="*/ 208380 h 616866"/>
                <a:gd name="connsiteX184" fmla="*/ 917092 w 1054584"/>
                <a:gd name="connsiteY184" fmla="*/ 210308 h 616866"/>
                <a:gd name="connsiteX185" fmla="*/ 922875 w 1054584"/>
                <a:gd name="connsiteY185" fmla="*/ 216090 h 616866"/>
                <a:gd name="connsiteX186" fmla="*/ 928657 w 1054584"/>
                <a:gd name="connsiteY186" fmla="*/ 206453 h 616866"/>
                <a:gd name="connsiteX187" fmla="*/ 925445 w 1054584"/>
                <a:gd name="connsiteY187" fmla="*/ 192318 h 616866"/>
                <a:gd name="connsiteX188" fmla="*/ 911310 w 1054584"/>
                <a:gd name="connsiteY188" fmla="*/ 187178 h 616866"/>
                <a:gd name="connsiteX189" fmla="*/ 899745 w 1054584"/>
                <a:gd name="connsiteY189" fmla="*/ 165976 h 616866"/>
                <a:gd name="connsiteX190" fmla="*/ 896533 w 1054584"/>
                <a:gd name="connsiteY190" fmla="*/ 159551 h 616866"/>
                <a:gd name="connsiteX191" fmla="*/ 909383 w 1054584"/>
                <a:gd name="connsiteY191" fmla="*/ 160194 h 616866"/>
                <a:gd name="connsiteX192" fmla="*/ 926730 w 1054584"/>
                <a:gd name="connsiteY192" fmla="*/ 173686 h 616866"/>
                <a:gd name="connsiteX193" fmla="*/ 944719 w 1054584"/>
                <a:gd name="connsiteY193" fmla="*/ 192318 h 616866"/>
                <a:gd name="connsiteX194" fmla="*/ 954999 w 1054584"/>
                <a:gd name="connsiteY194" fmla="*/ 200670 h 616866"/>
                <a:gd name="connsiteX195" fmla="*/ 969776 w 1054584"/>
                <a:gd name="connsiteY195" fmla="*/ 212877 h 616866"/>
                <a:gd name="connsiteX196" fmla="*/ 976201 w 1054584"/>
                <a:gd name="connsiteY196" fmla="*/ 221230 h 616866"/>
                <a:gd name="connsiteX197" fmla="*/ 980698 w 1054584"/>
                <a:gd name="connsiteY197" fmla="*/ 241789 h 616866"/>
                <a:gd name="connsiteX198" fmla="*/ 965921 w 1054584"/>
                <a:gd name="connsiteY198" fmla="*/ 248214 h 616866"/>
                <a:gd name="connsiteX199" fmla="*/ 933797 w 1054584"/>
                <a:gd name="connsiteY199" fmla="*/ 247572 h 616866"/>
                <a:gd name="connsiteX200" fmla="*/ 919020 w 1054584"/>
                <a:gd name="connsiteY200" fmla="*/ 256567 h 616866"/>
                <a:gd name="connsiteX201" fmla="*/ 905528 w 1054584"/>
                <a:gd name="connsiteY201" fmla="*/ 256567 h 616866"/>
                <a:gd name="connsiteX202" fmla="*/ 894605 w 1054584"/>
                <a:gd name="connsiteY202" fmla="*/ 254639 h 616866"/>
                <a:gd name="connsiteX203" fmla="*/ 882398 w 1054584"/>
                <a:gd name="connsiteY203" fmla="*/ 260422 h 616866"/>
                <a:gd name="connsiteX204" fmla="*/ 870833 w 1054584"/>
                <a:gd name="connsiteY204" fmla="*/ 260422 h 616866"/>
                <a:gd name="connsiteX205" fmla="*/ 881755 w 1054584"/>
                <a:gd name="connsiteY205" fmla="*/ 273271 h 616866"/>
                <a:gd name="connsiteX206" fmla="*/ 917735 w 1054584"/>
                <a:gd name="connsiteY206" fmla="*/ 292546 h 616866"/>
                <a:gd name="connsiteX207" fmla="*/ 949859 w 1054584"/>
                <a:gd name="connsiteY207" fmla="*/ 304753 h 616866"/>
                <a:gd name="connsiteX208" fmla="*/ 970419 w 1054584"/>
                <a:gd name="connsiteY208" fmla="*/ 304753 h 616866"/>
                <a:gd name="connsiteX209" fmla="*/ 971061 w 1054584"/>
                <a:gd name="connsiteY209" fmla="*/ 315033 h 616866"/>
                <a:gd name="connsiteX210" fmla="*/ 990978 w 1054584"/>
                <a:gd name="connsiteY210" fmla="*/ 317603 h 616866"/>
                <a:gd name="connsiteX211" fmla="*/ 1008968 w 1054584"/>
                <a:gd name="connsiteY211" fmla="*/ 320173 h 616866"/>
                <a:gd name="connsiteX212" fmla="*/ 1005756 w 1054584"/>
                <a:gd name="connsiteY212" fmla="*/ 332380 h 616866"/>
                <a:gd name="connsiteX213" fmla="*/ 1009610 w 1054584"/>
                <a:gd name="connsiteY213" fmla="*/ 353582 h 616866"/>
                <a:gd name="connsiteX214" fmla="*/ 1019890 w 1054584"/>
                <a:gd name="connsiteY214" fmla="*/ 387634 h 616866"/>
                <a:gd name="connsiteX215" fmla="*/ 1027600 w 1054584"/>
                <a:gd name="connsiteY215" fmla="*/ 412691 h 616866"/>
                <a:gd name="connsiteX216" fmla="*/ 1042377 w 1054584"/>
                <a:gd name="connsiteY216" fmla="*/ 442245 h 616866"/>
                <a:gd name="connsiteX217" fmla="*/ 1046875 w 1054584"/>
                <a:gd name="connsiteY217" fmla="*/ 451883 h 616866"/>
                <a:gd name="connsiteX218" fmla="*/ 1046875 w 1054584"/>
                <a:gd name="connsiteY218" fmla="*/ 451883 h 616866"/>
                <a:gd name="connsiteX219" fmla="*/ 1049445 w 1054584"/>
                <a:gd name="connsiteY219" fmla="*/ 457665 h 616866"/>
                <a:gd name="connsiteX220" fmla="*/ 1050730 w 1054584"/>
                <a:gd name="connsiteY220" fmla="*/ 459593 h 616866"/>
                <a:gd name="connsiteX221" fmla="*/ 1052015 w 1054584"/>
                <a:gd name="connsiteY221" fmla="*/ 462163 h 616866"/>
                <a:gd name="connsiteX222" fmla="*/ 1052657 w 1054584"/>
                <a:gd name="connsiteY222" fmla="*/ 464732 h 616866"/>
                <a:gd name="connsiteX223" fmla="*/ 1053300 w 1054584"/>
                <a:gd name="connsiteY223" fmla="*/ 467302 h 616866"/>
                <a:gd name="connsiteX224" fmla="*/ 1053942 w 1054584"/>
                <a:gd name="connsiteY224" fmla="*/ 469872 h 616866"/>
                <a:gd name="connsiteX225" fmla="*/ 1054585 w 1054584"/>
                <a:gd name="connsiteY225" fmla="*/ 472442 h 61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1054584" h="616866">
                  <a:moveTo>
                    <a:pt x="1054585" y="472442"/>
                  </a:moveTo>
                  <a:cubicBezTo>
                    <a:pt x="1052657" y="472442"/>
                    <a:pt x="1050730" y="472442"/>
                    <a:pt x="1048802" y="472442"/>
                  </a:cubicBezTo>
                  <a:cubicBezTo>
                    <a:pt x="1044305" y="472442"/>
                    <a:pt x="1039165" y="471800"/>
                    <a:pt x="1034668" y="473085"/>
                  </a:cubicBezTo>
                  <a:cubicBezTo>
                    <a:pt x="1028243" y="475012"/>
                    <a:pt x="1024388" y="480152"/>
                    <a:pt x="1020533" y="485292"/>
                  </a:cubicBezTo>
                  <a:cubicBezTo>
                    <a:pt x="1014108" y="493002"/>
                    <a:pt x="1008326" y="501354"/>
                    <a:pt x="999331" y="505852"/>
                  </a:cubicBezTo>
                  <a:cubicBezTo>
                    <a:pt x="990336" y="510349"/>
                    <a:pt x="978771" y="510349"/>
                    <a:pt x="969134" y="505852"/>
                  </a:cubicBezTo>
                  <a:cubicBezTo>
                    <a:pt x="959496" y="501354"/>
                    <a:pt x="953072" y="492359"/>
                    <a:pt x="951787" y="482722"/>
                  </a:cubicBezTo>
                  <a:cubicBezTo>
                    <a:pt x="951144" y="478867"/>
                    <a:pt x="951787" y="475012"/>
                    <a:pt x="950502" y="471157"/>
                  </a:cubicBezTo>
                  <a:cubicBezTo>
                    <a:pt x="946647" y="460235"/>
                    <a:pt x="931227" y="453810"/>
                    <a:pt x="920305" y="451883"/>
                  </a:cubicBezTo>
                  <a:cubicBezTo>
                    <a:pt x="910025" y="449955"/>
                    <a:pt x="899103" y="451240"/>
                    <a:pt x="889465" y="454453"/>
                  </a:cubicBezTo>
                  <a:cubicBezTo>
                    <a:pt x="883041" y="457023"/>
                    <a:pt x="876616" y="460235"/>
                    <a:pt x="870191" y="462163"/>
                  </a:cubicBezTo>
                  <a:cubicBezTo>
                    <a:pt x="863766" y="464090"/>
                    <a:pt x="856056" y="465375"/>
                    <a:pt x="849631" y="462805"/>
                  </a:cubicBezTo>
                  <a:cubicBezTo>
                    <a:pt x="844491" y="460878"/>
                    <a:pt x="839994" y="457023"/>
                    <a:pt x="834211" y="455095"/>
                  </a:cubicBezTo>
                  <a:cubicBezTo>
                    <a:pt x="823932" y="451240"/>
                    <a:pt x="811724" y="457023"/>
                    <a:pt x="804657" y="464732"/>
                  </a:cubicBezTo>
                  <a:cubicBezTo>
                    <a:pt x="797590" y="473085"/>
                    <a:pt x="795020" y="483365"/>
                    <a:pt x="792450" y="493644"/>
                  </a:cubicBezTo>
                  <a:cubicBezTo>
                    <a:pt x="790522" y="501997"/>
                    <a:pt x="788595" y="510992"/>
                    <a:pt x="782812" y="517416"/>
                  </a:cubicBezTo>
                  <a:cubicBezTo>
                    <a:pt x="777673" y="523199"/>
                    <a:pt x="769320" y="526411"/>
                    <a:pt x="761610" y="525769"/>
                  </a:cubicBezTo>
                  <a:cubicBezTo>
                    <a:pt x="753901" y="525126"/>
                    <a:pt x="747476" y="521914"/>
                    <a:pt x="739766" y="521271"/>
                  </a:cubicBezTo>
                  <a:cubicBezTo>
                    <a:pt x="730771" y="519986"/>
                    <a:pt x="721134" y="522556"/>
                    <a:pt x="712781" y="526411"/>
                  </a:cubicBezTo>
                  <a:cubicBezTo>
                    <a:pt x="703787" y="529624"/>
                    <a:pt x="694149" y="534764"/>
                    <a:pt x="689009" y="541831"/>
                  </a:cubicBezTo>
                  <a:cubicBezTo>
                    <a:pt x="685154" y="546328"/>
                    <a:pt x="683227" y="552111"/>
                    <a:pt x="680014" y="557251"/>
                  </a:cubicBezTo>
                  <a:cubicBezTo>
                    <a:pt x="676802" y="561748"/>
                    <a:pt x="672305" y="565603"/>
                    <a:pt x="667165" y="568173"/>
                  </a:cubicBezTo>
                  <a:cubicBezTo>
                    <a:pt x="653030" y="575240"/>
                    <a:pt x="636325" y="570100"/>
                    <a:pt x="621548" y="564961"/>
                  </a:cubicBezTo>
                  <a:cubicBezTo>
                    <a:pt x="612553" y="561748"/>
                    <a:pt x="603559" y="559178"/>
                    <a:pt x="593921" y="555966"/>
                  </a:cubicBezTo>
                  <a:cubicBezTo>
                    <a:pt x="582999" y="552111"/>
                    <a:pt x="572719" y="548898"/>
                    <a:pt x="561797" y="544401"/>
                  </a:cubicBezTo>
                  <a:cubicBezTo>
                    <a:pt x="554087" y="541189"/>
                    <a:pt x="547020" y="537976"/>
                    <a:pt x="539310" y="536049"/>
                  </a:cubicBezTo>
                  <a:cubicBezTo>
                    <a:pt x="527103" y="533479"/>
                    <a:pt x="514253" y="536049"/>
                    <a:pt x="502045" y="533479"/>
                  </a:cubicBezTo>
                  <a:cubicBezTo>
                    <a:pt x="493051" y="531551"/>
                    <a:pt x="484698" y="526411"/>
                    <a:pt x="476346" y="521271"/>
                  </a:cubicBezTo>
                  <a:cubicBezTo>
                    <a:pt x="467994" y="516131"/>
                    <a:pt x="458999" y="510992"/>
                    <a:pt x="450646" y="505852"/>
                  </a:cubicBezTo>
                  <a:cubicBezTo>
                    <a:pt x="444222" y="501997"/>
                    <a:pt x="437154" y="497499"/>
                    <a:pt x="429444" y="494929"/>
                  </a:cubicBezTo>
                  <a:cubicBezTo>
                    <a:pt x="418522" y="491075"/>
                    <a:pt x="405672" y="491075"/>
                    <a:pt x="394750" y="494929"/>
                  </a:cubicBezTo>
                  <a:cubicBezTo>
                    <a:pt x="385113" y="498142"/>
                    <a:pt x="379973" y="505209"/>
                    <a:pt x="384470" y="514847"/>
                  </a:cubicBezTo>
                  <a:cubicBezTo>
                    <a:pt x="388968" y="525126"/>
                    <a:pt x="357486" y="543758"/>
                    <a:pt x="343994" y="550826"/>
                  </a:cubicBezTo>
                  <a:cubicBezTo>
                    <a:pt x="330501" y="557251"/>
                    <a:pt x="311869" y="551468"/>
                    <a:pt x="294522" y="549541"/>
                  </a:cubicBezTo>
                  <a:cubicBezTo>
                    <a:pt x="282957" y="548256"/>
                    <a:pt x="273320" y="560463"/>
                    <a:pt x="268180" y="568173"/>
                  </a:cubicBezTo>
                  <a:cubicBezTo>
                    <a:pt x="265610" y="572028"/>
                    <a:pt x="264325" y="574598"/>
                    <a:pt x="264325" y="574598"/>
                  </a:cubicBezTo>
                  <a:lnTo>
                    <a:pt x="264325" y="593230"/>
                  </a:lnTo>
                  <a:cubicBezTo>
                    <a:pt x="264325" y="600940"/>
                    <a:pt x="257900" y="602867"/>
                    <a:pt x="246978" y="604795"/>
                  </a:cubicBezTo>
                  <a:cubicBezTo>
                    <a:pt x="236698" y="606722"/>
                    <a:pt x="230916" y="599655"/>
                    <a:pt x="227061" y="599012"/>
                  </a:cubicBezTo>
                  <a:cubicBezTo>
                    <a:pt x="223206" y="598370"/>
                    <a:pt x="216781" y="608650"/>
                    <a:pt x="214854" y="614432"/>
                  </a:cubicBezTo>
                  <a:cubicBezTo>
                    <a:pt x="212284" y="619572"/>
                    <a:pt x="208429" y="615075"/>
                    <a:pt x="205216" y="614432"/>
                  </a:cubicBezTo>
                  <a:cubicBezTo>
                    <a:pt x="202646" y="613790"/>
                    <a:pt x="191724" y="607365"/>
                    <a:pt x="180802" y="604795"/>
                  </a:cubicBezTo>
                  <a:cubicBezTo>
                    <a:pt x="178874" y="604152"/>
                    <a:pt x="176304" y="604152"/>
                    <a:pt x="174377" y="603510"/>
                  </a:cubicBezTo>
                  <a:cubicBezTo>
                    <a:pt x="161527" y="602225"/>
                    <a:pt x="159600" y="595800"/>
                    <a:pt x="158315" y="593230"/>
                  </a:cubicBezTo>
                  <a:cubicBezTo>
                    <a:pt x="157030" y="590660"/>
                    <a:pt x="153175" y="581665"/>
                    <a:pt x="145465" y="575883"/>
                  </a:cubicBezTo>
                  <a:cubicBezTo>
                    <a:pt x="137755" y="570743"/>
                    <a:pt x="134543" y="571385"/>
                    <a:pt x="126190" y="560463"/>
                  </a:cubicBezTo>
                  <a:cubicBezTo>
                    <a:pt x="118481" y="550183"/>
                    <a:pt x="118481" y="550826"/>
                    <a:pt x="111413" y="541831"/>
                  </a:cubicBezTo>
                  <a:cubicBezTo>
                    <a:pt x="104988" y="533479"/>
                    <a:pt x="99206" y="521271"/>
                    <a:pt x="77361" y="512277"/>
                  </a:cubicBezTo>
                  <a:cubicBezTo>
                    <a:pt x="55517" y="502639"/>
                    <a:pt x="61299" y="520629"/>
                    <a:pt x="54874" y="523841"/>
                  </a:cubicBezTo>
                  <a:cubicBezTo>
                    <a:pt x="48450" y="527054"/>
                    <a:pt x="38812" y="518701"/>
                    <a:pt x="34315" y="512919"/>
                  </a:cubicBezTo>
                  <a:cubicBezTo>
                    <a:pt x="30460" y="507137"/>
                    <a:pt x="18253" y="505209"/>
                    <a:pt x="8615" y="502639"/>
                  </a:cubicBezTo>
                  <a:cubicBezTo>
                    <a:pt x="6688" y="501997"/>
                    <a:pt x="5403" y="501354"/>
                    <a:pt x="4118" y="500069"/>
                  </a:cubicBezTo>
                  <a:cubicBezTo>
                    <a:pt x="-1022" y="493002"/>
                    <a:pt x="-380" y="476940"/>
                    <a:pt x="905" y="468587"/>
                  </a:cubicBezTo>
                  <a:cubicBezTo>
                    <a:pt x="2833" y="458308"/>
                    <a:pt x="26605" y="459593"/>
                    <a:pt x="26605" y="458308"/>
                  </a:cubicBezTo>
                  <a:cubicBezTo>
                    <a:pt x="27247" y="457023"/>
                    <a:pt x="46522" y="448028"/>
                    <a:pt x="49734" y="440960"/>
                  </a:cubicBezTo>
                  <a:cubicBezTo>
                    <a:pt x="52304" y="433893"/>
                    <a:pt x="60014" y="417831"/>
                    <a:pt x="60014" y="417831"/>
                  </a:cubicBezTo>
                  <a:lnTo>
                    <a:pt x="73506" y="413976"/>
                  </a:lnTo>
                  <a:cubicBezTo>
                    <a:pt x="73506" y="413976"/>
                    <a:pt x="79931" y="404981"/>
                    <a:pt x="86356" y="396629"/>
                  </a:cubicBezTo>
                  <a:cubicBezTo>
                    <a:pt x="88284" y="394701"/>
                    <a:pt x="89569" y="392131"/>
                    <a:pt x="91496" y="390204"/>
                  </a:cubicBezTo>
                  <a:cubicBezTo>
                    <a:pt x="99206" y="381209"/>
                    <a:pt x="85071" y="368359"/>
                    <a:pt x="78646" y="363220"/>
                  </a:cubicBezTo>
                  <a:cubicBezTo>
                    <a:pt x="72221" y="357437"/>
                    <a:pt x="61942" y="363220"/>
                    <a:pt x="55517" y="363220"/>
                  </a:cubicBezTo>
                  <a:cubicBezTo>
                    <a:pt x="49092" y="363220"/>
                    <a:pt x="35600" y="328525"/>
                    <a:pt x="35600" y="328525"/>
                  </a:cubicBezTo>
                  <a:cubicBezTo>
                    <a:pt x="35600" y="328525"/>
                    <a:pt x="26605" y="306038"/>
                    <a:pt x="26605" y="298971"/>
                  </a:cubicBezTo>
                  <a:cubicBezTo>
                    <a:pt x="26605" y="291261"/>
                    <a:pt x="36242" y="277126"/>
                    <a:pt x="37527" y="275199"/>
                  </a:cubicBezTo>
                  <a:cubicBezTo>
                    <a:pt x="39455" y="273914"/>
                    <a:pt x="64512" y="262349"/>
                    <a:pt x="66439" y="258494"/>
                  </a:cubicBezTo>
                  <a:cubicBezTo>
                    <a:pt x="68366" y="255282"/>
                    <a:pt x="64512" y="246929"/>
                    <a:pt x="64512" y="246287"/>
                  </a:cubicBezTo>
                  <a:cubicBezTo>
                    <a:pt x="65154" y="246929"/>
                    <a:pt x="65797" y="246929"/>
                    <a:pt x="68366" y="245644"/>
                  </a:cubicBezTo>
                  <a:cubicBezTo>
                    <a:pt x="76719" y="241789"/>
                    <a:pt x="83144" y="237934"/>
                    <a:pt x="85714" y="235365"/>
                  </a:cubicBezTo>
                  <a:cubicBezTo>
                    <a:pt x="88926" y="232152"/>
                    <a:pt x="100491" y="227655"/>
                    <a:pt x="108201" y="225085"/>
                  </a:cubicBezTo>
                  <a:cubicBezTo>
                    <a:pt x="115911" y="222515"/>
                    <a:pt x="121050" y="217375"/>
                    <a:pt x="135185" y="220587"/>
                  </a:cubicBezTo>
                  <a:cubicBezTo>
                    <a:pt x="139040" y="221230"/>
                    <a:pt x="142895" y="222515"/>
                    <a:pt x="145465" y="223800"/>
                  </a:cubicBezTo>
                  <a:cubicBezTo>
                    <a:pt x="152532" y="226370"/>
                    <a:pt x="157030" y="229582"/>
                    <a:pt x="157672" y="231510"/>
                  </a:cubicBezTo>
                  <a:cubicBezTo>
                    <a:pt x="158957" y="234080"/>
                    <a:pt x="161527" y="246287"/>
                    <a:pt x="161527" y="248214"/>
                  </a:cubicBezTo>
                  <a:cubicBezTo>
                    <a:pt x="161527" y="250142"/>
                    <a:pt x="172449" y="257209"/>
                    <a:pt x="177589" y="257209"/>
                  </a:cubicBezTo>
                  <a:cubicBezTo>
                    <a:pt x="182729" y="257209"/>
                    <a:pt x="187869" y="252712"/>
                    <a:pt x="194294" y="255924"/>
                  </a:cubicBezTo>
                  <a:cubicBezTo>
                    <a:pt x="201361" y="259137"/>
                    <a:pt x="198149" y="261064"/>
                    <a:pt x="204574" y="259779"/>
                  </a:cubicBezTo>
                  <a:cubicBezTo>
                    <a:pt x="210999" y="258494"/>
                    <a:pt x="218709" y="253997"/>
                    <a:pt x="217424" y="250784"/>
                  </a:cubicBezTo>
                  <a:cubicBezTo>
                    <a:pt x="216139" y="247572"/>
                    <a:pt x="209714" y="242432"/>
                    <a:pt x="205859" y="242432"/>
                  </a:cubicBezTo>
                  <a:cubicBezTo>
                    <a:pt x="202004" y="242432"/>
                    <a:pt x="194937" y="239219"/>
                    <a:pt x="194937" y="236007"/>
                  </a:cubicBezTo>
                  <a:cubicBezTo>
                    <a:pt x="194294" y="232795"/>
                    <a:pt x="194294" y="225727"/>
                    <a:pt x="199434" y="223157"/>
                  </a:cubicBezTo>
                  <a:cubicBezTo>
                    <a:pt x="205216" y="220587"/>
                    <a:pt x="215496" y="221230"/>
                    <a:pt x="218066" y="219302"/>
                  </a:cubicBezTo>
                  <a:cubicBezTo>
                    <a:pt x="220636" y="217375"/>
                    <a:pt x="226418" y="215447"/>
                    <a:pt x="230916" y="214805"/>
                  </a:cubicBezTo>
                  <a:cubicBezTo>
                    <a:pt x="235413" y="214805"/>
                    <a:pt x="242481" y="212235"/>
                    <a:pt x="244408" y="210950"/>
                  </a:cubicBezTo>
                  <a:cubicBezTo>
                    <a:pt x="246336" y="209665"/>
                    <a:pt x="257258" y="201313"/>
                    <a:pt x="259828" y="195530"/>
                  </a:cubicBezTo>
                  <a:cubicBezTo>
                    <a:pt x="262398" y="190390"/>
                    <a:pt x="263683" y="183323"/>
                    <a:pt x="262398" y="182038"/>
                  </a:cubicBezTo>
                  <a:cubicBezTo>
                    <a:pt x="261113" y="180753"/>
                    <a:pt x="258543" y="177541"/>
                    <a:pt x="255330" y="181396"/>
                  </a:cubicBezTo>
                  <a:cubicBezTo>
                    <a:pt x="252118" y="185251"/>
                    <a:pt x="246978" y="192318"/>
                    <a:pt x="243123" y="194888"/>
                  </a:cubicBezTo>
                  <a:cubicBezTo>
                    <a:pt x="239268" y="197458"/>
                    <a:pt x="232843" y="204525"/>
                    <a:pt x="234128" y="197458"/>
                  </a:cubicBezTo>
                  <a:cubicBezTo>
                    <a:pt x="234771" y="189748"/>
                    <a:pt x="241196" y="182681"/>
                    <a:pt x="244408" y="179468"/>
                  </a:cubicBezTo>
                  <a:cubicBezTo>
                    <a:pt x="248263" y="176256"/>
                    <a:pt x="254045" y="171758"/>
                    <a:pt x="256615" y="171116"/>
                  </a:cubicBezTo>
                  <a:cubicBezTo>
                    <a:pt x="259185" y="170473"/>
                    <a:pt x="261755" y="171758"/>
                    <a:pt x="264968" y="168546"/>
                  </a:cubicBezTo>
                  <a:cubicBezTo>
                    <a:pt x="267538" y="165333"/>
                    <a:pt x="272035" y="161478"/>
                    <a:pt x="272678" y="159551"/>
                  </a:cubicBezTo>
                  <a:cubicBezTo>
                    <a:pt x="273320" y="157624"/>
                    <a:pt x="278460" y="150556"/>
                    <a:pt x="278460" y="150556"/>
                  </a:cubicBezTo>
                  <a:cubicBezTo>
                    <a:pt x="278460" y="150556"/>
                    <a:pt x="289382" y="151199"/>
                    <a:pt x="301589" y="151199"/>
                  </a:cubicBezTo>
                  <a:cubicBezTo>
                    <a:pt x="313797" y="151199"/>
                    <a:pt x="325361" y="152484"/>
                    <a:pt x="329216" y="151199"/>
                  </a:cubicBezTo>
                  <a:cubicBezTo>
                    <a:pt x="333071" y="149914"/>
                    <a:pt x="341424" y="146059"/>
                    <a:pt x="348491" y="143489"/>
                  </a:cubicBezTo>
                  <a:cubicBezTo>
                    <a:pt x="355558" y="140919"/>
                    <a:pt x="365196" y="137064"/>
                    <a:pt x="371621" y="136421"/>
                  </a:cubicBezTo>
                  <a:cubicBezTo>
                    <a:pt x="378045" y="135779"/>
                    <a:pt x="381258" y="136421"/>
                    <a:pt x="387040" y="135137"/>
                  </a:cubicBezTo>
                  <a:cubicBezTo>
                    <a:pt x="392823" y="133852"/>
                    <a:pt x="397963" y="134494"/>
                    <a:pt x="401175" y="131924"/>
                  </a:cubicBezTo>
                  <a:cubicBezTo>
                    <a:pt x="404387" y="129354"/>
                    <a:pt x="407600" y="126784"/>
                    <a:pt x="407600" y="126784"/>
                  </a:cubicBezTo>
                  <a:cubicBezTo>
                    <a:pt x="407600" y="126784"/>
                    <a:pt x="424305" y="113292"/>
                    <a:pt x="433299" y="104297"/>
                  </a:cubicBezTo>
                  <a:cubicBezTo>
                    <a:pt x="441652" y="95302"/>
                    <a:pt x="450004" y="86307"/>
                    <a:pt x="452574" y="82453"/>
                  </a:cubicBezTo>
                  <a:cubicBezTo>
                    <a:pt x="455144" y="78598"/>
                    <a:pt x="465424" y="66390"/>
                    <a:pt x="466066" y="66390"/>
                  </a:cubicBezTo>
                  <a:cubicBezTo>
                    <a:pt x="467351" y="65748"/>
                    <a:pt x="468636" y="63820"/>
                    <a:pt x="468636" y="67675"/>
                  </a:cubicBezTo>
                  <a:cubicBezTo>
                    <a:pt x="468636" y="72173"/>
                    <a:pt x="466066" y="75385"/>
                    <a:pt x="464139" y="79883"/>
                  </a:cubicBezTo>
                  <a:cubicBezTo>
                    <a:pt x="462854" y="84380"/>
                    <a:pt x="458356" y="91447"/>
                    <a:pt x="462211" y="97230"/>
                  </a:cubicBezTo>
                  <a:cubicBezTo>
                    <a:pt x="466066" y="103655"/>
                    <a:pt x="473133" y="109437"/>
                    <a:pt x="475061" y="105582"/>
                  </a:cubicBezTo>
                  <a:cubicBezTo>
                    <a:pt x="476988" y="101727"/>
                    <a:pt x="478273" y="99157"/>
                    <a:pt x="476988" y="94017"/>
                  </a:cubicBezTo>
                  <a:cubicBezTo>
                    <a:pt x="475704" y="88877"/>
                    <a:pt x="473133" y="83095"/>
                    <a:pt x="476988" y="79240"/>
                  </a:cubicBezTo>
                  <a:cubicBezTo>
                    <a:pt x="480201" y="74743"/>
                    <a:pt x="484698" y="72815"/>
                    <a:pt x="488553" y="69603"/>
                  </a:cubicBezTo>
                  <a:cubicBezTo>
                    <a:pt x="492408" y="66390"/>
                    <a:pt x="494336" y="65748"/>
                    <a:pt x="496906" y="63178"/>
                  </a:cubicBezTo>
                  <a:cubicBezTo>
                    <a:pt x="499475" y="60608"/>
                    <a:pt x="502045" y="56753"/>
                    <a:pt x="502045" y="55468"/>
                  </a:cubicBezTo>
                  <a:cubicBezTo>
                    <a:pt x="502045" y="53541"/>
                    <a:pt x="500761" y="48401"/>
                    <a:pt x="498833" y="47116"/>
                  </a:cubicBezTo>
                  <a:cubicBezTo>
                    <a:pt x="496906" y="46473"/>
                    <a:pt x="494336" y="42618"/>
                    <a:pt x="489838" y="46473"/>
                  </a:cubicBezTo>
                  <a:cubicBezTo>
                    <a:pt x="485341" y="50328"/>
                    <a:pt x="484056" y="51613"/>
                    <a:pt x="482128" y="54826"/>
                  </a:cubicBezTo>
                  <a:cubicBezTo>
                    <a:pt x="480201" y="58038"/>
                    <a:pt x="478916" y="61250"/>
                    <a:pt x="475704" y="59965"/>
                  </a:cubicBezTo>
                  <a:cubicBezTo>
                    <a:pt x="472491" y="58681"/>
                    <a:pt x="468636" y="58038"/>
                    <a:pt x="469279" y="54183"/>
                  </a:cubicBezTo>
                  <a:cubicBezTo>
                    <a:pt x="469921" y="50328"/>
                    <a:pt x="473133" y="47758"/>
                    <a:pt x="475061" y="43903"/>
                  </a:cubicBezTo>
                  <a:cubicBezTo>
                    <a:pt x="476346" y="40691"/>
                    <a:pt x="481486" y="38121"/>
                    <a:pt x="483413" y="29769"/>
                  </a:cubicBezTo>
                  <a:cubicBezTo>
                    <a:pt x="484698" y="21416"/>
                    <a:pt x="484698" y="21416"/>
                    <a:pt x="485341" y="16919"/>
                  </a:cubicBezTo>
                  <a:cubicBezTo>
                    <a:pt x="485983" y="12421"/>
                    <a:pt x="487911" y="5997"/>
                    <a:pt x="491123" y="3427"/>
                  </a:cubicBezTo>
                  <a:cubicBezTo>
                    <a:pt x="494336" y="857"/>
                    <a:pt x="502045" y="-1713"/>
                    <a:pt x="504616" y="1499"/>
                  </a:cubicBezTo>
                  <a:cubicBezTo>
                    <a:pt x="507828" y="5354"/>
                    <a:pt x="509755" y="6639"/>
                    <a:pt x="512325" y="9209"/>
                  </a:cubicBezTo>
                  <a:cubicBezTo>
                    <a:pt x="514895" y="11779"/>
                    <a:pt x="517465" y="13706"/>
                    <a:pt x="523248" y="13706"/>
                  </a:cubicBezTo>
                  <a:cubicBezTo>
                    <a:pt x="529030" y="13706"/>
                    <a:pt x="534812" y="14349"/>
                    <a:pt x="536097" y="14991"/>
                  </a:cubicBezTo>
                  <a:cubicBezTo>
                    <a:pt x="537382" y="15634"/>
                    <a:pt x="549590" y="18846"/>
                    <a:pt x="561797" y="18846"/>
                  </a:cubicBezTo>
                  <a:lnTo>
                    <a:pt x="595206" y="18846"/>
                  </a:lnTo>
                  <a:cubicBezTo>
                    <a:pt x="598419" y="18846"/>
                    <a:pt x="607413" y="20131"/>
                    <a:pt x="608056" y="21416"/>
                  </a:cubicBezTo>
                  <a:cubicBezTo>
                    <a:pt x="608056" y="22701"/>
                    <a:pt x="610626" y="23986"/>
                    <a:pt x="603559" y="26556"/>
                  </a:cubicBezTo>
                  <a:cubicBezTo>
                    <a:pt x="596491" y="29126"/>
                    <a:pt x="591351" y="29769"/>
                    <a:pt x="584284" y="30411"/>
                  </a:cubicBezTo>
                  <a:cubicBezTo>
                    <a:pt x="577217" y="31054"/>
                    <a:pt x="567579" y="31054"/>
                    <a:pt x="558584" y="31054"/>
                  </a:cubicBezTo>
                  <a:cubicBezTo>
                    <a:pt x="549590" y="31054"/>
                    <a:pt x="545735" y="31054"/>
                    <a:pt x="537382" y="31054"/>
                  </a:cubicBezTo>
                  <a:cubicBezTo>
                    <a:pt x="529030" y="31054"/>
                    <a:pt x="523248" y="32339"/>
                    <a:pt x="521963" y="34266"/>
                  </a:cubicBezTo>
                  <a:cubicBezTo>
                    <a:pt x="520678" y="36193"/>
                    <a:pt x="516180" y="41333"/>
                    <a:pt x="516823" y="45188"/>
                  </a:cubicBezTo>
                  <a:cubicBezTo>
                    <a:pt x="517465" y="49043"/>
                    <a:pt x="517465" y="50328"/>
                    <a:pt x="521963" y="51613"/>
                  </a:cubicBezTo>
                  <a:cubicBezTo>
                    <a:pt x="526460" y="52256"/>
                    <a:pt x="532885" y="52898"/>
                    <a:pt x="538025" y="50971"/>
                  </a:cubicBezTo>
                  <a:cubicBezTo>
                    <a:pt x="543165" y="48401"/>
                    <a:pt x="546377" y="44546"/>
                    <a:pt x="553444" y="44546"/>
                  </a:cubicBezTo>
                  <a:cubicBezTo>
                    <a:pt x="559869" y="44546"/>
                    <a:pt x="574647" y="44546"/>
                    <a:pt x="575931" y="45188"/>
                  </a:cubicBezTo>
                  <a:cubicBezTo>
                    <a:pt x="577217" y="45831"/>
                    <a:pt x="580429" y="45831"/>
                    <a:pt x="583641" y="45831"/>
                  </a:cubicBezTo>
                  <a:cubicBezTo>
                    <a:pt x="586854" y="45831"/>
                    <a:pt x="595206" y="41333"/>
                    <a:pt x="599704" y="40048"/>
                  </a:cubicBezTo>
                  <a:cubicBezTo>
                    <a:pt x="604201" y="38763"/>
                    <a:pt x="613838" y="34908"/>
                    <a:pt x="620906" y="32981"/>
                  </a:cubicBezTo>
                  <a:cubicBezTo>
                    <a:pt x="628615" y="31696"/>
                    <a:pt x="636325" y="28484"/>
                    <a:pt x="638895" y="31054"/>
                  </a:cubicBezTo>
                  <a:cubicBezTo>
                    <a:pt x="641465" y="33624"/>
                    <a:pt x="645320" y="41333"/>
                    <a:pt x="645320" y="44546"/>
                  </a:cubicBezTo>
                  <a:cubicBezTo>
                    <a:pt x="645320" y="47758"/>
                    <a:pt x="646605" y="63820"/>
                    <a:pt x="654958" y="72815"/>
                  </a:cubicBezTo>
                  <a:cubicBezTo>
                    <a:pt x="663310" y="81810"/>
                    <a:pt x="669735" y="88877"/>
                    <a:pt x="678087" y="90162"/>
                  </a:cubicBezTo>
                  <a:cubicBezTo>
                    <a:pt x="686439" y="91447"/>
                    <a:pt x="690294" y="90805"/>
                    <a:pt x="693507" y="92732"/>
                  </a:cubicBezTo>
                  <a:cubicBezTo>
                    <a:pt x="696077" y="94660"/>
                    <a:pt x="701216" y="98515"/>
                    <a:pt x="706999" y="101085"/>
                  </a:cubicBezTo>
                  <a:cubicBezTo>
                    <a:pt x="706999" y="101085"/>
                    <a:pt x="714066" y="100442"/>
                    <a:pt x="717921" y="102370"/>
                  </a:cubicBezTo>
                  <a:cubicBezTo>
                    <a:pt x="722419" y="104297"/>
                    <a:pt x="728201" y="112649"/>
                    <a:pt x="731413" y="115862"/>
                  </a:cubicBezTo>
                  <a:cubicBezTo>
                    <a:pt x="734626" y="119074"/>
                    <a:pt x="745548" y="124857"/>
                    <a:pt x="743621" y="128712"/>
                  </a:cubicBezTo>
                  <a:cubicBezTo>
                    <a:pt x="741693" y="133209"/>
                    <a:pt x="735268" y="135779"/>
                    <a:pt x="736553" y="137706"/>
                  </a:cubicBezTo>
                  <a:cubicBezTo>
                    <a:pt x="737196" y="139634"/>
                    <a:pt x="742336" y="142846"/>
                    <a:pt x="745548" y="142846"/>
                  </a:cubicBezTo>
                  <a:cubicBezTo>
                    <a:pt x="748761" y="142846"/>
                    <a:pt x="756470" y="144131"/>
                    <a:pt x="757755" y="146701"/>
                  </a:cubicBezTo>
                  <a:cubicBezTo>
                    <a:pt x="759040" y="149271"/>
                    <a:pt x="759683" y="157624"/>
                    <a:pt x="762895" y="160194"/>
                  </a:cubicBezTo>
                  <a:cubicBezTo>
                    <a:pt x="766108" y="162763"/>
                    <a:pt x="773175" y="163406"/>
                    <a:pt x="773818" y="163406"/>
                  </a:cubicBezTo>
                  <a:cubicBezTo>
                    <a:pt x="774460" y="162763"/>
                    <a:pt x="776388" y="159551"/>
                    <a:pt x="774460" y="157624"/>
                  </a:cubicBezTo>
                  <a:cubicBezTo>
                    <a:pt x="772533" y="155054"/>
                    <a:pt x="769963" y="152484"/>
                    <a:pt x="768678" y="150556"/>
                  </a:cubicBezTo>
                  <a:cubicBezTo>
                    <a:pt x="767393" y="149271"/>
                    <a:pt x="763538" y="147986"/>
                    <a:pt x="766750" y="144774"/>
                  </a:cubicBezTo>
                  <a:cubicBezTo>
                    <a:pt x="770605" y="141561"/>
                    <a:pt x="779600" y="137064"/>
                    <a:pt x="779600" y="137064"/>
                  </a:cubicBezTo>
                  <a:cubicBezTo>
                    <a:pt x="779600" y="137064"/>
                    <a:pt x="798875" y="132567"/>
                    <a:pt x="804657" y="129354"/>
                  </a:cubicBezTo>
                  <a:cubicBezTo>
                    <a:pt x="810439" y="126142"/>
                    <a:pt x="814294" y="122287"/>
                    <a:pt x="817507" y="121644"/>
                  </a:cubicBezTo>
                  <a:cubicBezTo>
                    <a:pt x="821362" y="121002"/>
                    <a:pt x="828429" y="119074"/>
                    <a:pt x="829714" y="121644"/>
                  </a:cubicBezTo>
                  <a:cubicBezTo>
                    <a:pt x="830999" y="124214"/>
                    <a:pt x="836139" y="128069"/>
                    <a:pt x="838709" y="126784"/>
                  </a:cubicBezTo>
                  <a:cubicBezTo>
                    <a:pt x="841279" y="125499"/>
                    <a:pt x="846419" y="119717"/>
                    <a:pt x="848989" y="119717"/>
                  </a:cubicBezTo>
                  <a:cubicBezTo>
                    <a:pt x="850916" y="119074"/>
                    <a:pt x="859268" y="117789"/>
                    <a:pt x="859911" y="119074"/>
                  </a:cubicBezTo>
                  <a:cubicBezTo>
                    <a:pt x="860553" y="120359"/>
                    <a:pt x="863123" y="131924"/>
                    <a:pt x="863123" y="132567"/>
                  </a:cubicBezTo>
                  <a:cubicBezTo>
                    <a:pt x="863123" y="133209"/>
                    <a:pt x="876616" y="149271"/>
                    <a:pt x="880471" y="153769"/>
                  </a:cubicBezTo>
                  <a:cubicBezTo>
                    <a:pt x="884325" y="158266"/>
                    <a:pt x="889465" y="162763"/>
                    <a:pt x="891393" y="166618"/>
                  </a:cubicBezTo>
                  <a:cubicBezTo>
                    <a:pt x="893320" y="170473"/>
                    <a:pt x="900388" y="178826"/>
                    <a:pt x="897175" y="181396"/>
                  </a:cubicBezTo>
                  <a:cubicBezTo>
                    <a:pt x="894605" y="183966"/>
                    <a:pt x="892035" y="188463"/>
                    <a:pt x="885610" y="187820"/>
                  </a:cubicBezTo>
                  <a:cubicBezTo>
                    <a:pt x="878543" y="187820"/>
                    <a:pt x="874046" y="184608"/>
                    <a:pt x="870833" y="181396"/>
                  </a:cubicBezTo>
                  <a:cubicBezTo>
                    <a:pt x="867621" y="178183"/>
                    <a:pt x="865693" y="174328"/>
                    <a:pt x="863123" y="173043"/>
                  </a:cubicBezTo>
                  <a:cubicBezTo>
                    <a:pt x="860553" y="171758"/>
                    <a:pt x="856056" y="172401"/>
                    <a:pt x="855413" y="175613"/>
                  </a:cubicBezTo>
                  <a:cubicBezTo>
                    <a:pt x="854771" y="178183"/>
                    <a:pt x="855413" y="182681"/>
                    <a:pt x="858626" y="186536"/>
                  </a:cubicBezTo>
                  <a:cubicBezTo>
                    <a:pt x="861838" y="190390"/>
                    <a:pt x="866336" y="195530"/>
                    <a:pt x="866336" y="196815"/>
                  </a:cubicBezTo>
                  <a:cubicBezTo>
                    <a:pt x="866336" y="198100"/>
                    <a:pt x="865693" y="199385"/>
                    <a:pt x="867621" y="201955"/>
                  </a:cubicBezTo>
                  <a:cubicBezTo>
                    <a:pt x="870191" y="205168"/>
                    <a:pt x="874688" y="205168"/>
                    <a:pt x="875331" y="207095"/>
                  </a:cubicBezTo>
                  <a:cubicBezTo>
                    <a:pt x="875331" y="208380"/>
                    <a:pt x="874046" y="208380"/>
                    <a:pt x="875331" y="214805"/>
                  </a:cubicBezTo>
                  <a:cubicBezTo>
                    <a:pt x="876616" y="221230"/>
                    <a:pt x="875973" y="224442"/>
                    <a:pt x="875973" y="228297"/>
                  </a:cubicBezTo>
                  <a:cubicBezTo>
                    <a:pt x="875973" y="232152"/>
                    <a:pt x="877258" y="234722"/>
                    <a:pt x="880471" y="235365"/>
                  </a:cubicBezTo>
                  <a:cubicBezTo>
                    <a:pt x="883683" y="235365"/>
                    <a:pt x="890108" y="230867"/>
                    <a:pt x="892035" y="230225"/>
                  </a:cubicBezTo>
                  <a:cubicBezTo>
                    <a:pt x="893963" y="230225"/>
                    <a:pt x="898460" y="236007"/>
                    <a:pt x="902315" y="230867"/>
                  </a:cubicBezTo>
                  <a:cubicBezTo>
                    <a:pt x="906170" y="225085"/>
                    <a:pt x="908740" y="219945"/>
                    <a:pt x="908097" y="216732"/>
                  </a:cubicBezTo>
                  <a:cubicBezTo>
                    <a:pt x="908097" y="213520"/>
                    <a:pt x="906812" y="209023"/>
                    <a:pt x="908097" y="208380"/>
                  </a:cubicBezTo>
                  <a:cubicBezTo>
                    <a:pt x="910025" y="207738"/>
                    <a:pt x="915807" y="207738"/>
                    <a:pt x="917092" y="210308"/>
                  </a:cubicBezTo>
                  <a:cubicBezTo>
                    <a:pt x="917735" y="212877"/>
                    <a:pt x="919662" y="218017"/>
                    <a:pt x="922875" y="216090"/>
                  </a:cubicBezTo>
                  <a:cubicBezTo>
                    <a:pt x="926087" y="214162"/>
                    <a:pt x="928015" y="211593"/>
                    <a:pt x="928657" y="206453"/>
                  </a:cubicBezTo>
                  <a:cubicBezTo>
                    <a:pt x="929299" y="201313"/>
                    <a:pt x="929299" y="194245"/>
                    <a:pt x="925445" y="192318"/>
                  </a:cubicBezTo>
                  <a:cubicBezTo>
                    <a:pt x="920947" y="191033"/>
                    <a:pt x="913880" y="192318"/>
                    <a:pt x="911310" y="187178"/>
                  </a:cubicBezTo>
                  <a:cubicBezTo>
                    <a:pt x="909383" y="182038"/>
                    <a:pt x="900388" y="167261"/>
                    <a:pt x="899745" y="165976"/>
                  </a:cubicBezTo>
                  <a:cubicBezTo>
                    <a:pt x="899103" y="164691"/>
                    <a:pt x="893963" y="160836"/>
                    <a:pt x="896533" y="159551"/>
                  </a:cubicBezTo>
                  <a:cubicBezTo>
                    <a:pt x="899103" y="158266"/>
                    <a:pt x="904243" y="156981"/>
                    <a:pt x="909383" y="160194"/>
                  </a:cubicBezTo>
                  <a:cubicBezTo>
                    <a:pt x="914522" y="163406"/>
                    <a:pt x="924802" y="171116"/>
                    <a:pt x="926730" y="173686"/>
                  </a:cubicBezTo>
                  <a:cubicBezTo>
                    <a:pt x="928657" y="176256"/>
                    <a:pt x="940864" y="189748"/>
                    <a:pt x="944719" y="192318"/>
                  </a:cubicBezTo>
                  <a:cubicBezTo>
                    <a:pt x="947932" y="194888"/>
                    <a:pt x="953072" y="198743"/>
                    <a:pt x="954999" y="200670"/>
                  </a:cubicBezTo>
                  <a:cubicBezTo>
                    <a:pt x="956927" y="203240"/>
                    <a:pt x="966564" y="210950"/>
                    <a:pt x="969776" y="212877"/>
                  </a:cubicBezTo>
                  <a:cubicBezTo>
                    <a:pt x="972989" y="214805"/>
                    <a:pt x="974274" y="214805"/>
                    <a:pt x="976201" y="221230"/>
                  </a:cubicBezTo>
                  <a:cubicBezTo>
                    <a:pt x="978129" y="227655"/>
                    <a:pt x="983269" y="238577"/>
                    <a:pt x="980698" y="241789"/>
                  </a:cubicBezTo>
                  <a:cubicBezTo>
                    <a:pt x="978129" y="245644"/>
                    <a:pt x="974274" y="248857"/>
                    <a:pt x="965921" y="248214"/>
                  </a:cubicBezTo>
                  <a:cubicBezTo>
                    <a:pt x="956927" y="247572"/>
                    <a:pt x="939579" y="245002"/>
                    <a:pt x="933797" y="247572"/>
                  </a:cubicBezTo>
                  <a:cubicBezTo>
                    <a:pt x="928015" y="250142"/>
                    <a:pt x="928015" y="255924"/>
                    <a:pt x="919020" y="256567"/>
                  </a:cubicBezTo>
                  <a:cubicBezTo>
                    <a:pt x="910667" y="257209"/>
                    <a:pt x="908097" y="257209"/>
                    <a:pt x="905528" y="256567"/>
                  </a:cubicBezTo>
                  <a:cubicBezTo>
                    <a:pt x="902958" y="255924"/>
                    <a:pt x="899745" y="252712"/>
                    <a:pt x="894605" y="254639"/>
                  </a:cubicBezTo>
                  <a:cubicBezTo>
                    <a:pt x="889465" y="256567"/>
                    <a:pt x="886895" y="259137"/>
                    <a:pt x="882398" y="260422"/>
                  </a:cubicBezTo>
                  <a:cubicBezTo>
                    <a:pt x="877900" y="261706"/>
                    <a:pt x="871476" y="258494"/>
                    <a:pt x="870833" y="260422"/>
                  </a:cubicBezTo>
                  <a:cubicBezTo>
                    <a:pt x="870191" y="262349"/>
                    <a:pt x="879186" y="271986"/>
                    <a:pt x="881755" y="273271"/>
                  </a:cubicBezTo>
                  <a:cubicBezTo>
                    <a:pt x="883683" y="274556"/>
                    <a:pt x="895890" y="282909"/>
                    <a:pt x="917735" y="292546"/>
                  </a:cubicBezTo>
                  <a:cubicBezTo>
                    <a:pt x="939579" y="302183"/>
                    <a:pt x="941507" y="304753"/>
                    <a:pt x="949859" y="304753"/>
                  </a:cubicBezTo>
                  <a:cubicBezTo>
                    <a:pt x="958211" y="304753"/>
                    <a:pt x="970419" y="300898"/>
                    <a:pt x="970419" y="304753"/>
                  </a:cubicBezTo>
                  <a:cubicBezTo>
                    <a:pt x="970419" y="308608"/>
                    <a:pt x="963994" y="313105"/>
                    <a:pt x="971061" y="315033"/>
                  </a:cubicBezTo>
                  <a:cubicBezTo>
                    <a:pt x="978129" y="316960"/>
                    <a:pt x="984553" y="318888"/>
                    <a:pt x="990978" y="317603"/>
                  </a:cubicBezTo>
                  <a:cubicBezTo>
                    <a:pt x="997403" y="316318"/>
                    <a:pt x="1008326" y="318245"/>
                    <a:pt x="1008968" y="320173"/>
                  </a:cubicBezTo>
                  <a:cubicBezTo>
                    <a:pt x="1009610" y="322100"/>
                    <a:pt x="1006398" y="329168"/>
                    <a:pt x="1005756" y="332380"/>
                  </a:cubicBezTo>
                  <a:cubicBezTo>
                    <a:pt x="1005756" y="334950"/>
                    <a:pt x="1001258" y="332380"/>
                    <a:pt x="1009610" y="353582"/>
                  </a:cubicBezTo>
                  <a:cubicBezTo>
                    <a:pt x="1017963" y="374784"/>
                    <a:pt x="1019248" y="376712"/>
                    <a:pt x="1019890" y="387634"/>
                  </a:cubicBezTo>
                  <a:cubicBezTo>
                    <a:pt x="1020533" y="398556"/>
                    <a:pt x="1026315" y="409479"/>
                    <a:pt x="1027600" y="412691"/>
                  </a:cubicBezTo>
                  <a:cubicBezTo>
                    <a:pt x="1028885" y="415903"/>
                    <a:pt x="1034668" y="424898"/>
                    <a:pt x="1042377" y="442245"/>
                  </a:cubicBezTo>
                  <a:cubicBezTo>
                    <a:pt x="1044305" y="446100"/>
                    <a:pt x="1045590" y="449313"/>
                    <a:pt x="1046875" y="451883"/>
                  </a:cubicBezTo>
                  <a:lnTo>
                    <a:pt x="1046875" y="451883"/>
                  </a:lnTo>
                  <a:cubicBezTo>
                    <a:pt x="1048160" y="454453"/>
                    <a:pt x="1048802" y="455738"/>
                    <a:pt x="1049445" y="457665"/>
                  </a:cubicBezTo>
                  <a:cubicBezTo>
                    <a:pt x="1050087" y="458308"/>
                    <a:pt x="1050087" y="458950"/>
                    <a:pt x="1050730" y="459593"/>
                  </a:cubicBezTo>
                  <a:cubicBezTo>
                    <a:pt x="1051372" y="460878"/>
                    <a:pt x="1051372" y="461520"/>
                    <a:pt x="1052015" y="462163"/>
                  </a:cubicBezTo>
                  <a:cubicBezTo>
                    <a:pt x="1052657" y="462805"/>
                    <a:pt x="1052657" y="463448"/>
                    <a:pt x="1052657" y="464732"/>
                  </a:cubicBezTo>
                  <a:cubicBezTo>
                    <a:pt x="1052657" y="465375"/>
                    <a:pt x="1053300" y="466660"/>
                    <a:pt x="1053300" y="467302"/>
                  </a:cubicBezTo>
                  <a:cubicBezTo>
                    <a:pt x="1053300" y="467945"/>
                    <a:pt x="1053300" y="469230"/>
                    <a:pt x="1053942" y="469872"/>
                  </a:cubicBezTo>
                  <a:cubicBezTo>
                    <a:pt x="1054585" y="469872"/>
                    <a:pt x="1054585" y="471157"/>
                    <a:pt x="1054585" y="472442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1" name="Freihandform 460">
              <a:extLst>
                <a:ext uri="{FF2B5EF4-FFF2-40B4-BE49-F238E27FC236}">
                  <a16:creationId xmlns:a16="http://schemas.microsoft.com/office/drawing/2014/main" id="{58DFEFEF-5CD1-9B0A-01BF-5FB7327928E9}"/>
                </a:ext>
              </a:extLst>
            </p:cNvPr>
            <p:cNvSpPr/>
            <p:nvPr/>
          </p:nvSpPr>
          <p:spPr>
            <a:xfrm>
              <a:off x="3296699" y="2880067"/>
              <a:ext cx="1034404" cy="899102"/>
            </a:xfrm>
            <a:custGeom>
              <a:avLst/>
              <a:gdLst>
                <a:gd name="connsiteX0" fmla="*/ 700954 w 1034404"/>
                <a:gd name="connsiteY0" fmla="*/ 445507 h 899102"/>
                <a:gd name="connsiteX1" fmla="*/ 687461 w 1034404"/>
                <a:gd name="connsiteY1" fmla="*/ 468636 h 899102"/>
                <a:gd name="connsiteX2" fmla="*/ 681679 w 1034404"/>
                <a:gd name="connsiteY2" fmla="*/ 464139 h 899102"/>
                <a:gd name="connsiteX3" fmla="*/ 668829 w 1034404"/>
                <a:gd name="connsiteY3" fmla="*/ 451289 h 899102"/>
                <a:gd name="connsiteX4" fmla="*/ 642487 w 1034404"/>
                <a:gd name="connsiteY4" fmla="*/ 441652 h 899102"/>
                <a:gd name="connsiteX5" fmla="*/ 619358 w 1034404"/>
                <a:gd name="connsiteY5" fmla="*/ 458357 h 899102"/>
                <a:gd name="connsiteX6" fmla="*/ 579523 w 1034404"/>
                <a:gd name="connsiteY6" fmla="*/ 446149 h 899102"/>
                <a:gd name="connsiteX7" fmla="*/ 558321 w 1034404"/>
                <a:gd name="connsiteY7" fmla="*/ 439724 h 899102"/>
                <a:gd name="connsiteX8" fmla="*/ 532622 w 1034404"/>
                <a:gd name="connsiteY8" fmla="*/ 451289 h 899102"/>
                <a:gd name="connsiteX9" fmla="*/ 528767 w 1034404"/>
                <a:gd name="connsiteY9" fmla="*/ 433300 h 899102"/>
                <a:gd name="connsiteX10" fmla="*/ 535192 w 1034404"/>
                <a:gd name="connsiteY10" fmla="*/ 395393 h 899102"/>
                <a:gd name="connsiteX11" fmla="*/ 535192 w 1034404"/>
                <a:gd name="connsiteY11" fmla="*/ 363269 h 899102"/>
                <a:gd name="connsiteX12" fmla="*/ 578881 w 1034404"/>
                <a:gd name="connsiteY12" fmla="*/ 338211 h 899102"/>
                <a:gd name="connsiteX13" fmla="*/ 593016 w 1034404"/>
                <a:gd name="connsiteY13" fmla="*/ 334999 h 899102"/>
                <a:gd name="connsiteX14" fmla="*/ 600726 w 1034404"/>
                <a:gd name="connsiteY14" fmla="*/ 341424 h 899102"/>
                <a:gd name="connsiteX15" fmla="*/ 628353 w 1034404"/>
                <a:gd name="connsiteY15" fmla="*/ 342709 h 899102"/>
                <a:gd name="connsiteX16" fmla="*/ 636062 w 1034404"/>
                <a:gd name="connsiteY16" fmla="*/ 358129 h 899102"/>
                <a:gd name="connsiteX17" fmla="*/ 666902 w 1034404"/>
                <a:gd name="connsiteY17" fmla="*/ 380616 h 899102"/>
                <a:gd name="connsiteX18" fmla="*/ 681037 w 1034404"/>
                <a:gd name="connsiteY18" fmla="*/ 397963 h 899102"/>
                <a:gd name="connsiteX19" fmla="*/ 716373 w 1034404"/>
                <a:gd name="connsiteY19" fmla="*/ 412097 h 899102"/>
                <a:gd name="connsiteX20" fmla="*/ 700954 w 1034404"/>
                <a:gd name="connsiteY20" fmla="*/ 445507 h 899102"/>
                <a:gd name="connsiteX21" fmla="*/ 1024767 w 1034404"/>
                <a:gd name="connsiteY21" fmla="*/ 742978 h 899102"/>
                <a:gd name="connsiteX22" fmla="*/ 1011918 w 1034404"/>
                <a:gd name="connsiteY22" fmla="*/ 731414 h 899102"/>
                <a:gd name="connsiteX23" fmla="*/ 1003565 w 1034404"/>
                <a:gd name="connsiteY23" fmla="*/ 723061 h 899102"/>
                <a:gd name="connsiteX24" fmla="*/ 999710 w 1034404"/>
                <a:gd name="connsiteY24" fmla="*/ 713424 h 899102"/>
                <a:gd name="connsiteX25" fmla="*/ 984290 w 1034404"/>
                <a:gd name="connsiteY25" fmla="*/ 695434 h 899102"/>
                <a:gd name="connsiteX26" fmla="*/ 975296 w 1034404"/>
                <a:gd name="connsiteY26" fmla="*/ 672947 h 899102"/>
                <a:gd name="connsiteX27" fmla="*/ 987503 w 1034404"/>
                <a:gd name="connsiteY27" fmla="*/ 658813 h 899102"/>
                <a:gd name="connsiteX28" fmla="*/ 998425 w 1034404"/>
                <a:gd name="connsiteY28" fmla="*/ 643393 h 899102"/>
                <a:gd name="connsiteX29" fmla="*/ 1001638 w 1034404"/>
                <a:gd name="connsiteY29" fmla="*/ 633113 h 899102"/>
                <a:gd name="connsiteX30" fmla="*/ 1006778 w 1034404"/>
                <a:gd name="connsiteY30" fmla="*/ 609341 h 899102"/>
                <a:gd name="connsiteX31" fmla="*/ 1010632 w 1034404"/>
                <a:gd name="connsiteY31" fmla="*/ 590709 h 899102"/>
                <a:gd name="connsiteX32" fmla="*/ 1012560 w 1034404"/>
                <a:gd name="connsiteY32" fmla="*/ 563082 h 899102"/>
                <a:gd name="connsiteX33" fmla="*/ 1009347 w 1034404"/>
                <a:gd name="connsiteY33" fmla="*/ 547662 h 899102"/>
                <a:gd name="connsiteX34" fmla="*/ 1008063 w 1034404"/>
                <a:gd name="connsiteY34" fmla="*/ 536740 h 899102"/>
                <a:gd name="connsiteX35" fmla="*/ 1002280 w 1034404"/>
                <a:gd name="connsiteY35" fmla="*/ 525175 h 899102"/>
                <a:gd name="connsiteX36" fmla="*/ 1000995 w 1034404"/>
                <a:gd name="connsiteY36" fmla="*/ 503973 h 899102"/>
                <a:gd name="connsiteX37" fmla="*/ 992000 w 1034404"/>
                <a:gd name="connsiteY37" fmla="*/ 487268 h 899102"/>
                <a:gd name="connsiteX38" fmla="*/ 963731 w 1034404"/>
                <a:gd name="connsiteY38" fmla="*/ 480844 h 899102"/>
                <a:gd name="connsiteX39" fmla="*/ 950881 w 1034404"/>
                <a:gd name="connsiteY39" fmla="*/ 460284 h 899102"/>
                <a:gd name="connsiteX40" fmla="*/ 937389 w 1034404"/>
                <a:gd name="connsiteY40" fmla="*/ 433942 h 899102"/>
                <a:gd name="connsiteX41" fmla="*/ 944456 w 1034404"/>
                <a:gd name="connsiteY41" fmla="*/ 412097 h 899102"/>
                <a:gd name="connsiteX42" fmla="*/ 957948 w 1034404"/>
                <a:gd name="connsiteY42" fmla="*/ 399890 h 899102"/>
                <a:gd name="connsiteX43" fmla="*/ 966301 w 1034404"/>
                <a:gd name="connsiteY43" fmla="*/ 374191 h 899102"/>
                <a:gd name="connsiteX44" fmla="*/ 959233 w 1034404"/>
                <a:gd name="connsiteY44" fmla="*/ 357486 h 899102"/>
                <a:gd name="connsiteX45" fmla="*/ 954094 w 1034404"/>
                <a:gd name="connsiteY45" fmla="*/ 342709 h 899102"/>
                <a:gd name="connsiteX46" fmla="*/ 936104 w 1034404"/>
                <a:gd name="connsiteY46" fmla="*/ 327932 h 899102"/>
                <a:gd name="connsiteX47" fmla="*/ 908477 w 1034404"/>
                <a:gd name="connsiteY47" fmla="*/ 312512 h 899102"/>
                <a:gd name="connsiteX48" fmla="*/ 889202 w 1034404"/>
                <a:gd name="connsiteY48" fmla="*/ 290667 h 899102"/>
                <a:gd name="connsiteX49" fmla="*/ 857078 w 1034404"/>
                <a:gd name="connsiteY49" fmla="*/ 264968 h 899102"/>
                <a:gd name="connsiteX50" fmla="*/ 832021 w 1034404"/>
                <a:gd name="connsiteY50" fmla="*/ 250833 h 899102"/>
                <a:gd name="connsiteX51" fmla="*/ 819814 w 1034404"/>
                <a:gd name="connsiteY51" fmla="*/ 236698 h 899102"/>
                <a:gd name="connsiteX52" fmla="*/ 814674 w 1034404"/>
                <a:gd name="connsiteY52" fmla="*/ 216781 h 899102"/>
                <a:gd name="connsiteX53" fmla="*/ 808249 w 1034404"/>
                <a:gd name="connsiteY53" fmla="*/ 194294 h 899102"/>
                <a:gd name="connsiteX54" fmla="*/ 809534 w 1034404"/>
                <a:gd name="connsiteY54" fmla="*/ 183372 h 899102"/>
                <a:gd name="connsiteX55" fmla="*/ 837161 w 1034404"/>
                <a:gd name="connsiteY55" fmla="*/ 169880 h 899102"/>
                <a:gd name="connsiteX56" fmla="*/ 860290 w 1034404"/>
                <a:gd name="connsiteY56" fmla="*/ 150605 h 899102"/>
                <a:gd name="connsiteX57" fmla="*/ 873783 w 1034404"/>
                <a:gd name="connsiteY57" fmla="*/ 124263 h 899102"/>
                <a:gd name="connsiteX58" fmla="*/ 873783 w 1034404"/>
                <a:gd name="connsiteY58" fmla="*/ 23393 h 899102"/>
                <a:gd name="connsiteX59" fmla="*/ 873783 w 1034404"/>
                <a:gd name="connsiteY59" fmla="*/ 21465 h 899102"/>
                <a:gd name="connsiteX60" fmla="*/ 868000 w 1034404"/>
                <a:gd name="connsiteY60" fmla="*/ 21465 h 899102"/>
                <a:gd name="connsiteX61" fmla="*/ 853866 w 1034404"/>
                <a:gd name="connsiteY61" fmla="*/ 22108 h 899102"/>
                <a:gd name="connsiteX62" fmla="*/ 839731 w 1034404"/>
                <a:gd name="connsiteY62" fmla="*/ 34315 h 899102"/>
                <a:gd name="connsiteX63" fmla="*/ 818529 w 1034404"/>
                <a:gd name="connsiteY63" fmla="*/ 54875 h 899102"/>
                <a:gd name="connsiteX64" fmla="*/ 788332 w 1034404"/>
                <a:gd name="connsiteY64" fmla="*/ 54875 h 899102"/>
                <a:gd name="connsiteX65" fmla="*/ 770985 w 1034404"/>
                <a:gd name="connsiteY65" fmla="*/ 31745 h 899102"/>
                <a:gd name="connsiteX66" fmla="*/ 769700 w 1034404"/>
                <a:gd name="connsiteY66" fmla="*/ 20180 h 899102"/>
                <a:gd name="connsiteX67" fmla="*/ 739503 w 1034404"/>
                <a:gd name="connsiteY67" fmla="*/ 906 h 899102"/>
                <a:gd name="connsiteX68" fmla="*/ 708663 w 1034404"/>
                <a:gd name="connsiteY68" fmla="*/ 3476 h 899102"/>
                <a:gd name="connsiteX69" fmla="*/ 689389 w 1034404"/>
                <a:gd name="connsiteY69" fmla="*/ 11185 h 899102"/>
                <a:gd name="connsiteX70" fmla="*/ 668829 w 1034404"/>
                <a:gd name="connsiteY70" fmla="*/ 11828 h 899102"/>
                <a:gd name="connsiteX71" fmla="*/ 653409 w 1034404"/>
                <a:gd name="connsiteY71" fmla="*/ 4118 h 899102"/>
                <a:gd name="connsiteX72" fmla="*/ 623855 w 1034404"/>
                <a:gd name="connsiteY72" fmla="*/ 13755 h 899102"/>
                <a:gd name="connsiteX73" fmla="*/ 611648 w 1034404"/>
                <a:gd name="connsiteY73" fmla="*/ 42667 h 899102"/>
                <a:gd name="connsiteX74" fmla="*/ 602011 w 1034404"/>
                <a:gd name="connsiteY74" fmla="*/ 66439 h 899102"/>
                <a:gd name="connsiteX75" fmla="*/ 580809 w 1034404"/>
                <a:gd name="connsiteY75" fmla="*/ 74792 h 899102"/>
                <a:gd name="connsiteX76" fmla="*/ 558964 w 1034404"/>
                <a:gd name="connsiteY76" fmla="*/ 70294 h 899102"/>
                <a:gd name="connsiteX77" fmla="*/ 531979 w 1034404"/>
                <a:gd name="connsiteY77" fmla="*/ 75434 h 899102"/>
                <a:gd name="connsiteX78" fmla="*/ 508207 w 1034404"/>
                <a:gd name="connsiteY78" fmla="*/ 90854 h 899102"/>
                <a:gd name="connsiteX79" fmla="*/ 499213 w 1034404"/>
                <a:gd name="connsiteY79" fmla="*/ 106274 h 899102"/>
                <a:gd name="connsiteX80" fmla="*/ 486363 w 1034404"/>
                <a:gd name="connsiteY80" fmla="*/ 117196 h 899102"/>
                <a:gd name="connsiteX81" fmla="*/ 440746 w 1034404"/>
                <a:gd name="connsiteY81" fmla="*/ 113983 h 899102"/>
                <a:gd name="connsiteX82" fmla="*/ 413119 w 1034404"/>
                <a:gd name="connsiteY82" fmla="*/ 104989 h 899102"/>
                <a:gd name="connsiteX83" fmla="*/ 380995 w 1034404"/>
                <a:gd name="connsiteY83" fmla="*/ 93424 h 899102"/>
                <a:gd name="connsiteX84" fmla="*/ 358508 w 1034404"/>
                <a:gd name="connsiteY84" fmla="*/ 85071 h 899102"/>
                <a:gd name="connsiteX85" fmla="*/ 321244 w 1034404"/>
                <a:gd name="connsiteY85" fmla="*/ 82501 h 899102"/>
                <a:gd name="connsiteX86" fmla="*/ 295544 w 1034404"/>
                <a:gd name="connsiteY86" fmla="*/ 70294 h 899102"/>
                <a:gd name="connsiteX87" fmla="*/ 269845 w 1034404"/>
                <a:gd name="connsiteY87" fmla="*/ 54875 h 899102"/>
                <a:gd name="connsiteX88" fmla="*/ 248642 w 1034404"/>
                <a:gd name="connsiteY88" fmla="*/ 43952 h 899102"/>
                <a:gd name="connsiteX89" fmla="*/ 213948 w 1034404"/>
                <a:gd name="connsiteY89" fmla="*/ 43952 h 899102"/>
                <a:gd name="connsiteX90" fmla="*/ 203668 w 1034404"/>
                <a:gd name="connsiteY90" fmla="*/ 63869 h 899102"/>
                <a:gd name="connsiteX91" fmla="*/ 163192 w 1034404"/>
                <a:gd name="connsiteY91" fmla="*/ 99849 h 899102"/>
                <a:gd name="connsiteX92" fmla="*/ 113720 w 1034404"/>
                <a:gd name="connsiteY92" fmla="*/ 98564 h 899102"/>
                <a:gd name="connsiteX93" fmla="*/ 87378 w 1034404"/>
                <a:gd name="connsiteY93" fmla="*/ 117196 h 899102"/>
                <a:gd name="connsiteX94" fmla="*/ 83523 w 1034404"/>
                <a:gd name="connsiteY94" fmla="*/ 123621 h 899102"/>
                <a:gd name="connsiteX95" fmla="*/ 83523 w 1034404"/>
                <a:gd name="connsiteY95" fmla="*/ 142253 h 899102"/>
                <a:gd name="connsiteX96" fmla="*/ 66176 w 1034404"/>
                <a:gd name="connsiteY96" fmla="*/ 153818 h 899102"/>
                <a:gd name="connsiteX97" fmla="*/ 46259 w 1034404"/>
                <a:gd name="connsiteY97" fmla="*/ 148035 h 899102"/>
                <a:gd name="connsiteX98" fmla="*/ 34052 w 1034404"/>
                <a:gd name="connsiteY98" fmla="*/ 163455 h 899102"/>
                <a:gd name="connsiteX99" fmla="*/ 24414 w 1034404"/>
                <a:gd name="connsiteY99" fmla="*/ 163455 h 899102"/>
                <a:gd name="connsiteX100" fmla="*/ 0 w 1034404"/>
                <a:gd name="connsiteY100" fmla="*/ 153818 h 899102"/>
                <a:gd name="connsiteX101" fmla="*/ 5782 w 1034404"/>
                <a:gd name="connsiteY101" fmla="*/ 171807 h 899102"/>
                <a:gd name="connsiteX102" fmla="*/ 19917 w 1034404"/>
                <a:gd name="connsiteY102" fmla="*/ 185299 h 899102"/>
                <a:gd name="connsiteX103" fmla="*/ 52684 w 1034404"/>
                <a:gd name="connsiteY103" fmla="*/ 176305 h 899102"/>
                <a:gd name="connsiteX104" fmla="*/ 68746 w 1034404"/>
                <a:gd name="connsiteY104" fmla="*/ 182730 h 899102"/>
                <a:gd name="connsiteX105" fmla="*/ 86093 w 1034404"/>
                <a:gd name="connsiteY105" fmla="*/ 189154 h 899102"/>
                <a:gd name="connsiteX106" fmla="*/ 98943 w 1034404"/>
                <a:gd name="connsiteY106" fmla="*/ 187227 h 899102"/>
                <a:gd name="connsiteX107" fmla="*/ 104725 w 1034404"/>
                <a:gd name="connsiteY107" fmla="*/ 187869 h 899102"/>
                <a:gd name="connsiteX108" fmla="*/ 113720 w 1034404"/>
                <a:gd name="connsiteY108" fmla="*/ 198792 h 899102"/>
                <a:gd name="connsiteX109" fmla="*/ 138777 w 1034404"/>
                <a:gd name="connsiteY109" fmla="*/ 219351 h 899102"/>
                <a:gd name="connsiteX110" fmla="*/ 155482 w 1034404"/>
                <a:gd name="connsiteY110" fmla="*/ 218709 h 899102"/>
                <a:gd name="connsiteX111" fmla="*/ 166404 w 1034404"/>
                <a:gd name="connsiteY111" fmla="*/ 228346 h 899102"/>
                <a:gd name="connsiteX112" fmla="*/ 161264 w 1034404"/>
                <a:gd name="connsiteY112" fmla="*/ 239911 h 899102"/>
                <a:gd name="connsiteX113" fmla="*/ 169617 w 1034404"/>
                <a:gd name="connsiteY113" fmla="*/ 247621 h 899102"/>
                <a:gd name="connsiteX114" fmla="*/ 219088 w 1034404"/>
                <a:gd name="connsiteY114" fmla="*/ 252761 h 899102"/>
                <a:gd name="connsiteX115" fmla="*/ 228083 w 1034404"/>
                <a:gd name="connsiteY115" fmla="*/ 248906 h 899102"/>
                <a:gd name="connsiteX116" fmla="*/ 235793 w 1034404"/>
                <a:gd name="connsiteY116" fmla="*/ 249548 h 899102"/>
                <a:gd name="connsiteX117" fmla="*/ 260207 w 1034404"/>
                <a:gd name="connsiteY117" fmla="*/ 256616 h 899102"/>
                <a:gd name="connsiteX118" fmla="*/ 275627 w 1034404"/>
                <a:gd name="connsiteY118" fmla="*/ 276533 h 899102"/>
                <a:gd name="connsiteX119" fmla="*/ 276912 w 1034404"/>
                <a:gd name="connsiteY119" fmla="*/ 309942 h 899102"/>
                <a:gd name="connsiteX120" fmla="*/ 276270 w 1034404"/>
                <a:gd name="connsiteY120" fmla="*/ 326004 h 899102"/>
                <a:gd name="connsiteX121" fmla="*/ 271130 w 1034404"/>
                <a:gd name="connsiteY121" fmla="*/ 351061 h 899102"/>
                <a:gd name="connsiteX122" fmla="*/ 271772 w 1034404"/>
                <a:gd name="connsiteY122" fmla="*/ 367123 h 899102"/>
                <a:gd name="connsiteX123" fmla="*/ 254425 w 1034404"/>
                <a:gd name="connsiteY123" fmla="*/ 399890 h 899102"/>
                <a:gd name="connsiteX124" fmla="*/ 256352 w 1034404"/>
                <a:gd name="connsiteY124" fmla="*/ 406315 h 899102"/>
                <a:gd name="connsiteX125" fmla="*/ 266632 w 1034404"/>
                <a:gd name="connsiteY125" fmla="*/ 409528 h 899102"/>
                <a:gd name="connsiteX126" fmla="*/ 289762 w 1034404"/>
                <a:gd name="connsiteY126" fmla="*/ 409528 h 899102"/>
                <a:gd name="connsiteX127" fmla="*/ 303254 w 1034404"/>
                <a:gd name="connsiteY127" fmla="*/ 415952 h 899102"/>
                <a:gd name="connsiteX128" fmla="*/ 300041 w 1034404"/>
                <a:gd name="connsiteY128" fmla="*/ 423020 h 899102"/>
                <a:gd name="connsiteX129" fmla="*/ 290404 w 1034404"/>
                <a:gd name="connsiteY129" fmla="*/ 446792 h 899102"/>
                <a:gd name="connsiteX130" fmla="*/ 289762 w 1034404"/>
                <a:gd name="connsiteY130" fmla="*/ 471849 h 899102"/>
                <a:gd name="connsiteX131" fmla="*/ 285907 w 1034404"/>
                <a:gd name="connsiteY131" fmla="*/ 494336 h 899102"/>
                <a:gd name="connsiteX132" fmla="*/ 307751 w 1034404"/>
                <a:gd name="connsiteY132" fmla="*/ 595206 h 899102"/>
                <a:gd name="connsiteX133" fmla="*/ 392560 w 1034404"/>
                <a:gd name="connsiteY133" fmla="*/ 645320 h 899102"/>
                <a:gd name="connsiteX134" fmla="*/ 483150 w 1034404"/>
                <a:gd name="connsiteY134" fmla="*/ 665238 h 899102"/>
                <a:gd name="connsiteX135" fmla="*/ 536477 w 1034404"/>
                <a:gd name="connsiteY135" fmla="*/ 674875 h 899102"/>
                <a:gd name="connsiteX136" fmla="*/ 552539 w 1034404"/>
                <a:gd name="connsiteY136" fmla="*/ 726274 h 899102"/>
                <a:gd name="connsiteX137" fmla="*/ 558964 w 1034404"/>
                <a:gd name="connsiteY137" fmla="*/ 760968 h 899102"/>
                <a:gd name="connsiteX138" fmla="*/ 528767 w 1034404"/>
                <a:gd name="connsiteY138" fmla="*/ 786025 h 899102"/>
                <a:gd name="connsiteX139" fmla="*/ 527482 w 1034404"/>
                <a:gd name="connsiteY139" fmla="*/ 786668 h 899102"/>
                <a:gd name="connsiteX140" fmla="*/ 574384 w 1034404"/>
                <a:gd name="connsiteY140" fmla="*/ 811082 h 899102"/>
                <a:gd name="connsiteX141" fmla="*/ 589161 w 1034404"/>
                <a:gd name="connsiteY141" fmla="*/ 837424 h 899102"/>
                <a:gd name="connsiteX142" fmla="*/ 589803 w 1034404"/>
                <a:gd name="connsiteY142" fmla="*/ 847061 h 899102"/>
                <a:gd name="connsiteX143" fmla="*/ 577596 w 1034404"/>
                <a:gd name="connsiteY143" fmla="*/ 884326 h 899102"/>
                <a:gd name="connsiteX144" fmla="*/ 589803 w 1034404"/>
                <a:gd name="connsiteY144" fmla="*/ 895248 h 899102"/>
                <a:gd name="connsiteX145" fmla="*/ 628353 w 1034404"/>
                <a:gd name="connsiteY145" fmla="*/ 878543 h 899102"/>
                <a:gd name="connsiteX146" fmla="*/ 651482 w 1034404"/>
                <a:gd name="connsiteY146" fmla="*/ 875331 h 899102"/>
                <a:gd name="connsiteX147" fmla="*/ 666259 w 1034404"/>
                <a:gd name="connsiteY147" fmla="*/ 886896 h 899102"/>
                <a:gd name="connsiteX148" fmla="*/ 740788 w 1034404"/>
                <a:gd name="connsiteY148" fmla="*/ 899103 h 899102"/>
                <a:gd name="connsiteX149" fmla="*/ 828166 w 1034404"/>
                <a:gd name="connsiteY149" fmla="*/ 875331 h 899102"/>
                <a:gd name="connsiteX150" fmla="*/ 842943 w 1034404"/>
                <a:gd name="connsiteY150" fmla="*/ 848346 h 899102"/>
                <a:gd name="connsiteX151" fmla="*/ 864788 w 1034404"/>
                <a:gd name="connsiteY151" fmla="*/ 827787 h 899102"/>
                <a:gd name="connsiteX152" fmla="*/ 896270 w 1034404"/>
                <a:gd name="connsiteY152" fmla="*/ 827787 h 899102"/>
                <a:gd name="connsiteX153" fmla="*/ 927752 w 1034404"/>
                <a:gd name="connsiteY153" fmla="*/ 812367 h 899102"/>
                <a:gd name="connsiteX154" fmla="*/ 957306 w 1034404"/>
                <a:gd name="connsiteY154" fmla="*/ 796305 h 899102"/>
                <a:gd name="connsiteX155" fmla="*/ 967586 w 1034404"/>
                <a:gd name="connsiteY155" fmla="*/ 803372 h 899102"/>
                <a:gd name="connsiteX156" fmla="*/ 989430 w 1034404"/>
                <a:gd name="connsiteY156" fmla="*/ 803372 h 899102"/>
                <a:gd name="connsiteX157" fmla="*/ 1004208 w 1034404"/>
                <a:gd name="connsiteY157" fmla="*/ 784098 h 899102"/>
                <a:gd name="connsiteX158" fmla="*/ 1015130 w 1034404"/>
                <a:gd name="connsiteY158" fmla="*/ 780243 h 899102"/>
                <a:gd name="connsiteX159" fmla="*/ 1030550 w 1034404"/>
                <a:gd name="connsiteY159" fmla="*/ 773818 h 899102"/>
                <a:gd name="connsiteX160" fmla="*/ 1034405 w 1034404"/>
                <a:gd name="connsiteY160" fmla="*/ 761611 h 899102"/>
                <a:gd name="connsiteX161" fmla="*/ 1024767 w 1034404"/>
                <a:gd name="connsiteY161" fmla="*/ 742978 h 89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1034404" h="899102">
                  <a:moveTo>
                    <a:pt x="700954" y="445507"/>
                  </a:moveTo>
                  <a:cubicBezTo>
                    <a:pt x="691959" y="458999"/>
                    <a:pt x="690031" y="466066"/>
                    <a:pt x="687461" y="468636"/>
                  </a:cubicBezTo>
                  <a:cubicBezTo>
                    <a:pt x="684249" y="471206"/>
                    <a:pt x="681679" y="469921"/>
                    <a:pt x="681679" y="464139"/>
                  </a:cubicBezTo>
                  <a:cubicBezTo>
                    <a:pt x="681679" y="458357"/>
                    <a:pt x="675897" y="451932"/>
                    <a:pt x="668829" y="451289"/>
                  </a:cubicBezTo>
                  <a:cubicBezTo>
                    <a:pt x="661119" y="450647"/>
                    <a:pt x="654052" y="442294"/>
                    <a:pt x="642487" y="441652"/>
                  </a:cubicBezTo>
                  <a:cubicBezTo>
                    <a:pt x="630922" y="441009"/>
                    <a:pt x="629638" y="453859"/>
                    <a:pt x="619358" y="458357"/>
                  </a:cubicBezTo>
                  <a:cubicBezTo>
                    <a:pt x="608435" y="462854"/>
                    <a:pt x="586591" y="451289"/>
                    <a:pt x="579523" y="446149"/>
                  </a:cubicBezTo>
                  <a:cubicBezTo>
                    <a:pt x="572456" y="441009"/>
                    <a:pt x="567316" y="437797"/>
                    <a:pt x="558321" y="439724"/>
                  </a:cubicBezTo>
                  <a:cubicBezTo>
                    <a:pt x="549327" y="442294"/>
                    <a:pt x="543544" y="452574"/>
                    <a:pt x="532622" y="451289"/>
                  </a:cubicBezTo>
                  <a:cubicBezTo>
                    <a:pt x="522342" y="450004"/>
                    <a:pt x="526197" y="439724"/>
                    <a:pt x="528767" y="433300"/>
                  </a:cubicBezTo>
                  <a:cubicBezTo>
                    <a:pt x="531337" y="427517"/>
                    <a:pt x="531979" y="408243"/>
                    <a:pt x="535192" y="395393"/>
                  </a:cubicBezTo>
                  <a:cubicBezTo>
                    <a:pt x="539047" y="382543"/>
                    <a:pt x="533907" y="372906"/>
                    <a:pt x="535192" y="363269"/>
                  </a:cubicBezTo>
                  <a:cubicBezTo>
                    <a:pt x="536477" y="353631"/>
                    <a:pt x="578881" y="338211"/>
                    <a:pt x="578881" y="338211"/>
                  </a:cubicBezTo>
                  <a:cubicBezTo>
                    <a:pt x="578881" y="338211"/>
                    <a:pt x="591731" y="334999"/>
                    <a:pt x="593016" y="334999"/>
                  </a:cubicBezTo>
                  <a:cubicBezTo>
                    <a:pt x="594301" y="334999"/>
                    <a:pt x="598798" y="340139"/>
                    <a:pt x="600726" y="341424"/>
                  </a:cubicBezTo>
                  <a:cubicBezTo>
                    <a:pt x="602653" y="342709"/>
                    <a:pt x="623213" y="342709"/>
                    <a:pt x="628353" y="342709"/>
                  </a:cubicBezTo>
                  <a:cubicBezTo>
                    <a:pt x="633492" y="343351"/>
                    <a:pt x="634777" y="351704"/>
                    <a:pt x="636062" y="358129"/>
                  </a:cubicBezTo>
                  <a:cubicBezTo>
                    <a:pt x="636705" y="364553"/>
                    <a:pt x="652125" y="371621"/>
                    <a:pt x="666902" y="380616"/>
                  </a:cubicBezTo>
                  <a:cubicBezTo>
                    <a:pt x="681679" y="389610"/>
                    <a:pt x="679109" y="394750"/>
                    <a:pt x="681037" y="397963"/>
                  </a:cubicBezTo>
                  <a:cubicBezTo>
                    <a:pt x="682964" y="401175"/>
                    <a:pt x="713161" y="410170"/>
                    <a:pt x="716373" y="412097"/>
                  </a:cubicBezTo>
                  <a:cubicBezTo>
                    <a:pt x="717658" y="415952"/>
                    <a:pt x="709306" y="432015"/>
                    <a:pt x="700954" y="445507"/>
                  </a:cubicBezTo>
                  <a:moveTo>
                    <a:pt x="1024767" y="742978"/>
                  </a:moveTo>
                  <a:cubicBezTo>
                    <a:pt x="1020912" y="731414"/>
                    <a:pt x="1016415" y="734626"/>
                    <a:pt x="1011918" y="731414"/>
                  </a:cubicBezTo>
                  <a:cubicBezTo>
                    <a:pt x="1008705" y="729486"/>
                    <a:pt x="1006135" y="726916"/>
                    <a:pt x="1003565" y="723061"/>
                  </a:cubicBezTo>
                  <a:cubicBezTo>
                    <a:pt x="1002280" y="720491"/>
                    <a:pt x="1000995" y="717279"/>
                    <a:pt x="999710" y="713424"/>
                  </a:cubicBezTo>
                  <a:cubicBezTo>
                    <a:pt x="997140" y="702502"/>
                    <a:pt x="992000" y="703144"/>
                    <a:pt x="984290" y="695434"/>
                  </a:cubicBezTo>
                  <a:cubicBezTo>
                    <a:pt x="975938" y="688367"/>
                    <a:pt x="975938" y="679372"/>
                    <a:pt x="975296" y="672947"/>
                  </a:cubicBezTo>
                  <a:cubicBezTo>
                    <a:pt x="974653" y="666523"/>
                    <a:pt x="977866" y="665238"/>
                    <a:pt x="987503" y="658813"/>
                  </a:cubicBezTo>
                  <a:cubicBezTo>
                    <a:pt x="996498" y="652388"/>
                    <a:pt x="995855" y="648533"/>
                    <a:pt x="998425" y="643393"/>
                  </a:cubicBezTo>
                  <a:cubicBezTo>
                    <a:pt x="1000995" y="638253"/>
                    <a:pt x="1000353" y="636968"/>
                    <a:pt x="1001638" y="633113"/>
                  </a:cubicBezTo>
                  <a:cubicBezTo>
                    <a:pt x="1002923" y="628616"/>
                    <a:pt x="1006778" y="613196"/>
                    <a:pt x="1006778" y="609341"/>
                  </a:cubicBezTo>
                  <a:cubicBezTo>
                    <a:pt x="1006778" y="605486"/>
                    <a:pt x="1008063" y="593921"/>
                    <a:pt x="1010632" y="590709"/>
                  </a:cubicBezTo>
                  <a:cubicBezTo>
                    <a:pt x="1013202" y="587497"/>
                    <a:pt x="1012560" y="570792"/>
                    <a:pt x="1012560" y="563082"/>
                  </a:cubicBezTo>
                  <a:cubicBezTo>
                    <a:pt x="1012560" y="555372"/>
                    <a:pt x="1010632" y="552160"/>
                    <a:pt x="1009347" y="547662"/>
                  </a:cubicBezTo>
                  <a:cubicBezTo>
                    <a:pt x="1007420" y="543165"/>
                    <a:pt x="1008063" y="539953"/>
                    <a:pt x="1008063" y="536740"/>
                  </a:cubicBezTo>
                  <a:cubicBezTo>
                    <a:pt x="1008063" y="532885"/>
                    <a:pt x="1004208" y="527745"/>
                    <a:pt x="1002280" y="525175"/>
                  </a:cubicBezTo>
                  <a:cubicBezTo>
                    <a:pt x="1000353" y="522605"/>
                    <a:pt x="1001638" y="505901"/>
                    <a:pt x="1000995" y="503973"/>
                  </a:cubicBezTo>
                  <a:cubicBezTo>
                    <a:pt x="1000995" y="502046"/>
                    <a:pt x="995855" y="491123"/>
                    <a:pt x="992000" y="487268"/>
                  </a:cubicBezTo>
                  <a:cubicBezTo>
                    <a:pt x="988145" y="483414"/>
                    <a:pt x="979793" y="485984"/>
                    <a:pt x="963731" y="480844"/>
                  </a:cubicBezTo>
                  <a:cubicBezTo>
                    <a:pt x="947669" y="476346"/>
                    <a:pt x="957306" y="473776"/>
                    <a:pt x="950881" y="460284"/>
                  </a:cubicBezTo>
                  <a:cubicBezTo>
                    <a:pt x="944456" y="446792"/>
                    <a:pt x="937389" y="436512"/>
                    <a:pt x="937389" y="433942"/>
                  </a:cubicBezTo>
                  <a:cubicBezTo>
                    <a:pt x="936746" y="431372"/>
                    <a:pt x="936746" y="424947"/>
                    <a:pt x="944456" y="412097"/>
                  </a:cubicBezTo>
                  <a:cubicBezTo>
                    <a:pt x="951524" y="399248"/>
                    <a:pt x="956021" y="403103"/>
                    <a:pt x="957948" y="399890"/>
                  </a:cubicBezTo>
                  <a:cubicBezTo>
                    <a:pt x="959876" y="396678"/>
                    <a:pt x="966301" y="381258"/>
                    <a:pt x="966301" y="374191"/>
                  </a:cubicBezTo>
                  <a:cubicBezTo>
                    <a:pt x="966301" y="367766"/>
                    <a:pt x="961161" y="365196"/>
                    <a:pt x="959233" y="357486"/>
                  </a:cubicBezTo>
                  <a:cubicBezTo>
                    <a:pt x="956664" y="349776"/>
                    <a:pt x="954736" y="345279"/>
                    <a:pt x="954094" y="342709"/>
                  </a:cubicBezTo>
                  <a:cubicBezTo>
                    <a:pt x="952809" y="340139"/>
                    <a:pt x="942529" y="332429"/>
                    <a:pt x="936104" y="327932"/>
                  </a:cubicBezTo>
                  <a:cubicBezTo>
                    <a:pt x="929679" y="322792"/>
                    <a:pt x="918757" y="320222"/>
                    <a:pt x="908477" y="312512"/>
                  </a:cubicBezTo>
                  <a:cubicBezTo>
                    <a:pt x="898197" y="304160"/>
                    <a:pt x="893700" y="295807"/>
                    <a:pt x="889202" y="290667"/>
                  </a:cubicBezTo>
                  <a:cubicBezTo>
                    <a:pt x="884705" y="285528"/>
                    <a:pt x="857721" y="265610"/>
                    <a:pt x="857078" y="264968"/>
                  </a:cubicBezTo>
                  <a:cubicBezTo>
                    <a:pt x="856436" y="264325"/>
                    <a:pt x="839731" y="257258"/>
                    <a:pt x="832021" y="250833"/>
                  </a:cubicBezTo>
                  <a:cubicBezTo>
                    <a:pt x="823669" y="243766"/>
                    <a:pt x="823026" y="244408"/>
                    <a:pt x="819814" y="236698"/>
                  </a:cubicBezTo>
                  <a:cubicBezTo>
                    <a:pt x="816601" y="228989"/>
                    <a:pt x="817886" y="223849"/>
                    <a:pt x="814674" y="216781"/>
                  </a:cubicBezTo>
                  <a:cubicBezTo>
                    <a:pt x="811461" y="209714"/>
                    <a:pt x="808249" y="196864"/>
                    <a:pt x="808249" y="194294"/>
                  </a:cubicBezTo>
                  <a:cubicBezTo>
                    <a:pt x="808249" y="191724"/>
                    <a:pt x="808892" y="185299"/>
                    <a:pt x="809534" y="183372"/>
                  </a:cubicBezTo>
                  <a:cubicBezTo>
                    <a:pt x="810176" y="182087"/>
                    <a:pt x="827524" y="177590"/>
                    <a:pt x="837161" y="169880"/>
                  </a:cubicBezTo>
                  <a:cubicBezTo>
                    <a:pt x="846798" y="162170"/>
                    <a:pt x="854508" y="157673"/>
                    <a:pt x="860290" y="150605"/>
                  </a:cubicBezTo>
                  <a:cubicBezTo>
                    <a:pt x="866715" y="142253"/>
                    <a:pt x="865430" y="131973"/>
                    <a:pt x="873783" y="124263"/>
                  </a:cubicBezTo>
                  <a:cubicBezTo>
                    <a:pt x="874425" y="90854"/>
                    <a:pt x="873783" y="56802"/>
                    <a:pt x="873783" y="23393"/>
                  </a:cubicBezTo>
                  <a:cubicBezTo>
                    <a:pt x="873783" y="22750"/>
                    <a:pt x="873783" y="22108"/>
                    <a:pt x="873783" y="21465"/>
                  </a:cubicBezTo>
                  <a:cubicBezTo>
                    <a:pt x="871855" y="21465"/>
                    <a:pt x="869928" y="21465"/>
                    <a:pt x="868000" y="21465"/>
                  </a:cubicBezTo>
                  <a:cubicBezTo>
                    <a:pt x="863503" y="21465"/>
                    <a:pt x="858363" y="20823"/>
                    <a:pt x="853866" y="22108"/>
                  </a:cubicBezTo>
                  <a:cubicBezTo>
                    <a:pt x="847441" y="24035"/>
                    <a:pt x="843586" y="29175"/>
                    <a:pt x="839731" y="34315"/>
                  </a:cubicBezTo>
                  <a:cubicBezTo>
                    <a:pt x="833306" y="42025"/>
                    <a:pt x="827524" y="50377"/>
                    <a:pt x="818529" y="54875"/>
                  </a:cubicBezTo>
                  <a:cubicBezTo>
                    <a:pt x="809534" y="59372"/>
                    <a:pt x="797969" y="59372"/>
                    <a:pt x="788332" y="54875"/>
                  </a:cubicBezTo>
                  <a:cubicBezTo>
                    <a:pt x="778695" y="50377"/>
                    <a:pt x="772270" y="41382"/>
                    <a:pt x="770985" y="31745"/>
                  </a:cubicBezTo>
                  <a:cubicBezTo>
                    <a:pt x="770342" y="27890"/>
                    <a:pt x="770985" y="24035"/>
                    <a:pt x="769700" y="20180"/>
                  </a:cubicBezTo>
                  <a:cubicBezTo>
                    <a:pt x="765845" y="9258"/>
                    <a:pt x="750425" y="2833"/>
                    <a:pt x="739503" y="906"/>
                  </a:cubicBezTo>
                  <a:cubicBezTo>
                    <a:pt x="729223" y="-1022"/>
                    <a:pt x="718301" y="263"/>
                    <a:pt x="708663" y="3476"/>
                  </a:cubicBezTo>
                  <a:cubicBezTo>
                    <a:pt x="702239" y="6046"/>
                    <a:pt x="695814" y="9258"/>
                    <a:pt x="689389" y="11185"/>
                  </a:cubicBezTo>
                  <a:cubicBezTo>
                    <a:pt x="682964" y="13113"/>
                    <a:pt x="675254" y="14398"/>
                    <a:pt x="668829" y="11828"/>
                  </a:cubicBezTo>
                  <a:cubicBezTo>
                    <a:pt x="663689" y="9900"/>
                    <a:pt x="659192" y="6046"/>
                    <a:pt x="653409" y="4118"/>
                  </a:cubicBezTo>
                  <a:cubicBezTo>
                    <a:pt x="643130" y="263"/>
                    <a:pt x="630922" y="6046"/>
                    <a:pt x="623855" y="13755"/>
                  </a:cubicBezTo>
                  <a:cubicBezTo>
                    <a:pt x="616788" y="22108"/>
                    <a:pt x="614218" y="32388"/>
                    <a:pt x="611648" y="42667"/>
                  </a:cubicBezTo>
                  <a:cubicBezTo>
                    <a:pt x="609720" y="51020"/>
                    <a:pt x="607793" y="60014"/>
                    <a:pt x="602011" y="66439"/>
                  </a:cubicBezTo>
                  <a:cubicBezTo>
                    <a:pt x="596871" y="72222"/>
                    <a:pt x="588518" y="75434"/>
                    <a:pt x="580809" y="74792"/>
                  </a:cubicBezTo>
                  <a:cubicBezTo>
                    <a:pt x="573099" y="74149"/>
                    <a:pt x="566674" y="70937"/>
                    <a:pt x="558964" y="70294"/>
                  </a:cubicBezTo>
                  <a:cubicBezTo>
                    <a:pt x="549969" y="69009"/>
                    <a:pt x="540332" y="71579"/>
                    <a:pt x="531979" y="75434"/>
                  </a:cubicBezTo>
                  <a:cubicBezTo>
                    <a:pt x="522985" y="78647"/>
                    <a:pt x="513347" y="83787"/>
                    <a:pt x="508207" y="90854"/>
                  </a:cubicBezTo>
                  <a:cubicBezTo>
                    <a:pt x="504353" y="95351"/>
                    <a:pt x="502425" y="101134"/>
                    <a:pt x="499213" y="106274"/>
                  </a:cubicBezTo>
                  <a:cubicBezTo>
                    <a:pt x="496000" y="110771"/>
                    <a:pt x="491503" y="114626"/>
                    <a:pt x="486363" y="117196"/>
                  </a:cubicBezTo>
                  <a:cubicBezTo>
                    <a:pt x="472228" y="124263"/>
                    <a:pt x="455523" y="119123"/>
                    <a:pt x="440746" y="113983"/>
                  </a:cubicBezTo>
                  <a:cubicBezTo>
                    <a:pt x="431751" y="110771"/>
                    <a:pt x="422757" y="108201"/>
                    <a:pt x="413119" y="104989"/>
                  </a:cubicBezTo>
                  <a:cubicBezTo>
                    <a:pt x="402197" y="101134"/>
                    <a:pt x="391917" y="97921"/>
                    <a:pt x="380995" y="93424"/>
                  </a:cubicBezTo>
                  <a:cubicBezTo>
                    <a:pt x="373285" y="90211"/>
                    <a:pt x="366218" y="86999"/>
                    <a:pt x="358508" y="85071"/>
                  </a:cubicBezTo>
                  <a:cubicBezTo>
                    <a:pt x="346301" y="82501"/>
                    <a:pt x="333451" y="85071"/>
                    <a:pt x="321244" y="82501"/>
                  </a:cubicBezTo>
                  <a:cubicBezTo>
                    <a:pt x="312249" y="80574"/>
                    <a:pt x="303896" y="75434"/>
                    <a:pt x="295544" y="70294"/>
                  </a:cubicBezTo>
                  <a:cubicBezTo>
                    <a:pt x="287192" y="65154"/>
                    <a:pt x="278197" y="60014"/>
                    <a:pt x="269845" y="54875"/>
                  </a:cubicBezTo>
                  <a:cubicBezTo>
                    <a:pt x="263420" y="51020"/>
                    <a:pt x="256352" y="46522"/>
                    <a:pt x="248642" y="43952"/>
                  </a:cubicBezTo>
                  <a:cubicBezTo>
                    <a:pt x="237720" y="40097"/>
                    <a:pt x="224871" y="40097"/>
                    <a:pt x="213948" y="43952"/>
                  </a:cubicBezTo>
                  <a:cubicBezTo>
                    <a:pt x="204311" y="47165"/>
                    <a:pt x="199171" y="54232"/>
                    <a:pt x="203668" y="63869"/>
                  </a:cubicBezTo>
                  <a:cubicBezTo>
                    <a:pt x="208166" y="74149"/>
                    <a:pt x="176684" y="92781"/>
                    <a:pt x="163192" y="99849"/>
                  </a:cubicBezTo>
                  <a:cubicBezTo>
                    <a:pt x="149699" y="106274"/>
                    <a:pt x="131067" y="100491"/>
                    <a:pt x="113720" y="98564"/>
                  </a:cubicBezTo>
                  <a:cubicBezTo>
                    <a:pt x="102155" y="97279"/>
                    <a:pt x="92518" y="109486"/>
                    <a:pt x="87378" y="117196"/>
                  </a:cubicBezTo>
                  <a:cubicBezTo>
                    <a:pt x="84808" y="121051"/>
                    <a:pt x="83523" y="123621"/>
                    <a:pt x="83523" y="123621"/>
                  </a:cubicBezTo>
                  <a:lnTo>
                    <a:pt x="83523" y="142253"/>
                  </a:lnTo>
                  <a:cubicBezTo>
                    <a:pt x="83523" y="149963"/>
                    <a:pt x="77098" y="151890"/>
                    <a:pt x="66176" y="153818"/>
                  </a:cubicBezTo>
                  <a:cubicBezTo>
                    <a:pt x="55896" y="155745"/>
                    <a:pt x="50114" y="148678"/>
                    <a:pt x="46259" y="148035"/>
                  </a:cubicBezTo>
                  <a:cubicBezTo>
                    <a:pt x="42404" y="147393"/>
                    <a:pt x="35979" y="157673"/>
                    <a:pt x="34052" y="163455"/>
                  </a:cubicBezTo>
                  <a:cubicBezTo>
                    <a:pt x="31482" y="168595"/>
                    <a:pt x="27627" y="164097"/>
                    <a:pt x="24414" y="163455"/>
                  </a:cubicBezTo>
                  <a:cubicBezTo>
                    <a:pt x="21845" y="162812"/>
                    <a:pt x="10922" y="156388"/>
                    <a:pt x="0" y="153818"/>
                  </a:cubicBezTo>
                  <a:cubicBezTo>
                    <a:pt x="1285" y="160242"/>
                    <a:pt x="3212" y="166025"/>
                    <a:pt x="5782" y="171807"/>
                  </a:cubicBezTo>
                  <a:cubicBezTo>
                    <a:pt x="8352" y="177590"/>
                    <a:pt x="12850" y="184014"/>
                    <a:pt x="19917" y="185299"/>
                  </a:cubicBezTo>
                  <a:cubicBezTo>
                    <a:pt x="30839" y="187869"/>
                    <a:pt x="41119" y="176305"/>
                    <a:pt x="52684" y="176305"/>
                  </a:cubicBezTo>
                  <a:cubicBezTo>
                    <a:pt x="58466" y="176305"/>
                    <a:pt x="63606" y="179517"/>
                    <a:pt x="68746" y="182730"/>
                  </a:cubicBezTo>
                  <a:cubicBezTo>
                    <a:pt x="74528" y="185942"/>
                    <a:pt x="79668" y="189154"/>
                    <a:pt x="86093" y="189154"/>
                  </a:cubicBezTo>
                  <a:cubicBezTo>
                    <a:pt x="90591" y="189154"/>
                    <a:pt x="94446" y="187227"/>
                    <a:pt x="98943" y="187227"/>
                  </a:cubicBezTo>
                  <a:cubicBezTo>
                    <a:pt x="100870" y="187227"/>
                    <a:pt x="102798" y="187227"/>
                    <a:pt x="104725" y="187869"/>
                  </a:cubicBezTo>
                  <a:cubicBezTo>
                    <a:pt x="109223" y="189797"/>
                    <a:pt x="111793" y="194294"/>
                    <a:pt x="113720" y="198792"/>
                  </a:cubicBezTo>
                  <a:cubicBezTo>
                    <a:pt x="118860" y="208429"/>
                    <a:pt x="127212" y="218709"/>
                    <a:pt x="138777" y="219351"/>
                  </a:cubicBezTo>
                  <a:cubicBezTo>
                    <a:pt x="144560" y="219994"/>
                    <a:pt x="149699" y="218066"/>
                    <a:pt x="155482" y="218709"/>
                  </a:cubicBezTo>
                  <a:cubicBezTo>
                    <a:pt x="161264" y="219351"/>
                    <a:pt x="167047" y="223206"/>
                    <a:pt x="166404" y="228346"/>
                  </a:cubicBezTo>
                  <a:cubicBezTo>
                    <a:pt x="165762" y="232844"/>
                    <a:pt x="160622" y="235413"/>
                    <a:pt x="161264" y="239911"/>
                  </a:cubicBezTo>
                  <a:cubicBezTo>
                    <a:pt x="161907" y="243766"/>
                    <a:pt x="165762" y="245693"/>
                    <a:pt x="169617" y="247621"/>
                  </a:cubicBezTo>
                  <a:cubicBezTo>
                    <a:pt x="185679" y="254046"/>
                    <a:pt x="203668" y="260471"/>
                    <a:pt x="219088" y="252761"/>
                  </a:cubicBezTo>
                  <a:cubicBezTo>
                    <a:pt x="222300" y="251476"/>
                    <a:pt x="224871" y="249548"/>
                    <a:pt x="228083" y="248906"/>
                  </a:cubicBezTo>
                  <a:cubicBezTo>
                    <a:pt x="230653" y="248263"/>
                    <a:pt x="233223" y="248906"/>
                    <a:pt x="235793" y="249548"/>
                  </a:cubicBezTo>
                  <a:cubicBezTo>
                    <a:pt x="244145" y="251476"/>
                    <a:pt x="252497" y="253403"/>
                    <a:pt x="260207" y="256616"/>
                  </a:cubicBezTo>
                  <a:cubicBezTo>
                    <a:pt x="269845" y="261113"/>
                    <a:pt x="274985" y="266895"/>
                    <a:pt x="275627" y="276533"/>
                  </a:cubicBezTo>
                  <a:cubicBezTo>
                    <a:pt x="276270" y="287455"/>
                    <a:pt x="276912" y="299020"/>
                    <a:pt x="276912" y="309942"/>
                  </a:cubicBezTo>
                  <a:cubicBezTo>
                    <a:pt x="276912" y="315082"/>
                    <a:pt x="277554" y="320864"/>
                    <a:pt x="276270" y="326004"/>
                  </a:cubicBezTo>
                  <a:cubicBezTo>
                    <a:pt x="274985" y="334357"/>
                    <a:pt x="271130" y="342066"/>
                    <a:pt x="271130" y="351061"/>
                  </a:cubicBezTo>
                  <a:cubicBezTo>
                    <a:pt x="271130" y="356201"/>
                    <a:pt x="272415" y="361983"/>
                    <a:pt x="271772" y="367123"/>
                  </a:cubicBezTo>
                  <a:cubicBezTo>
                    <a:pt x="269845" y="379331"/>
                    <a:pt x="255067" y="387683"/>
                    <a:pt x="254425" y="399890"/>
                  </a:cubicBezTo>
                  <a:cubicBezTo>
                    <a:pt x="254425" y="402460"/>
                    <a:pt x="254425" y="405030"/>
                    <a:pt x="256352" y="406315"/>
                  </a:cubicBezTo>
                  <a:cubicBezTo>
                    <a:pt x="258922" y="408885"/>
                    <a:pt x="262777" y="409528"/>
                    <a:pt x="266632" y="409528"/>
                  </a:cubicBezTo>
                  <a:cubicBezTo>
                    <a:pt x="274342" y="409528"/>
                    <a:pt x="282052" y="410170"/>
                    <a:pt x="289762" y="409528"/>
                  </a:cubicBezTo>
                  <a:cubicBezTo>
                    <a:pt x="295544" y="409528"/>
                    <a:pt x="302611" y="410813"/>
                    <a:pt x="303254" y="415952"/>
                  </a:cubicBezTo>
                  <a:cubicBezTo>
                    <a:pt x="303254" y="418522"/>
                    <a:pt x="301969" y="421092"/>
                    <a:pt x="300041" y="423020"/>
                  </a:cubicBezTo>
                  <a:cubicBezTo>
                    <a:pt x="294902" y="430087"/>
                    <a:pt x="291689" y="438440"/>
                    <a:pt x="290404" y="446792"/>
                  </a:cubicBezTo>
                  <a:cubicBezTo>
                    <a:pt x="289119" y="455144"/>
                    <a:pt x="290404" y="463496"/>
                    <a:pt x="289762" y="471849"/>
                  </a:cubicBezTo>
                  <a:cubicBezTo>
                    <a:pt x="289119" y="479559"/>
                    <a:pt x="287192" y="486626"/>
                    <a:pt x="285907" y="494336"/>
                  </a:cubicBezTo>
                  <a:cubicBezTo>
                    <a:pt x="280124" y="529030"/>
                    <a:pt x="287834" y="565652"/>
                    <a:pt x="307751" y="595206"/>
                  </a:cubicBezTo>
                  <a:cubicBezTo>
                    <a:pt x="307751" y="595206"/>
                    <a:pt x="339876" y="645320"/>
                    <a:pt x="392560" y="645320"/>
                  </a:cubicBezTo>
                  <a:cubicBezTo>
                    <a:pt x="445244" y="645320"/>
                    <a:pt x="458093" y="660098"/>
                    <a:pt x="483150" y="665238"/>
                  </a:cubicBezTo>
                  <a:cubicBezTo>
                    <a:pt x="508207" y="670377"/>
                    <a:pt x="521700" y="663953"/>
                    <a:pt x="536477" y="674875"/>
                  </a:cubicBezTo>
                  <a:cubicBezTo>
                    <a:pt x="551254" y="685797"/>
                    <a:pt x="551897" y="717921"/>
                    <a:pt x="552539" y="726274"/>
                  </a:cubicBezTo>
                  <a:cubicBezTo>
                    <a:pt x="553181" y="735269"/>
                    <a:pt x="571814" y="746833"/>
                    <a:pt x="558964" y="760968"/>
                  </a:cubicBezTo>
                  <a:cubicBezTo>
                    <a:pt x="548042" y="772533"/>
                    <a:pt x="533264" y="783455"/>
                    <a:pt x="528767" y="786025"/>
                  </a:cubicBezTo>
                  <a:cubicBezTo>
                    <a:pt x="528124" y="786668"/>
                    <a:pt x="527482" y="786668"/>
                    <a:pt x="527482" y="786668"/>
                  </a:cubicBezTo>
                  <a:cubicBezTo>
                    <a:pt x="527482" y="786668"/>
                    <a:pt x="567959" y="807870"/>
                    <a:pt x="574384" y="811082"/>
                  </a:cubicBezTo>
                  <a:cubicBezTo>
                    <a:pt x="579523" y="813652"/>
                    <a:pt x="586591" y="824574"/>
                    <a:pt x="589161" y="837424"/>
                  </a:cubicBezTo>
                  <a:cubicBezTo>
                    <a:pt x="589803" y="840637"/>
                    <a:pt x="589803" y="843849"/>
                    <a:pt x="589803" y="847061"/>
                  </a:cubicBezTo>
                  <a:cubicBezTo>
                    <a:pt x="588518" y="863124"/>
                    <a:pt x="577596" y="881113"/>
                    <a:pt x="577596" y="884326"/>
                  </a:cubicBezTo>
                  <a:cubicBezTo>
                    <a:pt x="577596" y="887538"/>
                    <a:pt x="576311" y="899745"/>
                    <a:pt x="589803" y="895248"/>
                  </a:cubicBezTo>
                  <a:cubicBezTo>
                    <a:pt x="603938" y="890751"/>
                    <a:pt x="621928" y="880471"/>
                    <a:pt x="628353" y="878543"/>
                  </a:cubicBezTo>
                  <a:cubicBezTo>
                    <a:pt x="634777" y="876616"/>
                    <a:pt x="643130" y="868906"/>
                    <a:pt x="651482" y="875331"/>
                  </a:cubicBezTo>
                  <a:cubicBezTo>
                    <a:pt x="659834" y="881756"/>
                    <a:pt x="650840" y="880471"/>
                    <a:pt x="666259" y="886896"/>
                  </a:cubicBezTo>
                  <a:cubicBezTo>
                    <a:pt x="681679" y="893321"/>
                    <a:pt x="729865" y="899103"/>
                    <a:pt x="740788" y="899103"/>
                  </a:cubicBezTo>
                  <a:cubicBezTo>
                    <a:pt x="751710" y="899103"/>
                    <a:pt x="819171" y="886896"/>
                    <a:pt x="828166" y="875331"/>
                  </a:cubicBezTo>
                  <a:cubicBezTo>
                    <a:pt x="837161" y="864409"/>
                    <a:pt x="838446" y="861196"/>
                    <a:pt x="842943" y="848346"/>
                  </a:cubicBezTo>
                  <a:cubicBezTo>
                    <a:pt x="847441" y="835497"/>
                    <a:pt x="857078" y="827787"/>
                    <a:pt x="864788" y="827787"/>
                  </a:cubicBezTo>
                  <a:cubicBezTo>
                    <a:pt x="871855" y="827787"/>
                    <a:pt x="881492" y="830999"/>
                    <a:pt x="896270" y="827787"/>
                  </a:cubicBezTo>
                  <a:cubicBezTo>
                    <a:pt x="911047" y="824574"/>
                    <a:pt x="916187" y="822004"/>
                    <a:pt x="927752" y="812367"/>
                  </a:cubicBezTo>
                  <a:cubicBezTo>
                    <a:pt x="939316" y="802730"/>
                    <a:pt x="954736" y="796305"/>
                    <a:pt x="957306" y="796305"/>
                  </a:cubicBezTo>
                  <a:cubicBezTo>
                    <a:pt x="959876" y="796305"/>
                    <a:pt x="959876" y="803372"/>
                    <a:pt x="967586" y="803372"/>
                  </a:cubicBezTo>
                  <a:cubicBezTo>
                    <a:pt x="975296" y="804015"/>
                    <a:pt x="983006" y="811082"/>
                    <a:pt x="989430" y="803372"/>
                  </a:cubicBezTo>
                  <a:cubicBezTo>
                    <a:pt x="995855" y="795662"/>
                    <a:pt x="999710" y="786668"/>
                    <a:pt x="1004208" y="784098"/>
                  </a:cubicBezTo>
                  <a:cubicBezTo>
                    <a:pt x="1008705" y="781528"/>
                    <a:pt x="1009347" y="780243"/>
                    <a:pt x="1015130" y="780243"/>
                  </a:cubicBezTo>
                  <a:cubicBezTo>
                    <a:pt x="1017700" y="780243"/>
                    <a:pt x="1024125" y="777673"/>
                    <a:pt x="1030550" y="773818"/>
                  </a:cubicBezTo>
                  <a:cubicBezTo>
                    <a:pt x="1032477" y="769963"/>
                    <a:pt x="1033762" y="765466"/>
                    <a:pt x="1034405" y="761611"/>
                  </a:cubicBezTo>
                  <a:cubicBezTo>
                    <a:pt x="1029907" y="753901"/>
                    <a:pt x="1027980" y="754543"/>
                    <a:pt x="1024767" y="742978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2" name="Freihandform 461">
              <a:extLst>
                <a:ext uri="{FF2B5EF4-FFF2-40B4-BE49-F238E27FC236}">
                  <a16:creationId xmlns:a16="http://schemas.microsoft.com/office/drawing/2014/main" id="{3E488548-8181-F86A-BB06-20BB4D96749B}"/>
                </a:ext>
              </a:extLst>
            </p:cNvPr>
            <p:cNvSpPr/>
            <p:nvPr/>
          </p:nvSpPr>
          <p:spPr>
            <a:xfrm>
              <a:off x="3296699" y="2880067"/>
              <a:ext cx="1034404" cy="899102"/>
            </a:xfrm>
            <a:custGeom>
              <a:avLst/>
              <a:gdLst>
                <a:gd name="connsiteX0" fmla="*/ 700954 w 1034404"/>
                <a:gd name="connsiteY0" fmla="*/ 445507 h 899102"/>
                <a:gd name="connsiteX1" fmla="*/ 687461 w 1034404"/>
                <a:gd name="connsiteY1" fmla="*/ 468636 h 899102"/>
                <a:gd name="connsiteX2" fmla="*/ 681679 w 1034404"/>
                <a:gd name="connsiteY2" fmla="*/ 464139 h 899102"/>
                <a:gd name="connsiteX3" fmla="*/ 668829 w 1034404"/>
                <a:gd name="connsiteY3" fmla="*/ 451289 h 899102"/>
                <a:gd name="connsiteX4" fmla="*/ 642487 w 1034404"/>
                <a:gd name="connsiteY4" fmla="*/ 441652 h 899102"/>
                <a:gd name="connsiteX5" fmla="*/ 619358 w 1034404"/>
                <a:gd name="connsiteY5" fmla="*/ 458357 h 899102"/>
                <a:gd name="connsiteX6" fmla="*/ 579523 w 1034404"/>
                <a:gd name="connsiteY6" fmla="*/ 446149 h 899102"/>
                <a:gd name="connsiteX7" fmla="*/ 558321 w 1034404"/>
                <a:gd name="connsiteY7" fmla="*/ 439724 h 899102"/>
                <a:gd name="connsiteX8" fmla="*/ 532622 w 1034404"/>
                <a:gd name="connsiteY8" fmla="*/ 451289 h 899102"/>
                <a:gd name="connsiteX9" fmla="*/ 528767 w 1034404"/>
                <a:gd name="connsiteY9" fmla="*/ 433300 h 899102"/>
                <a:gd name="connsiteX10" fmla="*/ 535192 w 1034404"/>
                <a:gd name="connsiteY10" fmla="*/ 395393 h 899102"/>
                <a:gd name="connsiteX11" fmla="*/ 535192 w 1034404"/>
                <a:gd name="connsiteY11" fmla="*/ 363269 h 899102"/>
                <a:gd name="connsiteX12" fmla="*/ 578881 w 1034404"/>
                <a:gd name="connsiteY12" fmla="*/ 338211 h 899102"/>
                <a:gd name="connsiteX13" fmla="*/ 593016 w 1034404"/>
                <a:gd name="connsiteY13" fmla="*/ 334999 h 899102"/>
                <a:gd name="connsiteX14" fmla="*/ 600726 w 1034404"/>
                <a:gd name="connsiteY14" fmla="*/ 341424 h 899102"/>
                <a:gd name="connsiteX15" fmla="*/ 628353 w 1034404"/>
                <a:gd name="connsiteY15" fmla="*/ 342709 h 899102"/>
                <a:gd name="connsiteX16" fmla="*/ 636062 w 1034404"/>
                <a:gd name="connsiteY16" fmla="*/ 358129 h 899102"/>
                <a:gd name="connsiteX17" fmla="*/ 666902 w 1034404"/>
                <a:gd name="connsiteY17" fmla="*/ 380616 h 899102"/>
                <a:gd name="connsiteX18" fmla="*/ 681037 w 1034404"/>
                <a:gd name="connsiteY18" fmla="*/ 397963 h 899102"/>
                <a:gd name="connsiteX19" fmla="*/ 716373 w 1034404"/>
                <a:gd name="connsiteY19" fmla="*/ 412097 h 899102"/>
                <a:gd name="connsiteX20" fmla="*/ 700954 w 1034404"/>
                <a:gd name="connsiteY20" fmla="*/ 445507 h 899102"/>
                <a:gd name="connsiteX21" fmla="*/ 1024767 w 1034404"/>
                <a:gd name="connsiteY21" fmla="*/ 742978 h 899102"/>
                <a:gd name="connsiteX22" fmla="*/ 1011918 w 1034404"/>
                <a:gd name="connsiteY22" fmla="*/ 731414 h 899102"/>
                <a:gd name="connsiteX23" fmla="*/ 1003565 w 1034404"/>
                <a:gd name="connsiteY23" fmla="*/ 723061 h 899102"/>
                <a:gd name="connsiteX24" fmla="*/ 999710 w 1034404"/>
                <a:gd name="connsiteY24" fmla="*/ 713424 h 899102"/>
                <a:gd name="connsiteX25" fmla="*/ 984290 w 1034404"/>
                <a:gd name="connsiteY25" fmla="*/ 695434 h 899102"/>
                <a:gd name="connsiteX26" fmla="*/ 975296 w 1034404"/>
                <a:gd name="connsiteY26" fmla="*/ 672947 h 899102"/>
                <a:gd name="connsiteX27" fmla="*/ 987503 w 1034404"/>
                <a:gd name="connsiteY27" fmla="*/ 658813 h 899102"/>
                <a:gd name="connsiteX28" fmla="*/ 998425 w 1034404"/>
                <a:gd name="connsiteY28" fmla="*/ 643393 h 899102"/>
                <a:gd name="connsiteX29" fmla="*/ 1001638 w 1034404"/>
                <a:gd name="connsiteY29" fmla="*/ 633113 h 899102"/>
                <a:gd name="connsiteX30" fmla="*/ 1006778 w 1034404"/>
                <a:gd name="connsiteY30" fmla="*/ 609341 h 899102"/>
                <a:gd name="connsiteX31" fmla="*/ 1010632 w 1034404"/>
                <a:gd name="connsiteY31" fmla="*/ 590709 h 899102"/>
                <a:gd name="connsiteX32" fmla="*/ 1012560 w 1034404"/>
                <a:gd name="connsiteY32" fmla="*/ 563082 h 899102"/>
                <a:gd name="connsiteX33" fmla="*/ 1009347 w 1034404"/>
                <a:gd name="connsiteY33" fmla="*/ 547662 h 899102"/>
                <a:gd name="connsiteX34" fmla="*/ 1008063 w 1034404"/>
                <a:gd name="connsiteY34" fmla="*/ 536740 h 899102"/>
                <a:gd name="connsiteX35" fmla="*/ 1002280 w 1034404"/>
                <a:gd name="connsiteY35" fmla="*/ 525175 h 899102"/>
                <a:gd name="connsiteX36" fmla="*/ 1000995 w 1034404"/>
                <a:gd name="connsiteY36" fmla="*/ 503973 h 899102"/>
                <a:gd name="connsiteX37" fmla="*/ 992000 w 1034404"/>
                <a:gd name="connsiteY37" fmla="*/ 487268 h 899102"/>
                <a:gd name="connsiteX38" fmla="*/ 963731 w 1034404"/>
                <a:gd name="connsiteY38" fmla="*/ 480844 h 899102"/>
                <a:gd name="connsiteX39" fmla="*/ 950881 w 1034404"/>
                <a:gd name="connsiteY39" fmla="*/ 460284 h 899102"/>
                <a:gd name="connsiteX40" fmla="*/ 937389 w 1034404"/>
                <a:gd name="connsiteY40" fmla="*/ 433942 h 899102"/>
                <a:gd name="connsiteX41" fmla="*/ 944456 w 1034404"/>
                <a:gd name="connsiteY41" fmla="*/ 412097 h 899102"/>
                <a:gd name="connsiteX42" fmla="*/ 957948 w 1034404"/>
                <a:gd name="connsiteY42" fmla="*/ 399890 h 899102"/>
                <a:gd name="connsiteX43" fmla="*/ 966301 w 1034404"/>
                <a:gd name="connsiteY43" fmla="*/ 374191 h 899102"/>
                <a:gd name="connsiteX44" fmla="*/ 959233 w 1034404"/>
                <a:gd name="connsiteY44" fmla="*/ 357486 h 899102"/>
                <a:gd name="connsiteX45" fmla="*/ 954094 w 1034404"/>
                <a:gd name="connsiteY45" fmla="*/ 342709 h 899102"/>
                <a:gd name="connsiteX46" fmla="*/ 936104 w 1034404"/>
                <a:gd name="connsiteY46" fmla="*/ 327932 h 899102"/>
                <a:gd name="connsiteX47" fmla="*/ 908477 w 1034404"/>
                <a:gd name="connsiteY47" fmla="*/ 312512 h 899102"/>
                <a:gd name="connsiteX48" fmla="*/ 889202 w 1034404"/>
                <a:gd name="connsiteY48" fmla="*/ 290667 h 899102"/>
                <a:gd name="connsiteX49" fmla="*/ 857078 w 1034404"/>
                <a:gd name="connsiteY49" fmla="*/ 264968 h 899102"/>
                <a:gd name="connsiteX50" fmla="*/ 832021 w 1034404"/>
                <a:gd name="connsiteY50" fmla="*/ 250833 h 899102"/>
                <a:gd name="connsiteX51" fmla="*/ 819814 w 1034404"/>
                <a:gd name="connsiteY51" fmla="*/ 236698 h 899102"/>
                <a:gd name="connsiteX52" fmla="*/ 814674 w 1034404"/>
                <a:gd name="connsiteY52" fmla="*/ 216781 h 899102"/>
                <a:gd name="connsiteX53" fmla="*/ 808249 w 1034404"/>
                <a:gd name="connsiteY53" fmla="*/ 194294 h 899102"/>
                <a:gd name="connsiteX54" fmla="*/ 809534 w 1034404"/>
                <a:gd name="connsiteY54" fmla="*/ 183372 h 899102"/>
                <a:gd name="connsiteX55" fmla="*/ 837161 w 1034404"/>
                <a:gd name="connsiteY55" fmla="*/ 169880 h 899102"/>
                <a:gd name="connsiteX56" fmla="*/ 860290 w 1034404"/>
                <a:gd name="connsiteY56" fmla="*/ 150605 h 899102"/>
                <a:gd name="connsiteX57" fmla="*/ 873783 w 1034404"/>
                <a:gd name="connsiteY57" fmla="*/ 124263 h 899102"/>
                <a:gd name="connsiteX58" fmla="*/ 873783 w 1034404"/>
                <a:gd name="connsiteY58" fmla="*/ 23393 h 899102"/>
                <a:gd name="connsiteX59" fmla="*/ 873783 w 1034404"/>
                <a:gd name="connsiteY59" fmla="*/ 21465 h 899102"/>
                <a:gd name="connsiteX60" fmla="*/ 868000 w 1034404"/>
                <a:gd name="connsiteY60" fmla="*/ 21465 h 899102"/>
                <a:gd name="connsiteX61" fmla="*/ 853866 w 1034404"/>
                <a:gd name="connsiteY61" fmla="*/ 22108 h 899102"/>
                <a:gd name="connsiteX62" fmla="*/ 839731 w 1034404"/>
                <a:gd name="connsiteY62" fmla="*/ 34315 h 899102"/>
                <a:gd name="connsiteX63" fmla="*/ 818529 w 1034404"/>
                <a:gd name="connsiteY63" fmla="*/ 54875 h 899102"/>
                <a:gd name="connsiteX64" fmla="*/ 788332 w 1034404"/>
                <a:gd name="connsiteY64" fmla="*/ 54875 h 899102"/>
                <a:gd name="connsiteX65" fmla="*/ 770985 w 1034404"/>
                <a:gd name="connsiteY65" fmla="*/ 31745 h 899102"/>
                <a:gd name="connsiteX66" fmla="*/ 769700 w 1034404"/>
                <a:gd name="connsiteY66" fmla="*/ 20180 h 899102"/>
                <a:gd name="connsiteX67" fmla="*/ 739503 w 1034404"/>
                <a:gd name="connsiteY67" fmla="*/ 906 h 899102"/>
                <a:gd name="connsiteX68" fmla="*/ 708663 w 1034404"/>
                <a:gd name="connsiteY68" fmla="*/ 3476 h 899102"/>
                <a:gd name="connsiteX69" fmla="*/ 689389 w 1034404"/>
                <a:gd name="connsiteY69" fmla="*/ 11185 h 899102"/>
                <a:gd name="connsiteX70" fmla="*/ 668829 w 1034404"/>
                <a:gd name="connsiteY70" fmla="*/ 11828 h 899102"/>
                <a:gd name="connsiteX71" fmla="*/ 653409 w 1034404"/>
                <a:gd name="connsiteY71" fmla="*/ 4118 h 899102"/>
                <a:gd name="connsiteX72" fmla="*/ 623855 w 1034404"/>
                <a:gd name="connsiteY72" fmla="*/ 13755 h 899102"/>
                <a:gd name="connsiteX73" fmla="*/ 611648 w 1034404"/>
                <a:gd name="connsiteY73" fmla="*/ 42667 h 899102"/>
                <a:gd name="connsiteX74" fmla="*/ 602011 w 1034404"/>
                <a:gd name="connsiteY74" fmla="*/ 66439 h 899102"/>
                <a:gd name="connsiteX75" fmla="*/ 580809 w 1034404"/>
                <a:gd name="connsiteY75" fmla="*/ 74792 h 899102"/>
                <a:gd name="connsiteX76" fmla="*/ 558964 w 1034404"/>
                <a:gd name="connsiteY76" fmla="*/ 70294 h 899102"/>
                <a:gd name="connsiteX77" fmla="*/ 531979 w 1034404"/>
                <a:gd name="connsiteY77" fmla="*/ 75434 h 899102"/>
                <a:gd name="connsiteX78" fmla="*/ 508207 w 1034404"/>
                <a:gd name="connsiteY78" fmla="*/ 90854 h 899102"/>
                <a:gd name="connsiteX79" fmla="*/ 499213 w 1034404"/>
                <a:gd name="connsiteY79" fmla="*/ 106274 h 899102"/>
                <a:gd name="connsiteX80" fmla="*/ 486363 w 1034404"/>
                <a:gd name="connsiteY80" fmla="*/ 117196 h 899102"/>
                <a:gd name="connsiteX81" fmla="*/ 440746 w 1034404"/>
                <a:gd name="connsiteY81" fmla="*/ 113983 h 899102"/>
                <a:gd name="connsiteX82" fmla="*/ 413119 w 1034404"/>
                <a:gd name="connsiteY82" fmla="*/ 104989 h 899102"/>
                <a:gd name="connsiteX83" fmla="*/ 380995 w 1034404"/>
                <a:gd name="connsiteY83" fmla="*/ 93424 h 899102"/>
                <a:gd name="connsiteX84" fmla="*/ 358508 w 1034404"/>
                <a:gd name="connsiteY84" fmla="*/ 85071 h 899102"/>
                <a:gd name="connsiteX85" fmla="*/ 321244 w 1034404"/>
                <a:gd name="connsiteY85" fmla="*/ 82501 h 899102"/>
                <a:gd name="connsiteX86" fmla="*/ 295544 w 1034404"/>
                <a:gd name="connsiteY86" fmla="*/ 70294 h 899102"/>
                <a:gd name="connsiteX87" fmla="*/ 269845 w 1034404"/>
                <a:gd name="connsiteY87" fmla="*/ 54875 h 899102"/>
                <a:gd name="connsiteX88" fmla="*/ 248642 w 1034404"/>
                <a:gd name="connsiteY88" fmla="*/ 43952 h 899102"/>
                <a:gd name="connsiteX89" fmla="*/ 213948 w 1034404"/>
                <a:gd name="connsiteY89" fmla="*/ 43952 h 899102"/>
                <a:gd name="connsiteX90" fmla="*/ 203668 w 1034404"/>
                <a:gd name="connsiteY90" fmla="*/ 63869 h 899102"/>
                <a:gd name="connsiteX91" fmla="*/ 163192 w 1034404"/>
                <a:gd name="connsiteY91" fmla="*/ 99849 h 899102"/>
                <a:gd name="connsiteX92" fmla="*/ 113720 w 1034404"/>
                <a:gd name="connsiteY92" fmla="*/ 98564 h 899102"/>
                <a:gd name="connsiteX93" fmla="*/ 87378 w 1034404"/>
                <a:gd name="connsiteY93" fmla="*/ 117196 h 899102"/>
                <a:gd name="connsiteX94" fmla="*/ 83523 w 1034404"/>
                <a:gd name="connsiteY94" fmla="*/ 123621 h 899102"/>
                <a:gd name="connsiteX95" fmla="*/ 83523 w 1034404"/>
                <a:gd name="connsiteY95" fmla="*/ 142253 h 899102"/>
                <a:gd name="connsiteX96" fmla="*/ 66176 w 1034404"/>
                <a:gd name="connsiteY96" fmla="*/ 153818 h 899102"/>
                <a:gd name="connsiteX97" fmla="*/ 46259 w 1034404"/>
                <a:gd name="connsiteY97" fmla="*/ 148035 h 899102"/>
                <a:gd name="connsiteX98" fmla="*/ 34052 w 1034404"/>
                <a:gd name="connsiteY98" fmla="*/ 163455 h 899102"/>
                <a:gd name="connsiteX99" fmla="*/ 24414 w 1034404"/>
                <a:gd name="connsiteY99" fmla="*/ 163455 h 899102"/>
                <a:gd name="connsiteX100" fmla="*/ 0 w 1034404"/>
                <a:gd name="connsiteY100" fmla="*/ 153818 h 899102"/>
                <a:gd name="connsiteX101" fmla="*/ 5782 w 1034404"/>
                <a:gd name="connsiteY101" fmla="*/ 171807 h 899102"/>
                <a:gd name="connsiteX102" fmla="*/ 19917 w 1034404"/>
                <a:gd name="connsiteY102" fmla="*/ 185299 h 899102"/>
                <a:gd name="connsiteX103" fmla="*/ 52684 w 1034404"/>
                <a:gd name="connsiteY103" fmla="*/ 176305 h 899102"/>
                <a:gd name="connsiteX104" fmla="*/ 68746 w 1034404"/>
                <a:gd name="connsiteY104" fmla="*/ 182730 h 899102"/>
                <a:gd name="connsiteX105" fmla="*/ 86093 w 1034404"/>
                <a:gd name="connsiteY105" fmla="*/ 189154 h 899102"/>
                <a:gd name="connsiteX106" fmla="*/ 98943 w 1034404"/>
                <a:gd name="connsiteY106" fmla="*/ 187227 h 899102"/>
                <a:gd name="connsiteX107" fmla="*/ 104725 w 1034404"/>
                <a:gd name="connsiteY107" fmla="*/ 187869 h 899102"/>
                <a:gd name="connsiteX108" fmla="*/ 113720 w 1034404"/>
                <a:gd name="connsiteY108" fmla="*/ 198792 h 899102"/>
                <a:gd name="connsiteX109" fmla="*/ 138777 w 1034404"/>
                <a:gd name="connsiteY109" fmla="*/ 219351 h 899102"/>
                <a:gd name="connsiteX110" fmla="*/ 155482 w 1034404"/>
                <a:gd name="connsiteY110" fmla="*/ 218709 h 899102"/>
                <a:gd name="connsiteX111" fmla="*/ 166404 w 1034404"/>
                <a:gd name="connsiteY111" fmla="*/ 228346 h 899102"/>
                <a:gd name="connsiteX112" fmla="*/ 161264 w 1034404"/>
                <a:gd name="connsiteY112" fmla="*/ 239911 h 899102"/>
                <a:gd name="connsiteX113" fmla="*/ 169617 w 1034404"/>
                <a:gd name="connsiteY113" fmla="*/ 247621 h 899102"/>
                <a:gd name="connsiteX114" fmla="*/ 219088 w 1034404"/>
                <a:gd name="connsiteY114" fmla="*/ 252761 h 899102"/>
                <a:gd name="connsiteX115" fmla="*/ 228083 w 1034404"/>
                <a:gd name="connsiteY115" fmla="*/ 248906 h 899102"/>
                <a:gd name="connsiteX116" fmla="*/ 235793 w 1034404"/>
                <a:gd name="connsiteY116" fmla="*/ 249548 h 899102"/>
                <a:gd name="connsiteX117" fmla="*/ 260207 w 1034404"/>
                <a:gd name="connsiteY117" fmla="*/ 256616 h 899102"/>
                <a:gd name="connsiteX118" fmla="*/ 275627 w 1034404"/>
                <a:gd name="connsiteY118" fmla="*/ 276533 h 899102"/>
                <a:gd name="connsiteX119" fmla="*/ 276912 w 1034404"/>
                <a:gd name="connsiteY119" fmla="*/ 309942 h 899102"/>
                <a:gd name="connsiteX120" fmla="*/ 276270 w 1034404"/>
                <a:gd name="connsiteY120" fmla="*/ 326004 h 899102"/>
                <a:gd name="connsiteX121" fmla="*/ 271130 w 1034404"/>
                <a:gd name="connsiteY121" fmla="*/ 351061 h 899102"/>
                <a:gd name="connsiteX122" fmla="*/ 271772 w 1034404"/>
                <a:gd name="connsiteY122" fmla="*/ 367123 h 899102"/>
                <a:gd name="connsiteX123" fmla="*/ 254425 w 1034404"/>
                <a:gd name="connsiteY123" fmla="*/ 399890 h 899102"/>
                <a:gd name="connsiteX124" fmla="*/ 256352 w 1034404"/>
                <a:gd name="connsiteY124" fmla="*/ 406315 h 899102"/>
                <a:gd name="connsiteX125" fmla="*/ 266632 w 1034404"/>
                <a:gd name="connsiteY125" fmla="*/ 409528 h 899102"/>
                <a:gd name="connsiteX126" fmla="*/ 289762 w 1034404"/>
                <a:gd name="connsiteY126" fmla="*/ 409528 h 899102"/>
                <a:gd name="connsiteX127" fmla="*/ 303254 w 1034404"/>
                <a:gd name="connsiteY127" fmla="*/ 415952 h 899102"/>
                <a:gd name="connsiteX128" fmla="*/ 300041 w 1034404"/>
                <a:gd name="connsiteY128" fmla="*/ 423020 h 899102"/>
                <a:gd name="connsiteX129" fmla="*/ 290404 w 1034404"/>
                <a:gd name="connsiteY129" fmla="*/ 446792 h 899102"/>
                <a:gd name="connsiteX130" fmla="*/ 289762 w 1034404"/>
                <a:gd name="connsiteY130" fmla="*/ 471849 h 899102"/>
                <a:gd name="connsiteX131" fmla="*/ 285907 w 1034404"/>
                <a:gd name="connsiteY131" fmla="*/ 494336 h 899102"/>
                <a:gd name="connsiteX132" fmla="*/ 307751 w 1034404"/>
                <a:gd name="connsiteY132" fmla="*/ 595206 h 899102"/>
                <a:gd name="connsiteX133" fmla="*/ 392560 w 1034404"/>
                <a:gd name="connsiteY133" fmla="*/ 645320 h 899102"/>
                <a:gd name="connsiteX134" fmla="*/ 483150 w 1034404"/>
                <a:gd name="connsiteY134" fmla="*/ 665238 h 899102"/>
                <a:gd name="connsiteX135" fmla="*/ 536477 w 1034404"/>
                <a:gd name="connsiteY135" fmla="*/ 674875 h 899102"/>
                <a:gd name="connsiteX136" fmla="*/ 552539 w 1034404"/>
                <a:gd name="connsiteY136" fmla="*/ 726274 h 899102"/>
                <a:gd name="connsiteX137" fmla="*/ 558964 w 1034404"/>
                <a:gd name="connsiteY137" fmla="*/ 760968 h 899102"/>
                <a:gd name="connsiteX138" fmla="*/ 528767 w 1034404"/>
                <a:gd name="connsiteY138" fmla="*/ 786025 h 899102"/>
                <a:gd name="connsiteX139" fmla="*/ 527482 w 1034404"/>
                <a:gd name="connsiteY139" fmla="*/ 786668 h 899102"/>
                <a:gd name="connsiteX140" fmla="*/ 574384 w 1034404"/>
                <a:gd name="connsiteY140" fmla="*/ 811082 h 899102"/>
                <a:gd name="connsiteX141" fmla="*/ 589161 w 1034404"/>
                <a:gd name="connsiteY141" fmla="*/ 837424 h 899102"/>
                <a:gd name="connsiteX142" fmla="*/ 589803 w 1034404"/>
                <a:gd name="connsiteY142" fmla="*/ 847061 h 899102"/>
                <a:gd name="connsiteX143" fmla="*/ 577596 w 1034404"/>
                <a:gd name="connsiteY143" fmla="*/ 884326 h 899102"/>
                <a:gd name="connsiteX144" fmla="*/ 589803 w 1034404"/>
                <a:gd name="connsiteY144" fmla="*/ 895248 h 899102"/>
                <a:gd name="connsiteX145" fmla="*/ 628353 w 1034404"/>
                <a:gd name="connsiteY145" fmla="*/ 878543 h 899102"/>
                <a:gd name="connsiteX146" fmla="*/ 651482 w 1034404"/>
                <a:gd name="connsiteY146" fmla="*/ 875331 h 899102"/>
                <a:gd name="connsiteX147" fmla="*/ 666259 w 1034404"/>
                <a:gd name="connsiteY147" fmla="*/ 886896 h 899102"/>
                <a:gd name="connsiteX148" fmla="*/ 740788 w 1034404"/>
                <a:gd name="connsiteY148" fmla="*/ 899103 h 899102"/>
                <a:gd name="connsiteX149" fmla="*/ 828166 w 1034404"/>
                <a:gd name="connsiteY149" fmla="*/ 875331 h 899102"/>
                <a:gd name="connsiteX150" fmla="*/ 842943 w 1034404"/>
                <a:gd name="connsiteY150" fmla="*/ 848346 h 899102"/>
                <a:gd name="connsiteX151" fmla="*/ 864788 w 1034404"/>
                <a:gd name="connsiteY151" fmla="*/ 827787 h 899102"/>
                <a:gd name="connsiteX152" fmla="*/ 896270 w 1034404"/>
                <a:gd name="connsiteY152" fmla="*/ 827787 h 899102"/>
                <a:gd name="connsiteX153" fmla="*/ 927752 w 1034404"/>
                <a:gd name="connsiteY153" fmla="*/ 812367 h 899102"/>
                <a:gd name="connsiteX154" fmla="*/ 957306 w 1034404"/>
                <a:gd name="connsiteY154" fmla="*/ 796305 h 899102"/>
                <a:gd name="connsiteX155" fmla="*/ 967586 w 1034404"/>
                <a:gd name="connsiteY155" fmla="*/ 803372 h 899102"/>
                <a:gd name="connsiteX156" fmla="*/ 989430 w 1034404"/>
                <a:gd name="connsiteY156" fmla="*/ 803372 h 899102"/>
                <a:gd name="connsiteX157" fmla="*/ 1004208 w 1034404"/>
                <a:gd name="connsiteY157" fmla="*/ 784098 h 899102"/>
                <a:gd name="connsiteX158" fmla="*/ 1015130 w 1034404"/>
                <a:gd name="connsiteY158" fmla="*/ 780243 h 899102"/>
                <a:gd name="connsiteX159" fmla="*/ 1030550 w 1034404"/>
                <a:gd name="connsiteY159" fmla="*/ 773818 h 899102"/>
                <a:gd name="connsiteX160" fmla="*/ 1034405 w 1034404"/>
                <a:gd name="connsiteY160" fmla="*/ 761611 h 899102"/>
                <a:gd name="connsiteX161" fmla="*/ 1024767 w 1034404"/>
                <a:gd name="connsiteY161" fmla="*/ 742978 h 89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1034404" h="899102">
                  <a:moveTo>
                    <a:pt x="700954" y="445507"/>
                  </a:moveTo>
                  <a:cubicBezTo>
                    <a:pt x="691959" y="458999"/>
                    <a:pt x="690031" y="466066"/>
                    <a:pt x="687461" y="468636"/>
                  </a:cubicBezTo>
                  <a:cubicBezTo>
                    <a:pt x="684249" y="471206"/>
                    <a:pt x="681679" y="469921"/>
                    <a:pt x="681679" y="464139"/>
                  </a:cubicBezTo>
                  <a:cubicBezTo>
                    <a:pt x="681679" y="458357"/>
                    <a:pt x="675897" y="451932"/>
                    <a:pt x="668829" y="451289"/>
                  </a:cubicBezTo>
                  <a:cubicBezTo>
                    <a:pt x="661119" y="450647"/>
                    <a:pt x="654052" y="442294"/>
                    <a:pt x="642487" y="441652"/>
                  </a:cubicBezTo>
                  <a:cubicBezTo>
                    <a:pt x="630922" y="441009"/>
                    <a:pt x="629638" y="453859"/>
                    <a:pt x="619358" y="458357"/>
                  </a:cubicBezTo>
                  <a:cubicBezTo>
                    <a:pt x="608435" y="462854"/>
                    <a:pt x="586591" y="451289"/>
                    <a:pt x="579523" y="446149"/>
                  </a:cubicBezTo>
                  <a:cubicBezTo>
                    <a:pt x="572456" y="441009"/>
                    <a:pt x="567316" y="437797"/>
                    <a:pt x="558321" y="439724"/>
                  </a:cubicBezTo>
                  <a:cubicBezTo>
                    <a:pt x="549327" y="442294"/>
                    <a:pt x="543544" y="452574"/>
                    <a:pt x="532622" y="451289"/>
                  </a:cubicBezTo>
                  <a:cubicBezTo>
                    <a:pt x="522342" y="450004"/>
                    <a:pt x="526197" y="439724"/>
                    <a:pt x="528767" y="433300"/>
                  </a:cubicBezTo>
                  <a:cubicBezTo>
                    <a:pt x="531337" y="427517"/>
                    <a:pt x="531979" y="408243"/>
                    <a:pt x="535192" y="395393"/>
                  </a:cubicBezTo>
                  <a:cubicBezTo>
                    <a:pt x="539047" y="382543"/>
                    <a:pt x="533907" y="372906"/>
                    <a:pt x="535192" y="363269"/>
                  </a:cubicBezTo>
                  <a:cubicBezTo>
                    <a:pt x="536477" y="353631"/>
                    <a:pt x="578881" y="338211"/>
                    <a:pt x="578881" y="338211"/>
                  </a:cubicBezTo>
                  <a:cubicBezTo>
                    <a:pt x="578881" y="338211"/>
                    <a:pt x="591731" y="334999"/>
                    <a:pt x="593016" y="334999"/>
                  </a:cubicBezTo>
                  <a:cubicBezTo>
                    <a:pt x="594301" y="334999"/>
                    <a:pt x="598798" y="340139"/>
                    <a:pt x="600726" y="341424"/>
                  </a:cubicBezTo>
                  <a:cubicBezTo>
                    <a:pt x="602653" y="342709"/>
                    <a:pt x="623213" y="342709"/>
                    <a:pt x="628353" y="342709"/>
                  </a:cubicBezTo>
                  <a:cubicBezTo>
                    <a:pt x="633492" y="343351"/>
                    <a:pt x="634777" y="351704"/>
                    <a:pt x="636062" y="358129"/>
                  </a:cubicBezTo>
                  <a:cubicBezTo>
                    <a:pt x="636705" y="364553"/>
                    <a:pt x="652125" y="371621"/>
                    <a:pt x="666902" y="380616"/>
                  </a:cubicBezTo>
                  <a:cubicBezTo>
                    <a:pt x="681679" y="389610"/>
                    <a:pt x="679109" y="394750"/>
                    <a:pt x="681037" y="397963"/>
                  </a:cubicBezTo>
                  <a:cubicBezTo>
                    <a:pt x="682964" y="401175"/>
                    <a:pt x="713161" y="410170"/>
                    <a:pt x="716373" y="412097"/>
                  </a:cubicBezTo>
                  <a:cubicBezTo>
                    <a:pt x="717658" y="415952"/>
                    <a:pt x="709306" y="432015"/>
                    <a:pt x="700954" y="445507"/>
                  </a:cubicBezTo>
                  <a:close/>
                  <a:moveTo>
                    <a:pt x="1024767" y="742978"/>
                  </a:moveTo>
                  <a:cubicBezTo>
                    <a:pt x="1020912" y="731414"/>
                    <a:pt x="1016415" y="734626"/>
                    <a:pt x="1011918" y="731414"/>
                  </a:cubicBezTo>
                  <a:cubicBezTo>
                    <a:pt x="1008705" y="729486"/>
                    <a:pt x="1006135" y="726916"/>
                    <a:pt x="1003565" y="723061"/>
                  </a:cubicBezTo>
                  <a:cubicBezTo>
                    <a:pt x="1002280" y="720491"/>
                    <a:pt x="1000995" y="717279"/>
                    <a:pt x="999710" y="713424"/>
                  </a:cubicBezTo>
                  <a:cubicBezTo>
                    <a:pt x="997140" y="702502"/>
                    <a:pt x="992000" y="703144"/>
                    <a:pt x="984290" y="695434"/>
                  </a:cubicBezTo>
                  <a:cubicBezTo>
                    <a:pt x="975938" y="688367"/>
                    <a:pt x="975938" y="679372"/>
                    <a:pt x="975296" y="672947"/>
                  </a:cubicBezTo>
                  <a:cubicBezTo>
                    <a:pt x="974653" y="666523"/>
                    <a:pt x="977866" y="665238"/>
                    <a:pt x="987503" y="658813"/>
                  </a:cubicBezTo>
                  <a:cubicBezTo>
                    <a:pt x="996498" y="652388"/>
                    <a:pt x="995855" y="648533"/>
                    <a:pt x="998425" y="643393"/>
                  </a:cubicBezTo>
                  <a:cubicBezTo>
                    <a:pt x="1000995" y="638253"/>
                    <a:pt x="1000353" y="636968"/>
                    <a:pt x="1001638" y="633113"/>
                  </a:cubicBezTo>
                  <a:cubicBezTo>
                    <a:pt x="1002923" y="628616"/>
                    <a:pt x="1006778" y="613196"/>
                    <a:pt x="1006778" y="609341"/>
                  </a:cubicBezTo>
                  <a:cubicBezTo>
                    <a:pt x="1006778" y="605486"/>
                    <a:pt x="1008063" y="593921"/>
                    <a:pt x="1010632" y="590709"/>
                  </a:cubicBezTo>
                  <a:cubicBezTo>
                    <a:pt x="1013202" y="587497"/>
                    <a:pt x="1012560" y="570792"/>
                    <a:pt x="1012560" y="563082"/>
                  </a:cubicBezTo>
                  <a:cubicBezTo>
                    <a:pt x="1012560" y="555372"/>
                    <a:pt x="1010632" y="552160"/>
                    <a:pt x="1009347" y="547662"/>
                  </a:cubicBezTo>
                  <a:cubicBezTo>
                    <a:pt x="1007420" y="543165"/>
                    <a:pt x="1008063" y="539953"/>
                    <a:pt x="1008063" y="536740"/>
                  </a:cubicBezTo>
                  <a:cubicBezTo>
                    <a:pt x="1008063" y="532885"/>
                    <a:pt x="1004208" y="527745"/>
                    <a:pt x="1002280" y="525175"/>
                  </a:cubicBezTo>
                  <a:cubicBezTo>
                    <a:pt x="1000353" y="522605"/>
                    <a:pt x="1001638" y="505901"/>
                    <a:pt x="1000995" y="503973"/>
                  </a:cubicBezTo>
                  <a:cubicBezTo>
                    <a:pt x="1000995" y="502046"/>
                    <a:pt x="995855" y="491123"/>
                    <a:pt x="992000" y="487268"/>
                  </a:cubicBezTo>
                  <a:cubicBezTo>
                    <a:pt x="988145" y="483414"/>
                    <a:pt x="979793" y="485984"/>
                    <a:pt x="963731" y="480844"/>
                  </a:cubicBezTo>
                  <a:cubicBezTo>
                    <a:pt x="947669" y="476346"/>
                    <a:pt x="957306" y="473776"/>
                    <a:pt x="950881" y="460284"/>
                  </a:cubicBezTo>
                  <a:cubicBezTo>
                    <a:pt x="944456" y="446792"/>
                    <a:pt x="937389" y="436512"/>
                    <a:pt x="937389" y="433942"/>
                  </a:cubicBezTo>
                  <a:cubicBezTo>
                    <a:pt x="936746" y="431372"/>
                    <a:pt x="936746" y="424947"/>
                    <a:pt x="944456" y="412097"/>
                  </a:cubicBezTo>
                  <a:cubicBezTo>
                    <a:pt x="951524" y="399248"/>
                    <a:pt x="956021" y="403103"/>
                    <a:pt x="957948" y="399890"/>
                  </a:cubicBezTo>
                  <a:cubicBezTo>
                    <a:pt x="959876" y="396678"/>
                    <a:pt x="966301" y="381258"/>
                    <a:pt x="966301" y="374191"/>
                  </a:cubicBezTo>
                  <a:cubicBezTo>
                    <a:pt x="966301" y="367766"/>
                    <a:pt x="961161" y="365196"/>
                    <a:pt x="959233" y="357486"/>
                  </a:cubicBezTo>
                  <a:cubicBezTo>
                    <a:pt x="956664" y="349776"/>
                    <a:pt x="954736" y="345279"/>
                    <a:pt x="954094" y="342709"/>
                  </a:cubicBezTo>
                  <a:cubicBezTo>
                    <a:pt x="952809" y="340139"/>
                    <a:pt x="942529" y="332429"/>
                    <a:pt x="936104" y="327932"/>
                  </a:cubicBezTo>
                  <a:cubicBezTo>
                    <a:pt x="929679" y="322792"/>
                    <a:pt x="918757" y="320222"/>
                    <a:pt x="908477" y="312512"/>
                  </a:cubicBezTo>
                  <a:cubicBezTo>
                    <a:pt x="898197" y="304160"/>
                    <a:pt x="893700" y="295807"/>
                    <a:pt x="889202" y="290667"/>
                  </a:cubicBezTo>
                  <a:cubicBezTo>
                    <a:pt x="884705" y="285528"/>
                    <a:pt x="857721" y="265610"/>
                    <a:pt x="857078" y="264968"/>
                  </a:cubicBezTo>
                  <a:cubicBezTo>
                    <a:pt x="856436" y="264325"/>
                    <a:pt x="839731" y="257258"/>
                    <a:pt x="832021" y="250833"/>
                  </a:cubicBezTo>
                  <a:cubicBezTo>
                    <a:pt x="823669" y="243766"/>
                    <a:pt x="823026" y="244408"/>
                    <a:pt x="819814" y="236698"/>
                  </a:cubicBezTo>
                  <a:cubicBezTo>
                    <a:pt x="816601" y="228989"/>
                    <a:pt x="817886" y="223849"/>
                    <a:pt x="814674" y="216781"/>
                  </a:cubicBezTo>
                  <a:cubicBezTo>
                    <a:pt x="811461" y="209714"/>
                    <a:pt x="808249" y="196864"/>
                    <a:pt x="808249" y="194294"/>
                  </a:cubicBezTo>
                  <a:cubicBezTo>
                    <a:pt x="808249" y="191724"/>
                    <a:pt x="808892" y="185299"/>
                    <a:pt x="809534" y="183372"/>
                  </a:cubicBezTo>
                  <a:cubicBezTo>
                    <a:pt x="810176" y="182087"/>
                    <a:pt x="827524" y="177590"/>
                    <a:pt x="837161" y="169880"/>
                  </a:cubicBezTo>
                  <a:cubicBezTo>
                    <a:pt x="846798" y="162170"/>
                    <a:pt x="854508" y="157673"/>
                    <a:pt x="860290" y="150605"/>
                  </a:cubicBezTo>
                  <a:cubicBezTo>
                    <a:pt x="866715" y="142253"/>
                    <a:pt x="865430" y="131973"/>
                    <a:pt x="873783" y="124263"/>
                  </a:cubicBezTo>
                  <a:cubicBezTo>
                    <a:pt x="874425" y="90854"/>
                    <a:pt x="873783" y="56802"/>
                    <a:pt x="873783" y="23393"/>
                  </a:cubicBezTo>
                  <a:cubicBezTo>
                    <a:pt x="873783" y="22750"/>
                    <a:pt x="873783" y="22108"/>
                    <a:pt x="873783" y="21465"/>
                  </a:cubicBezTo>
                  <a:cubicBezTo>
                    <a:pt x="871855" y="21465"/>
                    <a:pt x="869928" y="21465"/>
                    <a:pt x="868000" y="21465"/>
                  </a:cubicBezTo>
                  <a:cubicBezTo>
                    <a:pt x="863503" y="21465"/>
                    <a:pt x="858363" y="20823"/>
                    <a:pt x="853866" y="22108"/>
                  </a:cubicBezTo>
                  <a:cubicBezTo>
                    <a:pt x="847441" y="24035"/>
                    <a:pt x="843586" y="29175"/>
                    <a:pt x="839731" y="34315"/>
                  </a:cubicBezTo>
                  <a:cubicBezTo>
                    <a:pt x="833306" y="42025"/>
                    <a:pt x="827524" y="50377"/>
                    <a:pt x="818529" y="54875"/>
                  </a:cubicBezTo>
                  <a:cubicBezTo>
                    <a:pt x="809534" y="59372"/>
                    <a:pt x="797969" y="59372"/>
                    <a:pt x="788332" y="54875"/>
                  </a:cubicBezTo>
                  <a:cubicBezTo>
                    <a:pt x="778695" y="50377"/>
                    <a:pt x="772270" y="41382"/>
                    <a:pt x="770985" y="31745"/>
                  </a:cubicBezTo>
                  <a:cubicBezTo>
                    <a:pt x="770342" y="27890"/>
                    <a:pt x="770985" y="24035"/>
                    <a:pt x="769700" y="20180"/>
                  </a:cubicBezTo>
                  <a:cubicBezTo>
                    <a:pt x="765845" y="9258"/>
                    <a:pt x="750425" y="2833"/>
                    <a:pt x="739503" y="906"/>
                  </a:cubicBezTo>
                  <a:cubicBezTo>
                    <a:pt x="729223" y="-1022"/>
                    <a:pt x="718301" y="263"/>
                    <a:pt x="708663" y="3476"/>
                  </a:cubicBezTo>
                  <a:cubicBezTo>
                    <a:pt x="702239" y="6046"/>
                    <a:pt x="695814" y="9258"/>
                    <a:pt x="689389" y="11185"/>
                  </a:cubicBezTo>
                  <a:cubicBezTo>
                    <a:pt x="682964" y="13113"/>
                    <a:pt x="675254" y="14398"/>
                    <a:pt x="668829" y="11828"/>
                  </a:cubicBezTo>
                  <a:cubicBezTo>
                    <a:pt x="663689" y="9900"/>
                    <a:pt x="659192" y="6046"/>
                    <a:pt x="653409" y="4118"/>
                  </a:cubicBezTo>
                  <a:cubicBezTo>
                    <a:pt x="643130" y="263"/>
                    <a:pt x="630922" y="6046"/>
                    <a:pt x="623855" y="13755"/>
                  </a:cubicBezTo>
                  <a:cubicBezTo>
                    <a:pt x="616788" y="22108"/>
                    <a:pt x="614218" y="32388"/>
                    <a:pt x="611648" y="42667"/>
                  </a:cubicBezTo>
                  <a:cubicBezTo>
                    <a:pt x="609720" y="51020"/>
                    <a:pt x="607793" y="60014"/>
                    <a:pt x="602011" y="66439"/>
                  </a:cubicBezTo>
                  <a:cubicBezTo>
                    <a:pt x="596871" y="72222"/>
                    <a:pt x="588518" y="75434"/>
                    <a:pt x="580809" y="74792"/>
                  </a:cubicBezTo>
                  <a:cubicBezTo>
                    <a:pt x="573099" y="74149"/>
                    <a:pt x="566674" y="70937"/>
                    <a:pt x="558964" y="70294"/>
                  </a:cubicBezTo>
                  <a:cubicBezTo>
                    <a:pt x="549969" y="69009"/>
                    <a:pt x="540332" y="71579"/>
                    <a:pt x="531979" y="75434"/>
                  </a:cubicBezTo>
                  <a:cubicBezTo>
                    <a:pt x="522985" y="78647"/>
                    <a:pt x="513347" y="83787"/>
                    <a:pt x="508207" y="90854"/>
                  </a:cubicBezTo>
                  <a:cubicBezTo>
                    <a:pt x="504353" y="95351"/>
                    <a:pt x="502425" y="101134"/>
                    <a:pt x="499213" y="106274"/>
                  </a:cubicBezTo>
                  <a:cubicBezTo>
                    <a:pt x="496000" y="110771"/>
                    <a:pt x="491503" y="114626"/>
                    <a:pt x="486363" y="117196"/>
                  </a:cubicBezTo>
                  <a:cubicBezTo>
                    <a:pt x="472228" y="124263"/>
                    <a:pt x="455523" y="119123"/>
                    <a:pt x="440746" y="113983"/>
                  </a:cubicBezTo>
                  <a:cubicBezTo>
                    <a:pt x="431751" y="110771"/>
                    <a:pt x="422757" y="108201"/>
                    <a:pt x="413119" y="104989"/>
                  </a:cubicBezTo>
                  <a:cubicBezTo>
                    <a:pt x="402197" y="101134"/>
                    <a:pt x="391917" y="97921"/>
                    <a:pt x="380995" y="93424"/>
                  </a:cubicBezTo>
                  <a:cubicBezTo>
                    <a:pt x="373285" y="90211"/>
                    <a:pt x="366218" y="86999"/>
                    <a:pt x="358508" y="85071"/>
                  </a:cubicBezTo>
                  <a:cubicBezTo>
                    <a:pt x="346301" y="82501"/>
                    <a:pt x="333451" y="85071"/>
                    <a:pt x="321244" y="82501"/>
                  </a:cubicBezTo>
                  <a:cubicBezTo>
                    <a:pt x="312249" y="80574"/>
                    <a:pt x="303896" y="75434"/>
                    <a:pt x="295544" y="70294"/>
                  </a:cubicBezTo>
                  <a:cubicBezTo>
                    <a:pt x="287192" y="65154"/>
                    <a:pt x="278197" y="60014"/>
                    <a:pt x="269845" y="54875"/>
                  </a:cubicBezTo>
                  <a:cubicBezTo>
                    <a:pt x="263420" y="51020"/>
                    <a:pt x="256352" y="46522"/>
                    <a:pt x="248642" y="43952"/>
                  </a:cubicBezTo>
                  <a:cubicBezTo>
                    <a:pt x="237720" y="40097"/>
                    <a:pt x="224871" y="40097"/>
                    <a:pt x="213948" y="43952"/>
                  </a:cubicBezTo>
                  <a:cubicBezTo>
                    <a:pt x="204311" y="47165"/>
                    <a:pt x="199171" y="54232"/>
                    <a:pt x="203668" y="63869"/>
                  </a:cubicBezTo>
                  <a:cubicBezTo>
                    <a:pt x="208166" y="74149"/>
                    <a:pt x="176684" y="92781"/>
                    <a:pt x="163192" y="99849"/>
                  </a:cubicBezTo>
                  <a:cubicBezTo>
                    <a:pt x="149699" y="106274"/>
                    <a:pt x="131067" y="100491"/>
                    <a:pt x="113720" y="98564"/>
                  </a:cubicBezTo>
                  <a:cubicBezTo>
                    <a:pt x="102155" y="97279"/>
                    <a:pt x="92518" y="109486"/>
                    <a:pt x="87378" y="117196"/>
                  </a:cubicBezTo>
                  <a:cubicBezTo>
                    <a:pt x="84808" y="121051"/>
                    <a:pt x="83523" y="123621"/>
                    <a:pt x="83523" y="123621"/>
                  </a:cubicBezTo>
                  <a:lnTo>
                    <a:pt x="83523" y="142253"/>
                  </a:lnTo>
                  <a:cubicBezTo>
                    <a:pt x="83523" y="149963"/>
                    <a:pt x="77098" y="151890"/>
                    <a:pt x="66176" y="153818"/>
                  </a:cubicBezTo>
                  <a:cubicBezTo>
                    <a:pt x="55896" y="155745"/>
                    <a:pt x="50114" y="148678"/>
                    <a:pt x="46259" y="148035"/>
                  </a:cubicBezTo>
                  <a:cubicBezTo>
                    <a:pt x="42404" y="147393"/>
                    <a:pt x="35979" y="157673"/>
                    <a:pt x="34052" y="163455"/>
                  </a:cubicBezTo>
                  <a:cubicBezTo>
                    <a:pt x="31482" y="168595"/>
                    <a:pt x="27627" y="164097"/>
                    <a:pt x="24414" y="163455"/>
                  </a:cubicBezTo>
                  <a:cubicBezTo>
                    <a:pt x="21845" y="162812"/>
                    <a:pt x="10922" y="156388"/>
                    <a:pt x="0" y="153818"/>
                  </a:cubicBezTo>
                  <a:cubicBezTo>
                    <a:pt x="1285" y="160242"/>
                    <a:pt x="3212" y="166025"/>
                    <a:pt x="5782" y="171807"/>
                  </a:cubicBezTo>
                  <a:cubicBezTo>
                    <a:pt x="8352" y="177590"/>
                    <a:pt x="12850" y="184014"/>
                    <a:pt x="19917" y="185299"/>
                  </a:cubicBezTo>
                  <a:cubicBezTo>
                    <a:pt x="30839" y="187869"/>
                    <a:pt x="41119" y="176305"/>
                    <a:pt x="52684" y="176305"/>
                  </a:cubicBezTo>
                  <a:cubicBezTo>
                    <a:pt x="58466" y="176305"/>
                    <a:pt x="63606" y="179517"/>
                    <a:pt x="68746" y="182730"/>
                  </a:cubicBezTo>
                  <a:cubicBezTo>
                    <a:pt x="74528" y="185942"/>
                    <a:pt x="79668" y="189154"/>
                    <a:pt x="86093" y="189154"/>
                  </a:cubicBezTo>
                  <a:cubicBezTo>
                    <a:pt x="90591" y="189154"/>
                    <a:pt x="94446" y="187227"/>
                    <a:pt x="98943" y="187227"/>
                  </a:cubicBezTo>
                  <a:cubicBezTo>
                    <a:pt x="100870" y="187227"/>
                    <a:pt x="102798" y="187227"/>
                    <a:pt x="104725" y="187869"/>
                  </a:cubicBezTo>
                  <a:cubicBezTo>
                    <a:pt x="109223" y="189797"/>
                    <a:pt x="111793" y="194294"/>
                    <a:pt x="113720" y="198792"/>
                  </a:cubicBezTo>
                  <a:cubicBezTo>
                    <a:pt x="118860" y="208429"/>
                    <a:pt x="127212" y="218709"/>
                    <a:pt x="138777" y="219351"/>
                  </a:cubicBezTo>
                  <a:cubicBezTo>
                    <a:pt x="144560" y="219994"/>
                    <a:pt x="149699" y="218066"/>
                    <a:pt x="155482" y="218709"/>
                  </a:cubicBezTo>
                  <a:cubicBezTo>
                    <a:pt x="161264" y="219351"/>
                    <a:pt x="167047" y="223206"/>
                    <a:pt x="166404" y="228346"/>
                  </a:cubicBezTo>
                  <a:cubicBezTo>
                    <a:pt x="165762" y="232844"/>
                    <a:pt x="160622" y="235413"/>
                    <a:pt x="161264" y="239911"/>
                  </a:cubicBezTo>
                  <a:cubicBezTo>
                    <a:pt x="161907" y="243766"/>
                    <a:pt x="165762" y="245693"/>
                    <a:pt x="169617" y="247621"/>
                  </a:cubicBezTo>
                  <a:cubicBezTo>
                    <a:pt x="185679" y="254046"/>
                    <a:pt x="203668" y="260471"/>
                    <a:pt x="219088" y="252761"/>
                  </a:cubicBezTo>
                  <a:cubicBezTo>
                    <a:pt x="222300" y="251476"/>
                    <a:pt x="224871" y="249548"/>
                    <a:pt x="228083" y="248906"/>
                  </a:cubicBezTo>
                  <a:cubicBezTo>
                    <a:pt x="230653" y="248263"/>
                    <a:pt x="233223" y="248906"/>
                    <a:pt x="235793" y="249548"/>
                  </a:cubicBezTo>
                  <a:cubicBezTo>
                    <a:pt x="244145" y="251476"/>
                    <a:pt x="252497" y="253403"/>
                    <a:pt x="260207" y="256616"/>
                  </a:cubicBezTo>
                  <a:cubicBezTo>
                    <a:pt x="269845" y="261113"/>
                    <a:pt x="274985" y="266895"/>
                    <a:pt x="275627" y="276533"/>
                  </a:cubicBezTo>
                  <a:cubicBezTo>
                    <a:pt x="276270" y="287455"/>
                    <a:pt x="276912" y="299020"/>
                    <a:pt x="276912" y="309942"/>
                  </a:cubicBezTo>
                  <a:cubicBezTo>
                    <a:pt x="276912" y="315082"/>
                    <a:pt x="277554" y="320864"/>
                    <a:pt x="276270" y="326004"/>
                  </a:cubicBezTo>
                  <a:cubicBezTo>
                    <a:pt x="274985" y="334357"/>
                    <a:pt x="271130" y="342066"/>
                    <a:pt x="271130" y="351061"/>
                  </a:cubicBezTo>
                  <a:cubicBezTo>
                    <a:pt x="271130" y="356201"/>
                    <a:pt x="272415" y="361983"/>
                    <a:pt x="271772" y="367123"/>
                  </a:cubicBezTo>
                  <a:cubicBezTo>
                    <a:pt x="269845" y="379331"/>
                    <a:pt x="255067" y="387683"/>
                    <a:pt x="254425" y="399890"/>
                  </a:cubicBezTo>
                  <a:cubicBezTo>
                    <a:pt x="254425" y="402460"/>
                    <a:pt x="254425" y="405030"/>
                    <a:pt x="256352" y="406315"/>
                  </a:cubicBezTo>
                  <a:cubicBezTo>
                    <a:pt x="258922" y="408885"/>
                    <a:pt x="262777" y="409528"/>
                    <a:pt x="266632" y="409528"/>
                  </a:cubicBezTo>
                  <a:cubicBezTo>
                    <a:pt x="274342" y="409528"/>
                    <a:pt x="282052" y="410170"/>
                    <a:pt x="289762" y="409528"/>
                  </a:cubicBezTo>
                  <a:cubicBezTo>
                    <a:pt x="295544" y="409528"/>
                    <a:pt x="302611" y="410813"/>
                    <a:pt x="303254" y="415952"/>
                  </a:cubicBezTo>
                  <a:cubicBezTo>
                    <a:pt x="303254" y="418522"/>
                    <a:pt x="301969" y="421092"/>
                    <a:pt x="300041" y="423020"/>
                  </a:cubicBezTo>
                  <a:cubicBezTo>
                    <a:pt x="294902" y="430087"/>
                    <a:pt x="291689" y="438440"/>
                    <a:pt x="290404" y="446792"/>
                  </a:cubicBezTo>
                  <a:cubicBezTo>
                    <a:pt x="289119" y="455144"/>
                    <a:pt x="290404" y="463496"/>
                    <a:pt x="289762" y="471849"/>
                  </a:cubicBezTo>
                  <a:cubicBezTo>
                    <a:pt x="289119" y="479559"/>
                    <a:pt x="287192" y="486626"/>
                    <a:pt x="285907" y="494336"/>
                  </a:cubicBezTo>
                  <a:cubicBezTo>
                    <a:pt x="280124" y="529030"/>
                    <a:pt x="287834" y="565652"/>
                    <a:pt x="307751" y="595206"/>
                  </a:cubicBezTo>
                  <a:cubicBezTo>
                    <a:pt x="307751" y="595206"/>
                    <a:pt x="339876" y="645320"/>
                    <a:pt x="392560" y="645320"/>
                  </a:cubicBezTo>
                  <a:cubicBezTo>
                    <a:pt x="445244" y="645320"/>
                    <a:pt x="458093" y="660098"/>
                    <a:pt x="483150" y="665238"/>
                  </a:cubicBezTo>
                  <a:cubicBezTo>
                    <a:pt x="508207" y="670377"/>
                    <a:pt x="521700" y="663953"/>
                    <a:pt x="536477" y="674875"/>
                  </a:cubicBezTo>
                  <a:cubicBezTo>
                    <a:pt x="551254" y="685797"/>
                    <a:pt x="551897" y="717921"/>
                    <a:pt x="552539" y="726274"/>
                  </a:cubicBezTo>
                  <a:cubicBezTo>
                    <a:pt x="553181" y="735269"/>
                    <a:pt x="571814" y="746833"/>
                    <a:pt x="558964" y="760968"/>
                  </a:cubicBezTo>
                  <a:cubicBezTo>
                    <a:pt x="548042" y="772533"/>
                    <a:pt x="533264" y="783455"/>
                    <a:pt x="528767" y="786025"/>
                  </a:cubicBezTo>
                  <a:cubicBezTo>
                    <a:pt x="528124" y="786668"/>
                    <a:pt x="527482" y="786668"/>
                    <a:pt x="527482" y="786668"/>
                  </a:cubicBezTo>
                  <a:cubicBezTo>
                    <a:pt x="527482" y="786668"/>
                    <a:pt x="567959" y="807870"/>
                    <a:pt x="574384" y="811082"/>
                  </a:cubicBezTo>
                  <a:cubicBezTo>
                    <a:pt x="579523" y="813652"/>
                    <a:pt x="586591" y="824574"/>
                    <a:pt x="589161" y="837424"/>
                  </a:cubicBezTo>
                  <a:cubicBezTo>
                    <a:pt x="589803" y="840637"/>
                    <a:pt x="589803" y="843849"/>
                    <a:pt x="589803" y="847061"/>
                  </a:cubicBezTo>
                  <a:cubicBezTo>
                    <a:pt x="588518" y="863124"/>
                    <a:pt x="577596" y="881113"/>
                    <a:pt x="577596" y="884326"/>
                  </a:cubicBezTo>
                  <a:cubicBezTo>
                    <a:pt x="577596" y="887538"/>
                    <a:pt x="576311" y="899745"/>
                    <a:pt x="589803" y="895248"/>
                  </a:cubicBezTo>
                  <a:cubicBezTo>
                    <a:pt x="603938" y="890751"/>
                    <a:pt x="621928" y="880471"/>
                    <a:pt x="628353" y="878543"/>
                  </a:cubicBezTo>
                  <a:cubicBezTo>
                    <a:pt x="634777" y="876616"/>
                    <a:pt x="643130" y="868906"/>
                    <a:pt x="651482" y="875331"/>
                  </a:cubicBezTo>
                  <a:cubicBezTo>
                    <a:pt x="659834" y="881756"/>
                    <a:pt x="650840" y="880471"/>
                    <a:pt x="666259" y="886896"/>
                  </a:cubicBezTo>
                  <a:cubicBezTo>
                    <a:pt x="681679" y="893321"/>
                    <a:pt x="729865" y="899103"/>
                    <a:pt x="740788" y="899103"/>
                  </a:cubicBezTo>
                  <a:cubicBezTo>
                    <a:pt x="751710" y="899103"/>
                    <a:pt x="819171" y="886896"/>
                    <a:pt x="828166" y="875331"/>
                  </a:cubicBezTo>
                  <a:cubicBezTo>
                    <a:pt x="837161" y="864409"/>
                    <a:pt x="838446" y="861196"/>
                    <a:pt x="842943" y="848346"/>
                  </a:cubicBezTo>
                  <a:cubicBezTo>
                    <a:pt x="847441" y="835497"/>
                    <a:pt x="857078" y="827787"/>
                    <a:pt x="864788" y="827787"/>
                  </a:cubicBezTo>
                  <a:cubicBezTo>
                    <a:pt x="871855" y="827787"/>
                    <a:pt x="881492" y="830999"/>
                    <a:pt x="896270" y="827787"/>
                  </a:cubicBezTo>
                  <a:cubicBezTo>
                    <a:pt x="911047" y="824574"/>
                    <a:pt x="916187" y="822004"/>
                    <a:pt x="927752" y="812367"/>
                  </a:cubicBezTo>
                  <a:cubicBezTo>
                    <a:pt x="939316" y="802730"/>
                    <a:pt x="954736" y="796305"/>
                    <a:pt x="957306" y="796305"/>
                  </a:cubicBezTo>
                  <a:cubicBezTo>
                    <a:pt x="959876" y="796305"/>
                    <a:pt x="959876" y="803372"/>
                    <a:pt x="967586" y="803372"/>
                  </a:cubicBezTo>
                  <a:cubicBezTo>
                    <a:pt x="975296" y="804015"/>
                    <a:pt x="983006" y="811082"/>
                    <a:pt x="989430" y="803372"/>
                  </a:cubicBezTo>
                  <a:cubicBezTo>
                    <a:pt x="995855" y="795662"/>
                    <a:pt x="999710" y="786668"/>
                    <a:pt x="1004208" y="784098"/>
                  </a:cubicBezTo>
                  <a:cubicBezTo>
                    <a:pt x="1008705" y="781528"/>
                    <a:pt x="1009347" y="780243"/>
                    <a:pt x="1015130" y="780243"/>
                  </a:cubicBezTo>
                  <a:cubicBezTo>
                    <a:pt x="1017700" y="780243"/>
                    <a:pt x="1024125" y="777673"/>
                    <a:pt x="1030550" y="773818"/>
                  </a:cubicBezTo>
                  <a:cubicBezTo>
                    <a:pt x="1032477" y="769963"/>
                    <a:pt x="1033762" y="765466"/>
                    <a:pt x="1034405" y="761611"/>
                  </a:cubicBezTo>
                  <a:cubicBezTo>
                    <a:pt x="1029907" y="753901"/>
                    <a:pt x="1027980" y="754543"/>
                    <a:pt x="1024767" y="742978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3" name="Freihandform 462">
              <a:extLst>
                <a:ext uri="{FF2B5EF4-FFF2-40B4-BE49-F238E27FC236}">
                  <a16:creationId xmlns:a16="http://schemas.microsoft.com/office/drawing/2014/main" id="{B42F4F63-13DA-0E3E-0584-7390E8B2DEF3}"/>
                </a:ext>
              </a:extLst>
            </p:cNvPr>
            <p:cNvSpPr/>
            <p:nvPr/>
          </p:nvSpPr>
          <p:spPr>
            <a:xfrm>
              <a:off x="3515083" y="3650672"/>
              <a:ext cx="913036" cy="655533"/>
            </a:xfrm>
            <a:custGeom>
              <a:avLst/>
              <a:gdLst>
                <a:gd name="connsiteX0" fmla="*/ 908539 w 913036"/>
                <a:gd name="connsiteY0" fmla="*/ 149699 h 655533"/>
                <a:gd name="connsiteX1" fmla="*/ 902114 w 913036"/>
                <a:gd name="connsiteY1" fmla="*/ 160622 h 655533"/>
                <a:gd name="connsiteX2" fmla="*/ 898259 w 913036"/>
                <a:gd name="connsiteY2" fmla="*/ 192104 h 655533"/>
                <a:gd name="connsiteX3" fmla="*/ 894404 w 913036"/>
                <a:gd name="connsiteY3" fmla="*/ 221658 h 655533"/>
                <a:gd name="connsiteX4" fmla="*/ 885409 w 913036"/>
                <a:gd name="connsiteY4" fmla="*/ 246073 h 655533"/>
                <a:gd name="connsiteX5" fmla="*/ 869990 w 913036"/>
                <a:gd name="connsiteY5" fmla="*/ 282052 h 655533"/>
                <a:gd name="connsiteX6" fmla="*/ 858425 w 913036"/>
                <a:gd name="connsiteY6" fmla="*/ 306467 h 655533"/>
                <a:gd name="connsiteX7" fmla="*/ 857782 w 913036"/>
                <a:gd name="connsiteY7" fmla="*/ 319959 h 655533"/>
                <a:gd name="connsiteX8" fmla="*/ 848788 w 913036"/>
                <a:gd name="connsiteY8" fmla="*/ 334736 h 655533"/>
                <a:gd name="connsiteX9" fmla="*/ 824373 w 913036"/>
                <a:gd name="connsiteY9" fmla="*/ 336021 h 655533"/>
                <a:gd name="connsiteX10" fmla="*/ 810238 w 913036"/>
                <a:gd name="connsiteY10" fmla="*/ 328311 h 655533"/>
                <a:gd name="connsiteX11" fmla="*/ 790964 w 913036"/>
                <a:gd name="connsiteY11" fmla="*/ 323171 h 655533"/>
                <a:gd name="connsiteX12" fmla="*/ 794176 w 913036"/>
                <a:gd name="connsiteY12" fmla="*/ 305181 h 655533"/>
                <a:gd name="connsiteX13" fmla="*/ 791606 w 913036"/>
                <a:gd name="connsiteY13" fmla="*/ 289119 h 655533"/>
                <a:gd name="connsiteX14" fmla="*/ 782611 w 913036"/>
                <a:gd name="connsiteY14" fmla="*/ 276270 h 655533"/>
                <a:gd name="connsiteX15" fmla="*/ 765264 w 913036"/>
                <a:gd name="connsiteY15" fmla="*/ 257637 h 655533"/>
                <a:gd name="connsiteX16" fmla="*/ 744705 w 913036"/>
                <a:gd name="connsiteY16" fmla="*/ 249928 h 655533"/>
                <a:gd name="connsiteX17" fmla="*/ 724145 w 913036"/>
                <a:gd name="connsiteY17" fmla="*/ 251855 h 655533"/>
                <a:gd name="connsiteX18" fmla="*/ 714508 w 913036"/>
                <a:gd name="connsiteY18" fmla="*/ 245430 h 655533"/>
                <a:gd name="connsiteX19" fmla="*/ 699088 w 913036"/>
                <a:gd name="connsiteY19" fmla="*/ 242860 h 655533"/>
                <a:gd name="connsiteX20" fmla="*/ 687523 w 913036"/>
                <a:gd name="connsiteY20" fmla="*/ 252497 h 655533"/>
                <a:gd name="connsiteX21" fmla="*/ 689451 w 913036"/>
                <a:gd name="connsiteY21" fmla="*/ 263420 h 655533"/>
                <a:gd name="connsiteX22" fmla="*/ 688166 w 913036"/>
                <a:gd name="connsiteY22" fmla="*/ 273057 h 655533"/>
                <a:gd name="connsiteX23" fmla="*/ 699731 w 913036"/>
                <a:gd name="connsiteY23" fmla="*/ 281409 h 655533"/>
                <a:gd name="connsiteX24" fmla="*/ 711295 w 913036"/>
                <a:gd name="connsiteY24" fmla="*/ 291689 h 655533"/>
                <a:gd name="connsiteX25" fmla="*/ 718363 w 913036"/>
                <a:gd name="connsiteY25" fmla="*/ 296187 h 655533"/>
                <a:gd name="connsiteX26" fmla="*/ 713865 w 913036"/>
                <a:gd name="connsiteY26" fmla="*/ 310321 h 655533"/>
                <a:gd name="connsiteX27" fmla="*/ 705513 w 913036"/>
                <a:gd name="connsiteY27" fmla="*/ 319316 h 655533"/>
                <a:gd name="connsiteX28" fmla="*/ 689451 w 913036"/>
                <a:gd name="connsiteY28" fmla="*/ 326383 h 655533"/>
                <a:gd name="connsiteX29" fmla="*/ 674031 w 913036"/>
                <a:gd name="connsiteY29" fmla="*/ 332808 h 655533"/>
                <a:gd name="connsiteX30" fmla="*/ 643192 w 913036"/>
                <a:gd name="connsiteY30" fmla="*/ 348871 h 655533"/>
                <a:gd name="connsiteX31" fmla="*/ 615565 w 913036"/>
                <a:gd name="connsiteY31" fmla="*/ 357866 h 655533"/>
                <a:gd name="connsiteX32" fmla="*/ 602715 w 913036"/>
                <a:gd name="connsiteY32" fmla="*/ 359793 h 655533"/>
                <a:gd name="connsiteX33" fmla="*/ 586653 w 913036"/>
                <a:gd name="connsiteY33" fmla="*/ 370715 h 655533"/>
                <a:gd name="connsiteX34" fmla="*/ 577015 w 913036"/>
                <a:gd name="connsiteY34" fmla="*/ 379710 h 655533"/>
                <a:gd name="connsiteX35" fmla="*/ 566093 w 913036"/>
                <a:gd name="connsiteY35" fmla="*/ 379068 h 655533"/>
                <a:gd name="connsiteX36" fmla="*/ 542964 w 913036"/>
                <a:gd name="connsiteY36" fmla="*/ 393202 h 655533"/>
                <a:gd name="connsiteX37" fmla="*/ 529471 w 913036"/>
                <a:gd name="connsiteY37" fmla="*/ 400270 h 655533"/>
                <a:gd name="connsiteX38" fmla="*/ 508269 w 913036"/>
                <a:gd name="connsiteY38" fmla="*/ 400270 h 655533"/>
                <a:gd name="connsiteX39" fmla="*/ 487710 w 913036"/>
                <a:gd name="connsiteY39" fmla="*/ 410549 h 655533"/>
                <a:gd name="connsiteX40" fmla="*/ 478072 w 913036"/>
                <a:gd name="connsiteY40" fmla="*/ 429181 h 655533"/>
                <a:gd name="connsiteX41" fmla="*/ 466508 w 913036"/>
                <a:gd name="connsiteY41" fmla="*/ 455523 h 655533"/>
                <a:gd name="connsiteX42" fmla="*/ 447875 w 913036"/>
                <a:gd name="connsiteY42" fmla="*/ 455523 h 655533"/>
                <a:gd name="connsiteX43" fmla="*/ 437596 w 913036"/>
                <a:gd name="connsiteY43" fmla="*/ 450384 h 655533"/>
                <a:gd name="connsiteX44" fmla="*/ 423461 w 913036"/>
                <a:gd name="connsiteY44" fmla="*/ 453596 h 655533"/>
                <a:gd name="connsiteX45" fmla="*/ 415109 w 913036"/>
                <a:gd name="connsiteY45" fmla="*/ 458736 h 655533"/>
                <a:gd name="connsiteX46" fmla="*/ 410611 w 913036"/>
                <a:gd name="connsiteY46" fmla="*/ 467088 h 655533"/>
                <a:gd name="connsiteX47" fmla="*/ 395834 w 913036"/>
                <a:gd name="connsiteY47" fmla="*/ 472228 h 655533"/>
                <a:gd name="connsiteX48" fmla="*/ 393907 w 913036"/>
                <a:gd name="connsiteY48" fmla="*/ 487648 h 655533"/>
                <a:gd name="connsiteX49" fmla="*/ 381699 w 913036"/>
                <a:gd name="connsiteY49" fmla="*/ 506922 h 655533"/>
                <a:gd name="connsiteX50" fmla="*/ 355357 w 913036"/>
                <a:gd name="connsiteY50" fmla="*/ 506922 h 655533"/>
                <a:gd name="connsiteX51" fmla="*/ 350860 w 913036"/>
                <a:gd name="connsiteY51" fmla="*/ 510777 h 655533"/>
                <a:gd name="connsiteX52" fmla="*/ 345720 w 913036"/>
                <a:gd name="connsiteY52" fmla="*/ 521700 h 655533"/>
                <a:gd name="connsiteX53" fmla="*/ 334155 w 913036"/>
                <a:gd name="connsiteY53" fmla="*/ 540332 h 655533"/>
                <a:gd name="connsiteX54" fmla="*/ 320021 w 913036"/>
                <a:gd name="connsiteY54" fmla="*/ 548684 h 655533"/>
                <a:gd name="connsiteX55" fmla="*/ 301388 w 913036"/>
                <a:gd name="connsiteY55" fmla="*/ 542259 h 655533"/>
                <a:gd name="connsiteX56" fmla="*/ 289824 w 913036"/>
                <a:gd name="connsiteY56" fmla="*/ 537119 h 655533"/>
                <a:gd name="connsiteX57" fmla="*/ 278901 w 913036"/>
                <a:gd name="connsiteY57" fmla="*/ 530052 h 655533"/>
                <a:gd name="connsiteX58" fmla="*/ 273119 w 913036"/>
                <a:gd name="connsiteY58" fmla="*/ 535192 h 655533"/>
                <a:gd name="connsiteX59" fmla="*/ 267979 w 913036"/>
                <a:gd name="connsiteY59" fmla="*/ 538404 h 655533"/>
                <a:gd name="connsiteX60" fmla="*/ 254487 w 913036"/>
                <a:gd name="connsiteY60" fmla="*/ 542902 h 655533"/>
                <a:gd name="connsiteX61" fmla="*/ 236497 w 913036"/>
                <a:gd name="connsiteY61" fmla="*/ 551254 h 655533"/>
                <a:gd name="connsiteX62" fmla="*/ 219150 w 913036"/>
                <a:gd name="connsiteY62" fmla="*/ 551254 h 655533"/>
                <a:gd name="connsiteX63" fmla="*/ 197948 w 913036"/>
                <a:gd name="connsiteY63" fmla="*/ 558964 h 655533"/>
                <a:gd name="connsiteX64" fmla="*/ 183171 w 913036"/>
                <a:gd name="connsiteY64" fmla="*/ 565389 h 655533"/>
                <a:gd name="connsiteX65" fmla="*/ 165824 w 913036"/>
                <a:gd name="connsiteY65" fmla="*/ 582094 h 655533"/>
                <a:gd name="connsiteX66" fmla="*/ 158756 w 913036"/>
                <a:gd name="connsiteY66" fmla="*/ 594301 h 655533"/>
                <a:gd name="connsiteX67" fmla="*/ 151046 w 913036"/>
                <a:gd name="connsiteY67" fmla="*/ 603938 h 655533"/>
                <a:gd name="connsiteX68" fmla="*/ 147191 w 913036"/>
                <a:gd name="connsiteY68" fmla="*/ 608436 h 655533"/>
                <a:gd name="connsiteX69" fmla="*/ 144622 w 913036"/>
                <a:gd name="connsiteY69" fmla="*/ 612290 h 655533"/>
                <a:gd name="connsiteX70" fmla="*/ 143337 w 913036"/>
                <a:gd name="connsiteY70" fmla="*/ 614218 h 655533"/>
                <a:gd name="connsiteX71" fmla="*/ 142694 w 913036"/>
                <a:gd name="connsiteY71" fmla="*/ 616145 h 655533"/>
                <a:gd name="connsiteX72" fmla="*/ 142694 w 913036"/>
                <a:gd name="connsiteY72" fmla="*/ 616788 h 655533"/>
                <a:gd name="connsiteX73" fmla="*/ 142051 w 913036"/>
                <a:gd name="connsiteY73" fmla="*/ 618715 h 655533"/>
                <a:gd name="connsiteX74" fmla="*/ 143337 w 913036"/>
                <a:gd name="connsiteY74" fmla="*/ 628995 h 655533"/>
                <a:gd name="connsiteX75" fmla="*/ 139482 w 913036"/>
                <a:gd name="connsiteY75" fmla="*/ 648912 h 655533"/>
                <a:gd name="connsiteX76" fmla="*/ 125347 w 913036"/>
                <a:gd name="connsiteY76" fmla="*/ 655337 h 655533"/>
                <a:gd name="connsiteX77" fmla="*/ 124062 w 913036"/>
                <a:gd name="connsiteY77" fmla="*/ 644415 h 655533"/>
                <a:gd name="connsiteX78" fmla="*/ 115710 w 913036"/>
                <a:gd name="connsiteY78" fmla="*/ 630923 h 655533"/>
                <a:gd name="connsiteX79" fmla="*/ 109285 w 913036"/>
                <a:gd name="connsiteY79" fmla="*/ 620000 h 655533"/>
                <a:gd name="connsiteX80" fmla="*/ 104145 w 913036"/>
                <a:gd name="connsiteY80" fmla="*/ 611648 h 655533"/>
                <a:gd name="connsiteX81" fmla="*/ 99005 w 913036"/>
                <a:gd name="connsiteY81" fmla="*/ 602011 h 655533"/>
                <a:gd name="connsiteX82" fmla="*/ 88083 w 913036"/>
                <a:gd name="connsiteY82" fmla="*/ 596871 h 655533"/>
                <a:gd name="connsiteX83" fmla="*/ 77160 w 913036"/>
                <a:gd name="connsiteY83" fmla="*/ 598798 h 655533"/>
                <a:gd name="connsiteX84" fmla="*/ 76518 w 913036"/>
                <a:gd name="connsiteY84" fmla="*/ 600083 h 655533"/>
                <a:gd name="connsiteX85" fmla="*/ 39253 w 913036"/>
                <a:gd name="connsiteY85" fmla="*/ 589161 h 655533"/>
                <a:gd name="connsiteX86" fmla="*/ 31544 w 913036"/>
                <a:gd name="connsiteY86" fmla="*/ 582094 h 655533"/>
                <a:gd name="connsiteX87" fmla="*/ 32829 w 913036"/>
                <a:gd name="connsiteY87" fmla="*/ 575026 h 655533"/>
                <a:gd name="connsiteX88" fmla="*/ 27689 w 913036"/>
                <a:gd name="connsiteY88" fmla="*/ 561534 h 655533"/>
                <a:gd name="connsiteX89" fmla="*/ 12269 w 913036"/>
                <a:gd name="connsiteY89" fmla="*/ 557679 h 655533"/>
                <a:gd name="connsiteX90" fmla="*/ 5202 w 913036"/>
                <a:gd name="connsiteY90" fmla="*/ 557679 h 655533"/>
                <a:gd name="connsiteX91" fmla="*/ 62 w 913036"/>
                <a:gd name="connsiteY91" fmla="*/ 553182 h 655533"/>
                <a:gd name="connsiteX92" fmla="*/ 7129 w 913036"/>
                <a:gd name="connsiteY92" fmla="*/ 545472 h 655533"/>
                <a:gd name="connsiteX93" fmla="*/ 11627 w 913036"/>
                <a:gd name="connsiteY93" fmla="*/ 531979 h 655533"/>
                <a:gd name="connsiteX94" fmla="*/ 16766 w 913036"/>
                <a:gd name="connsiteY94" fmla="*/ 510777 h 655533"/>
                <a:gd name="connsiteX95" fmla="*/ 36041 w 913036"/>
                <a:gd name="connsiteY95" fmla="*/ 501140 h 655533"/>
                <a:gd name="connsiteX96" fmla="*/ 47606 w 913036"/>
                <a:gd name="connsiteY96" fmla="*/ 504995 h 655533"/>
                <a:gd name="connsiteX97" fmla="*/ 58528 w 913036"/>
                <a:gd name="connsiteY97" fmla="*/ 502425 h 655533"/>
                <a:gd name="connsiteX98" fmla="*/ 65596 w 913036"/>
                <a:gd name="connsiteY98" fmla="*/ 497928 h 655533"/>
                <a:gd name="connsiteX99" fmla="*/ 85513 w 913036"/>
                <a:gd name="connsiteY99" fmla="*/ 482508 h 655533"/>
                <a:gd name="connsiteX100" fmla="*/ 130487 w 913036"/>
                <a:gd name="connsiteY100" fmla="*/ 439461 h 655533"/>
                <a:gd name="connsiteX101" fmla="*/ 109285 w 913036"/>
                <a:gd name="connsiteY101" fmla="*/ 434321 h 655533"/>
                <a:gd name="connsiteX102" fmla="*/ 107357 w 913036"/>
                <a:gd name="connsiteY102" fmla="*/ 427254 h 655533"/>
                <a:gd name="connsiteX103" fmla="*/ 105430 w 913036"/>
                <a:gd name="connsiteY103" fmla="*/ 407979 h 655533"/>
                <a:gd name="connsiteX104" fmla="*/ 106715 w 913036"/>
                <a:gd name="connsiteY104" fmla="*/ 392560 h 655533"/>
                <a:gd name="connsiteX105" fmla="*/ 118280 w 913036"/>
                <a:gd name="connsiteY105" fmla="*/ 384207 h 655533"/>
                <a:gd name="connsiteX106" fmla="*/ 142694 w 913036"/>
                <a:gd name="connsiteY106" fmla="*/ 373285 h 655533"/>
                <a:gd name="connsiteX107" fmla="*/ 170963 w 913036"/>
                <a:gd name="connsiteY107" fmla="*/ 357223 h 655533"/>
                <a:gd name="connsiteX108" fmla="*/ 189596 w 913036"/>
                <a:gd name="connsiteY108" fmla="*/ 336663 h 655533"/>
                <a:gd name="connsiteX109" fmla="*/ 176746 w 913036"/>
                <a:gd name="connsiteY109" fmla="*/ 311606 h 655533"/>
                <a:gd name="connsiteX110" fmla="*/ 130487 w 913036"/>
                <a:gd name="connsiteY110" fmla="*/ 271130 h 655533"/>
                <a:gd name="connsiteX111" fmla="*/ 99647 w 913036"/>
                <a:gd name="connsiteY111" fmla="*/ 265347 h 655533"/>
                <a:gd name="connsiteX112" fmla="*/ 79730 w 913036"/>
                <a:gd name="connsiteY112" fmla="*/ 253140 h 655533"/>
                <a:gd name="connsiteX113" fmla="*/ 64953 w 913036"/>
                <a:gd name="connsiteY113" fmla="*/ 182466 h 655533"/>
                <a:gd name="connsiteX114" fmla="*/ 57886 w 913036"/>
                <a:gd name="connsiteY114" fmla="*/ 164477 h 655533"/>
                <a:gd name="connsiteX115" fmla="*/ 58528 w 913036"/>
                <a:gd name="connsiteY115" fmla="*/ 147130 h 655533"/>
                <a:gd name="connsiteX116" fmla="*/ 64953 w 913036"/>
                <a:gd name="connsiteY116" fmla="*/ 107295 h 655533"/>
                <a:gd name="connsiteX117" fmla="*/ 78445 w 913036"/>
                <a:gd name="connsiteY117" fmla="*/ 55896 h 655533"/>
                <a:gd name="connsiteX118" fmla="*/ 102217 w 913036"/>
                <a:gd name="connsiteY118" fmla="*/ 55896 h 655533"/>
                <a:gd name="connsiteX119" fmla="*/ 135627 w 913036"/>
                <a:gd name="connsiteY119" fmla="*/ 46902 h 655533"/>
                <a:gd name="connsiteX120" fmla="*/ 153616 w 913036"/>
                <a:gd name="connsiteY120" fmla="*/ 29554 h 655533"/>
                <a:gd name="connsiteX121" fmla="*/ 183171 w 913036"/>
                <a:gd name="connsiteY121" fmla="*/ 32767 h 655533"/>
                <a:gd name="connsiteX122" fmla="*/ 201803 w 913036"/>
                <a:gd name="connsiteY122" fmla="*/ 29554 h 655533"/>
                <a:gd name="connsiteX123" fmla="*/ 252559 w 913036"/>
                <a:gd name="connsiteY123" fmla="*/ 3855 h 655533"/>
                <a:gd name="connsiteX124" fmla="*/ 278901 w 913036"/>
                <a:gd name="connsiteY124" fmla="*/ 3855 h 655533"/>
                <a:gd name="connsiteX125" fmla="*/ 309741 w 913036"/>
                <a:gd name="connsiteY125" fmla="*/ 12207 h 655533"/>
                <a:gd name="connsiteX126" fmla="*/ 308456 w 913036"/>
                <a:gd name="connsiteY126" fmla="*/ 12850 h 655533"/>
                <a:gd name="connsiteX127" fmla="*/ 355357 w 913036"/>
                <a:gd name="connsiteY127" fmla="*/ 37264 h 655533"/>
                <a:gd name="connsiteX128" fmla="*/ 370134 w 913036"/>
                <a:gd name="connsiteY128" fmla="*/ 63606 h 655533"/>
                <a:gd name="connsiteX129" fmla="*/ 370777 w 913036"/>
                <a:gd name="connsiteY129" fmla="*/ 73244 h 655533"/>
                <a:gd name="connsiteX130" fmla="*/ 358570 w 913036"/>
                <a:gd name="connsiteY130" fmla="*/ 110508 h 655533"/>
                <a:gd name="connsiteX131" fmla="*/ 370777 w 913036"/>
                <a:gd name="connsiteY131" fmla="*/ 121430 h 655533"/>
                <a:gd name="connsiteX132" fmla="*/ 409326 w 913036"/>
                <a:gd name="connsiteY132" fmla="*/ 104725 h 655533"/>
                <a:gd name="connsiteX133" fmla="*/ 432456 w 913036"/>
                <a:gd name="connsiteY133" fmla="*/ 101513 h 655533"/>
                <a:gd name="connsiteX134" fmla="*/ 447233 w 913036"/>
                <a:gd name="connsiteY134" fmla="*/ 113078 h 655533"/>
                <a:gd name="connsiteX135" fmla="*/ 521761 w 913036"/>
                <a:gd name="connsiteY135" fmla="*/ 125285 h 655533"/>
                <a:gd name="connsiteX136" fmla="*/ 609140 w 913036"/>
                <a:gd name="connsiteY136" fmla="*/ 101513 h 655533"/>
                <a:gd name="connsiteX137" fmla="*/ 623917 w 913036"/>
                <a:gd name="connsiteY137" fmla="*/ 74529 h 655533"/>
                <a:gd name="connsiteX138" fmla="*/ 645762 w 913036"/>
                <a:gd name="connsiteY138" fmla="*/ 53969 h 655533"/>
                <a:gd name="connsiteX139" fmla="*/ 677244 w 913036"/>
                <a:gd name="connsiteY139" fmla="*/ 53969 h 655533"/>
                <a:gd name="connsiteX140" fmla="*/ 708725 w 913036"/>
                <a:gd name="connsiteY140" fmla="*/ 38549 h 655533"/>
                <a:gd name="connsiteX141" fmla="*/ 738280 w 913036"/>
                <a:gd name="connsiteY141" fmla="*/ 22487 h 655533"/>
                <a:gd name="connsiteX142" fmla="*/ 748560 w 913036"/>
                <a:gd name="connsiteY142" fmla="*/ 29554 h 655533"/>
                <a:gd name="connsiteX143" fmla="*/ 770404 w 913036"/>
                <a:gd name="connsiteY143" fmla="*/ 29554 h 655533"/>
                <a:gd name="connsiteX144" fmla="*/ 785181 w 913036"/>
                <a:gd name="connsiteY144" fmla="*/ 10280 h 655533"/>
                <a:gd name="connsiteX145" fmla="*/ 796104 w 913036"/>
                <a:gd name="connsiteY145" fmla="*/ 6425 h 655533"/>
                <a:gd name="connsiteX146" fmla="*/ 811523 w 913036"/>
                <a:gd name="connsiteY146" fmla="*/ 0 h 655533"/>
                <a:gd name="connsiteX147" fmla="*/ 807026 w 913036"/>
                <a:gd name="connsiteY147" fmla="*/ 13492 h 655533"/>
                <a:gd name="connsiteX148" fmla="*/ 815378 w 913036"/>
                <a:gd name="connsiteY148" fmla="*/ 24415 h 655533"/>
                <a:gd name="connsiteX149" fmla="*/ 850715 w 913036"/>
                <a:gd name="connsiteY149" fmla="*/ 39192 h 655533"/>
                <a:gd name="connsiteX150" fmla="*/ 878984 w 913036"/>
                <a:gd name="connsiteY150" fmla="*/ 49472 h 655533"/>
                <a:gd name="connsiteX151" fmla="*/ 891192 w 913036"/>
                <a:gd name="connsiteY151" fmla="*/ 70031 h 655533"/>
                <a:gd name="connsiteX152" fmla="*/ 887979 w 913036"/>
                <a:gd name="connsiteY152" fmla="*/ 86736 h 655533"/>
                <a:gd name="connsiteX153" fmla="*/ 889907 w 913036"/>
                <a:gd name="connsiteY153" fmla="*/ 104725 h 655533"/>
                <a:gd name="connsiteX154" fmla="*/ 913036 w 913036"/>
                <a:gd name="connsiteY154" fmla="*/ 127212 h 655533"/>
                <a:gd name="connsiteX155" fmla="*/ 908539 w 913036"/>
                <a:gd name="connsiteY155" fmla="*/ 149699 h 65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913036" h="655533">
                  <a:moveTo>
                    <a:pt x="908539" y="149699"/>
                  </a:moveTo>
                  <a:cubicBezTo>
                    <a:pt x="908539" y="152270"/>
                    <a:pt x="905969" y="150342"/>
                    <a:pt x="902114" y="160622"/>
                  </a:cubicBezTo>
                  <a:cubicBezTo>
                    <a:pt x="898259" y="170902"/>
                    <a:pt x="898259" y="190176"/>
                    <a:pt x="898259" y="192104"/>
                  </a:cubicBezTo>
                  <a:cubicBezTo>
                    <a:pt x="898259" y="193389"/>
                    <a:pt x="898259" y="211378"/>
                    <a:pt x="894404" y="221658"/>
                  </a:cubicBezTo>
                  <a:cubicBezTo>
                    <a:pt x="890549" y="231938"/>
                    <a:pt x="887337" y="236435"/>
                    <a:pt x="885409" y="246073"/>
                  </a:cubicBezTo>
                  <a:cubicBezTo>
                    <a:pt x="884124" y="255710"/>
                    <a:pt x="875130" y="271772"/>
                    <a:pt x="869990" y="282052"/>
                  </a:cubicBezTo>
                  <a:cubicBezTo>
                    <a:pt x="864850" y="292974"/>
                    <a:pt x="858425" y="301969"/>
                    <a:pt x="858425" y="306467"/>
                  </a:cubicBezTo>
                  <a:cubicBezTo>
                    <a:pt x="858425" y="310964"/>
                    <a:pt x="860352" y="310321"/>
                    <a:pt x="857782" y="319959"/>
                  </a:cubicBezTo>
                  <a:cubicBezTo>
                    <a:pt x="855212" y="329596"/>
                    <a:pt x="853928" y="333451"/>
                    <a:pt x="848788" y="334736"/>
                  </a:cubicBezTo>
                  <a:cubicBezTo>
                    <a:pt x="843648" y="336663"/>
                    <a:pt x="828228" y="337948"/>
                    <a:pt x="824373" y="336021"/>
                  </a:cubicBezTo>
                  <a:cubicBezTo>
                    <a:pt x="820518" y="334093"/>
                    <a:pt x="814736" y="328954"/>
                    <a:pt x="810238" y="328311"/>
                  </a:cubicBezTo>
                  <a:cubicBezTo>
                    <a:pt x="805098" y="327669"/>
                    <a:pt x="791606" y="330238"/>
                    <a:pt x="790964" y="323171"/>
                  </a:cubicBezTo>
                  <a:cubicBezTo>
                    <a:pt x="790964" y="316104"/>
                    <a:pt x="793534" y="312249"/>
                    <a:pt x="794176" y="305181"/>
                  </a:cubicBezTo>
                  <a:cubicBezTo>
                    <a:pt x="795461" y="298757"/>
                    <a:pt x="794819" y="294259"/>
                    <a:pt x="791606" y="289119"/>
                  </a:cubicBezTo>
                  <a:cubicBezTo>
                    <a:pt x="788394" y="283979"/>
                    <a:pt x="782611" y="276270"/>
                    <a:pt x="782611" y="276270"/>
                  </a:cubicBezTo>
                  <a:cubicBezTo>
                    <a:pt x="782611" y="276270"/>
                    <a:pt x="776187" y="262135"/>
                    <a:pt x="765264" y="257637"/>
                  </a:cubicBezTo>
                  <a:cubicBezTo>
                    <a:pt x="754342" y="253140"/>
                    <a:pt x="753699" y="249285"/>
                    <a:pt x="744705" y="249928"/>
                  </a:cubicBezTo>
                  <a:cubicBezTo>
                    <a:pt x="735710" y="251213"/>
                    <a:pt x="727357" y="251855"/>
                    <a:pt x="724145" y="251855"/>
                  </a:cubicBezTo>
                  <a:cubicBezTo>
                    <a:pt x="720290" y="251855"/>
                    <a:pt x="718363" y="248000"/>
                    <a:pt x="714508" y="245430"/>
                  </a:cubicBezTo>
                  <a:cubicBezTo>
                    <a:pt x="711295" y="242860"/>
                    <a:pt x="704228" y="241575"/>
                    <a:pt x="699088" y="242860"/>
                  </a:cubicBezTo>
                  <a:cubicBezTo>
                    <a:pt x="693948" y="244145"/>
                    <a:pt x="686238" y="245430"/>
                    <a:pt x="687523" y="252497"/>
                  </a:cubicBezTo>
                  <a:cubicBezTo>
                    <a:pt x="689451" y="259565"/>
                    <a:pt x="692021" y="260207"/>
                    <a:pt x="689451" y="263420"/>
                  </a:cubicBezTo>
                  <a:cubicBezTo>
                    <a:pt x="686881" y="266632"/>
                    <a:pt x="685596" y="269845"/>
                    <a:pt x="688166" y="273057"/>
                  </a:cubicBezTo>
                  <a:cubicBezTo>
                    <a:pt x="690736" y="276270"/>
                    <a:pt x="696518" y="276270"/>
                    <a:pt x="699731" y="281409"/>
                  </a:cubicBezTo>
                  <a:cubicBezTo>
                    <a:pt x="702943" y="286549"/>
                    <a:pt x="708725" y="291689"/>
                    <a:pt x="711295" y="291689"/>
                  </a:cubicBezTo>
                  <a:cubicBezTo>
                    <a:pt x="713865" y="291689"/>
                    <a:pt x="718363" y="292974"/>
                    <a:pt x="718363" y="296187"/>
                  </a:cubicBezTo>
                  <a:cubicBezTo>
                    <a:pt x="718363" y="299399"/>
                    <a:pt x="716435" y="307109"/>
                    <a:pt x="713865" y="310321"/>
                  </a:cubicBezTo>
                  <a:cubicBezTo>
                    <a:pt x="711295" y="313534"/>
                    <a:pt x="710653" y="316104"/>
                    <a:pt x="705513" y="319316"/>
                  </a:cubicBezTo>
                  <a:cubicBezTo>
                    <a:pt x="699731" y="322529"/>
                    <a:pt x="690736" y="325741"/>
                    <a:pt x="689451" y="326383"/>
                  </a:cubicBezTo>
                  <a:cubicBezTo>
                    <a:pt x="688166" y="327026"/>
                    <a:pt x="684311" y="328311"/>
                    <a:pt x="674031" y="332808"/>
                  </a:cubicBezTo>
                  <a:cubicBezTo>
                    <a:pt x="663751" y="337306"/>
                    <a:pt x="651544" y="343088"/>
                    <a:pt x="643192" y="348871"/>
                  </a:cubicBezTo>
                  <a:cubicBezTo>
                    <a:pt x="634839" y="355295"/>
                    <a:pt x="623275" y="357223"/>
                    <a:pt x="615565" y="357866"/>
                  </a:cubicBezTo>
                  <a:cubicBezTo>
                    <a:pt x="607855" y="358508"/>
                    <a:pt x="609140" y="356580"/>
                    <a:pt x="602715" y="359793"/>
                  </a:cubicBezTo>
                  <a:cubicBezTo>
                    <a:pt x="596290" y="363005"/>
                    <a:pt x="588580" y="366218"/>
                    <a:pt x="586653" y="370715"/>
                  </a:cubicBezTo>
                  <a:cubicBezTo>
                    <a:pt x="584725" y="374570"/>
                    <a:pt x="580228" y="379710"/>
                    <a:pt x="577015" y="379710"/>
                  </a:cubicBezTo>
                  <a:cubicBezTo>
                    <a:pt x="573803" y="379710"/>
                    <a:pt x="569948" y="377782"/>
                    <a:pt x="566093" y="379068"/>
                  </a:cubicBezTo>
                  <a:cubicBezTo>
                    <a:pt x="562238" y="380353"/>
                    <a:pt x="550673" y="387420"/>
                    <a:pt x="542964" y="393202"/>
                  </a:cubicBezTo>
                  <a:cubicBezTo>
                    <a:pt x="534611" y="398985"/>
                    <a:pt x="533969" y="400270"/>
                    <a:pt x="529471" y="400270"/>
                  </a:cubicBezTo>
                  <a:cubicBezTo>
                    <a:pt x="524974" y="400270"/>
                    <a:pt x="512124" y="398985"/>
                    <a:pt x="508269" y="400270"/>
                  </a:cubicBezTo>
                  <a:cubicBezTo>
                    <a:pt x="503772" y="401555"/>
                    <a:pt x="492207" y="404767"/>
                    <a:pt x="487710" y="410549"/>
                  </a:cubicBezTo>
                  <a:cubicBezTo>
                    <a:pt x="483212" y="416332"/>
                    <a:pt x="479357" y="418902"/>
                    <a:pt x="478072" y="429181"/>
                  </a:cubicBezTo>
                  <a:cubicBezTo>
                    <a:pt x="476787" y="439461"/>
                    <a:pt x="472290" y="453596"/>
                    <a:pt x="466508" y="455523"/>
                  </a:cubicBezTo>
                  <a:cubicBezTo>
                    <a:pt x="460725" y="457451"/>
                    <a:pt x="451730" y="456809"/>
                    <a:pt x="447875" y="455523"/>
                  </a:cubicBezTo>
                  <a:cubicBezTo>
                    <a:pt x="444663" y="454239"/>
                    <a:pt x="442093" y="450384"/>
                    <a:pt x="437596" y="450384"/>
                  </a:cubicBezTo>
                  <a:cubicBezTo>
                    <a:pt x="433098" y="450384"/>
                    <a:pt x="425388" y="451669"/>
                    <a:pt x="423461" y="453596"/>
                  </a:cubicBezTo>
                  <a:cubicBezTo>
                    <a:pt x="421533" y="454881"/>
                    <a:pt x="416394" y="456809"/>
                    <a:pt x="415109" y="458736"/>
                  </a:cubicBezTo>
                  <a:cubicBezTo>
                    <a:pt x="413824" y="460663"/>
                    <a:pt x="412539" y="465803"/>
                    <a:pt x="410611" y="467088"/>
                  </a:cubicBezTo>
                  <a:cubicBezTo>
                    <a:pt x="408684" y="468373"/>
                    <a:pt x="397119" y="470943"/>
                    <a:pt x="395834" y="472228"/>
                  </a:cubicBezTo>
                  <a:cubicBezTo>
                    <a:pt x="394549" y="473513"/>
                    <a:pt x="393907" y="479296"/>
                    <a:pt x="393907" y="487648"/>
                  </a:cubicBezTo>
                  <a:cubicBezTo>
                    <a:pt x="393907" y="496000"/>
                    <a:pt x="390052" y="506280"/>
                    <a:pt x="381699" y="506922"/>
                  </a:cubicBezTo>
                  <a:cubicBezTo>
                    <a:pt x="372705" y="507565"/>
                    <a:pt x="358570" y="506922"/>
                    <a:pt x="355357" y="506922"/>
                  </a:cubicBezTo>
                  <a:cubicBezTo>
                    <a:pt x="352145" y="506922"/>
                    <a:pt x="352145" y="506280"/>
                    <a:pt x="350860" y="510777"/>
                  </a:cubicBezTo>
                  <a:cubicBezTo>
                    <a:pt x="349575" y="515275"/>
                    <a:pt x="350218" y="516560"/>
                    <a:pt x="345720" y="521700"/>
                  </a:cubicBezTo>
                  <a:cubicBezTo>
                    <a:pt x="341223" y="526840"/>
                    <a:pt x="338010" y="534550"/>
                    <a:pt x="334155" y="540332"/>
                  </a:cubicBezTo>
                  <a:cubicBezTo>
                    <a:pt x="330300" y="546114"/>
                    <a:pt x="325803" y="549969"/>
                    <a:pt x="320021" y="548684"/>
                  </a:cubicBezTo>
                  <a:cubicBezTo>
                    <a:pt x="313596" y="548042"/>
                    <a:pt x="305886" y="544187"/>
                    <a:pt x="301388" y="542259"/>
                  </a:cubicBezTo>
                  <a:cubicBezTo>
                    <a:pt x="296891" y="540332"/>
                    <a:pt x="292394" y="537762"/>
                    <a:pt x="289824" y="537119"/>
                  </a:cubicBezTo>
                  <a:cubicBezTo>
                    <a:pt x="287254" y="536477"/>
                    <a:pt x="280829" y="530052"/>
                    <a:pt x="278901" y="530052"/>
                  </a:cubicBezTo>
                  <a:cubicBezTo>
                    <a:pt x="276974" y="530695"/>
                    <a:pt x="273761" y="531979"/>
                    <a:pt x="273119" y="535192"/>
                  </a:cubicBezTo>
                  <a:cubicBezTo>
                    <a:pt x="271834" y="537762"/>
                    <a:pt x="269264" y="537762"/>
                    <a:pt x="267979" y="538404"/>
                  </a:cubicBezTo>
                  <a:cubicBezTo>
                    <a:pt x="266694" y="539047"/>
                    <a:pt x="257699" y="540974"/>
                    <a:pt x="254487" y="542902"/>
                  </a:cubicBezTo>
                  <a:cubicBezTo>
                    <a:pt x="250632" y="544829"/>
                    <a:pt x="244207" y="549969"/>
                    <a:pt x="236497" y="551254"/>
                  </a:cubicBezTo>
                  <a:cubicBezTo>
                    <a:pt x="228787" y="552539"/>
                    <a:pt x="223005" y="549969"/>
                    <a:pt x="219150" y="551254"/>
                  </a:cubicBezTo>
                  <a:cubicBezTo>
                    <a:pt x="215295" y="552539"/>
                    <a:pt x="199875" y="557679"/>
                    <a:pt x="197948" y="558964"/>
                  </a:cubicBezTo>
                  <a:cubicBezTo>
                    <a:pt x="196021" y="560249"/>
                    <a:pt x="192166" y="558321"/>
                    <a:pt x="183171" y="565389"/>
                  </a:cubicBezTo>
                  <a:cubicBezTo>
                    <a:pt x="174176" y="572456"/>
                    <a:pt x="167751" y="577596"/>
                    <a:pt x="165824" y="582094"/>
                  </a:cubicBezTo>
                  <a:cubicBezTo>
                    <a:pt x="163896" y="587233"/>
                    <a:pt x="162611" y="589161"/>
                    <a:pt x="158756" y="594301"/>
                  </a:cubicBezTo>
                  <a:cubicBezTo>
                    <a:pt x="154259" y="599441"/>
                    <a:pt x="152974" y="602011"/>
                    <a:pt x="151046" y="603938"/>
                  </a:cubicBezTo>
                  <a:cubicBezTo>
                    <a:pt x="150404" y="604581"/>
                    <a:pt x="148476" y="606508"/>
                    <a:pt x="147191" y="608436"/>
                  </a:cubicBezTo>
                  <a:cubicBezTo>
                    <a:pt x="146549" y="609720"/>
                    <a:pt x="145264" y="611005"/>
                    <a:pt x="144622" y="612290"/>
                  </a:cubicBezTo>
                  <a:cubicBezTo>
                    <a:pt x="143979" y="612933"/>
                    <a:pt x="143979" y="613575"/>
                    <a:pt x="143337" y="614218"/>
                  </a:cubicBezTo>
                  <a:cubicBezTo>
                    <a:pt x="142694" y="614860"/>
                    <a:pt x="142694" y="615503"/>
                    <a:pt x="142694" y="616145"/>
                  </a:cubicBezTo>
                  <a:cubicBezTo>
                    <a:pt x="142694" y="616145"/>
                    <a:pt x="142694" y="616788"/>
                    <a:pt x="142694" y="616788"/>
                  </a:cubicBezTo>
                  <a:cubicBezTo>
                    <a:pt x="142694" y="617430"/>
                    <a:pt x="142051" y="618073"/>
                    <a:pt x="142051" y="618715"/>
                  </a:cubicBezTo>
                  <a:cubicBezTo>
                    <a:pt x="141409" y="624498"/>
                    <a:pt x="143337" y="623213"/>
                    <a:pt x="143337" y="628995"/>
                  </a:cubicBezTo>
                  <a:cubicBezTo>
                    <a:pt x="143337" y="634777"/>
                    <a:pt x="144622" y="643130"/>
                    <a:pt x="139482" y="648912"/>
                  </a:cubicBezTo>
                  <a:cubicBezTo>
                    <a:pt x="134342" y="655337"/>
                    <a:pt x="125989" y="655980"/>
                    <a:pt x="125347" y="655337"/>
                  </a:cubicBezTo>
                  <a:cubicBezTo>
                    <a:pt x="124704" y="654052"/>
                    <a:pt x="125347" y="649555"/>
                    <a:pt x="124062" y="644415"/>
                  </a:cubicBezTo>
                  <a:cubicBezTo>
                    <a:pt x="122135" y="639275"/>
                    <a:pt x="120207" y="635420"/>
                    <a:pt x="115710" y="630923"/>
                  </a:cubicBezTo>
                  <a:cubicBezTo>
                    <a:pt x="111212" y="626425"/>
                    <a:pt x="109927" y="623855"/>
                    <a:pt x="109285" y="620000"/>
                  </a:cubicBezTo>
                  <a:cubicBezTo>
                    <a:pt x="108642" y="616145"/>
                    <a:pt x="106715" y="614218"/>
                    <a:pt x="104145" y="611648"/>
                  </a:cubicBezTo>
                  <a:cubicBezTo>
                    <a:pt x="101575" y="609078"/>
                    <a:pt x="101575" y="606508"/>
                    <a:pt x="99005" y="602011"/>
                  </a:cubicBezTo>
                  <a:cubicBezTo>
                    <a:pt x="96435" y="597513"/>
                    <a:pt x="96435" y="594943"/>
                    <a:pt x="88083" y="596871"/>
                  </a:cubicBezTo>
                  <a:cubicBezTo>
                    <a:pt x="82300" y="598156"/>
                    <a:pt x="78445" y="596871"/>
                    <a:pt x="77160" y="598798"/>
                  </a:cubicBezTo>
                  <a:cubicBezTo>
                    <a:pt x="77160" y="598798"/>
                    <a:pt x="76518" y="599441"/>
                    <a:pt x="76518" y="600083"/>
                  </a:cubicBezTo>
                  <a:cubicBezTo>
                    <a:pt x="65596" y="594301"/>
                    <a:pt x="51461" y="594301"/>
                    <a:pt x="39253" y="589161"/>
                  </a:cubicBezTo>
                  <a:cubicBezTo>
                    <a:pt x="36041" y="587876"/>
                    <a:pt x="32186" y="585306"/>
                    <a:pt x="31544" y="582094"/>
                  </a:cubicBezTo>
                  <a:cubicBezTo>
                    <a:pt x="30901" y="579524"/>
                    <a:pt x="32186" y="577596"/>
                    <a:pt x="32829" y="575026"/>
                  </a:cubicBezTo>
                  <a:cubicBezTo>
                    <a:pt x="34114" y="569886"/>
                    <a:pt x="31544" y="564746"/>
                    <a:pt x="27689" y="561534"/>
                  </a:cubicBezTo>
                  <a:cubicBezTo>
                    <a:pt x="23834" y="558321"/>
                    <a:pt x="18051" y="557037"/>
                    <a:pt x="12269" y="557679"/>
                  </a:cubicBezTo>
                  <a:cubicBezTo>
                    <a:pt x="9699" y="557679"/>
                    <a:pt x="7129" y="558321"/>
                    <a:pt x="5202" y="557679"/>
                  </a:cubicBezTo>
                  <a:cubicBezTo>
                    <a:pt x="2632" y="557037"/>
                    <a:pt x="62" y="555752"/>
                    <a:pt x="62" y="553182"/>
                  </a:cubicBezTo>
                  <a:cubicBezTo>
                    <a:pt x="-581" y="549969"/>
                    <a:pt x="3917" y="548042"/>
                    <a:pt x="7129" y="545472"/>
                  </a:cubicBezTo>
                  <a:cubicBezTo>
                    <a:pt x="10342" y="542259"/>
                    <a:pt x="10984" y="537119"/>
                    <a:pt x="11627" y="531979"/>
                  </a:cubicBezTo>
                  <a:cubicBezTo>
                    <a:pt x="12269" y="524912"/>
                    <a:pt x="12912" y="517202"/>
                    <a:pt x="16766" y="510777"/>
                  </a:cubicBezTo>
                  <a:cubicBezTo>
                    <a:pt x="20621" y="504353"/>
                    <a:pt x="28331" y="499855"/>
                    <a:pt x="36041" y="501140"/>
                  </a:cubicBezTo>
                  <a:cubicBezTo>
                    <a:pt x="39896" y="501783"/>
                    <a:pt x="43108" y="504353"/>
                    <a:pt x="47606" y="504995"/>
                  </a:cubicBezTo>
                  <a:cubicBezTo>
                    <a:pt x="51461" y="505638"/>
                    <a:pt x="55316" y="504353"/>
                    <a:pt x="58528" y="502425"/>
                  </a:cubicBezTo>
                  <a:cubicBezTo>
                    <a:pt x="61098" y="501140"/>
                    <a:pt x="63026" y="499213"/>
                    <a:pt x="65596" y="497928"/>
                  </a:cubicBezTo>
                  <a:cubicBezTo>
                    <a:pt x="72020" y="492788"/>
                    <a:pt x="78445" y="487648"/>
                    <a:pt x="85513" y="482508"/>
                  </a:cubicBezTo>
                  <a:cubicBezTo>
                    <a:pt x="102217" y="469658"/>
                    <a:pt x="118922" y="456166"/>
                    <a:pt x="130487" y="439461"/>
                  </a:cubicBezTo>
                  <a:cubicBezTo>
                    <a:pt x="124062" y="435606"/>
                    <a:pt x="113782" y="440104"/>
                    <a:pt x="109285" y="434321"/>
                  </a:cubicBezTo>
                  <a:cubicBezTo>
                    <a:pt x="108000" y="432394"/>
                    <a:pt x="107357" y="429824"/>
                    <a:pt x="107357" y="427254"/>
                  </a:cubicBezTo>
                  <a:cubicBezTo>
                    <a:pt x="106715" y="420829"/>
                    <a:pt x="106072" y="414404"/>
                    <a:pt x="105430" y="407979"/>
                  </a:cubicBezTo>
                  <a:cubicBezTo>
                    <a:pt x="104787" y="402840"/>
                    <a:pt x="104145" y="397700"/>
                    <a:pt x="106715" y="392560"/>
                  </a:cubicBezTo>
                  <a:cubicBezTo>
                    <a:pt x="109285" y="388062"/>
                    <a:pt x="113782" y="386135"/>
                    <a:pt x="118280" y="384207"/>
                  </a:cubicBezTo>
                  <a:cubicBezTo>
                    <a:pt x="118280" y="384207"/>
                    <a:pt x="135627" y="377782"/>
                    <a:pt x="142694" y="373285"/>
                  </a:cubicBezTo>
                  <a:cubicBezTo>
                    <a:pt x="150404" y="369430"/>
                    <a:pt x="168393" y="363005"/>
                    <a:pt x="170963" y="357223"/>
                  </a:cubicBezTo>
                  <a:cubicBezTo>
                    <a:pt x="174176" y="352083"/>
                    <a:pt x="191523" y="347586"/>
                    <a:pt x="189596" y="336663"/>
                  </a:cubicBezTo>
                  <a:cubicBezTo>
                    <a:pt x="187668" y="325099"/>
                    <a:pt x="193450" y="328311"/>
                    <a:pt x="176746" y="311606"/>
                  </a:cubicBezTo>
                  <a:cubicBezTo>
                    <a:pt x="160041" y="294902"/>
                    <a:pt x="151046" y="277555"/>
                    <a:pt x="130487" y="271130"/>
                  </a:cubicBezTo>
                  <a:cubicBezTo>
                    <a:pt x="120207" y="267917"/>
                    <a:pt x="109285" y="267275"/>
                    <a:pt x="99647" y="265347"/>
                  </a:cubicBezTo>
                  <a:cubicBezTo>
                    <a:pt x="90010" y="263420"/>
                    <a:pt x="82300" y="260850"/>
                    <a:pt x="79730" y="253140"/>
                  </a:cubicBezTo>
                  <a:cubicBezTo>
                    <a:pt x="74590" y="238363"/>
                    <a:pt x="70736" y="197244"/>
                    <a:pt x="64953" y="182466"/>
                  </a:cubicBezTo>
                  <a:cubicBezTo>
                    <a:pt x="62383" y="175399"/>
                    <a:pt x="59171" y="169617"/>
                    <a:pt x="57886" y="164477"/>
                  </a:cubicBezTo>
                  <a:cubicBezTo>
                    <a:pt x="55958" y="158694"/>
                    <a:pt x="55958" y="153554"/>
                    <a:pt x="58528" y="147130"/>
                  </a:cubicBezTo>
                  <a:cubicBezTo>
                    <a:pt x="63668" y="135565"/>
                    <a:pt x="64953" y="122715"/>
                    <a:pt x="64953" y="107295"/>
                  </a:cubicBezTo>
                  <a:cubicBezTo>
                    <a:pt x="64953" y="92518"/>
                    <a:pt x="69450" y="61679"/>
                    <a:pt x="78445" y="55896"/>
                  </a:cubicBezTo>
                  <a:cubicBezTo>
                    <a:pt x="87440" y="49472"/>
                    <a:pt x="87440" y="57181"/>
                    <a:pt x="102217" y="55896"/>
                  </a:cubicBezTo>
                  <a:cubicBezTo>
                    <a:pt x="116994" y="54611"/>
                    <a:pt x="129202" y="55254"/>
                    <a:pt x="135627" y="46902"/>
                  </a:cubicBezTo>
                  <a:cubicBezTo>
                    <a:pt x="142051" y="38549"/>
                    <a:pt x="143337" y="29554"/>
                    <a:pt x="153616" y="29554"/>
                  </a:cubicBezTo>
                  <a:cubicBezTo>
                    <a:pt x="163896" y="29554"/>
                    <a:pt x="176103" y="32767"/>
                    <a:pt x="183171" y="32767"/>
                  </a:cubicBezTo>
                  <a:cubicBezTo>
                    <a:pt x="189596" y="32767"/>
                    <a:pt x="200518" y="28269"/>
                    <a:pt x="201803" y="29554"/>
                  </a:cubicBezTo>
                  <a:cubicBezTo>
                    <a:pt x="203088" y="30839"/>
                    <a:pt x="238425" y="3855"/>
                    <a:pt x="252559" y="3855"/>
                  </a:cubicBezTo>
                  <a:cubicBezTo>
                    <a:pt x="266694" y="3855"/>
                    <a:pt x="266052" y="643"/>
                    <a:pt x="278901" y="3855"/>
                  </a:cubicBezTo>
                  <a:cubicBezTo>
                    <a:pt x="289181" y="6425"/>
                    <a:pt x="299461" y="10280"/>
                    <a:pt x="309741" y="12207"/>
                  </a:cubicBezTo>
                  <a:cubicBezTo>
                    <a:pt x="309098" y="12850"/>
                    <a:pt x="308456" y="12850"/>
                    <a:pt x="308456" y="12850"/>
                  </a:cubicBezTo>
                  <a:cubicBezTo>
                    <a:pt x="308456" y="12850"/>
                    <a:pt x="348932" y="34052"/>
                    <a:pt x="355357" y="37264"/>
                  </a:cubicBezTo>
                  <a:cubicBezTo>
                    <a:pt x="360497" y="39834"/>
                    <a:pt x="367565" y="50756"/>
                    <a:pt x="370134" y="63606"/>
                  </a:cubicBezTo>
                  <a:cubicBezTo>
                    <a:pt x="370777" y="66819"/>
                    <a:pt x="370777" y="70031"/>
                    <a:pt x="370777" y="73244"/>
                  </a:cubicBezTo>
                  <a:cubicBezTo>
                    <a:pt x="369492" y="89306"/>
                    <a:pt x="358570" y="107295"/>
                    <a:pt x="358570" y="110508"/>
                  </a:cubicBezTo>
                  <a:cubicBezTo>
                    <a:pt x="358570" y="113720"/>
                    <a:pt x="357285" y="125928"/>
                    <a:pt x="370777" y="121430"/>
                  </a:cubicBezTo>
                  <a:cubicBezTo>
                    <a:pt x="384912" y="116933"/>
                    <a:pt x="402901" y="106653"/>
                    <a:pt x="409326" y="104725"/>
                  </a:cubicBezTo>
                  <a:cubicBezTo>
                    <a:pt x="415751" y="102798"/>
                    <a:pt x="424104" y="95088"/>
                    <a:pt x="432456" y="101513"/>
                  </a:cubicBezTo>
                  <a:cubicBezTo>
                    <a:pt x="440808" y="107938"/>
                    <a:pt x="431813" y="106653"/>
                    <a:pt x="447233" y="113078"/>
                  </a:cubicBezTo>
                  <a:cubicBezTo>
                    <a:pt x="462653" y="119503"/>
                    <a:pt x="510839" y="125285"/>
                    <a:pt x="521761" y="125285"/>
                  </a:cubicBezTo>
                  <a:cubicBezTo>
                    <a:pt x="532684" y="125285"/>
                    <a:pt x="600145" y="112435"/>
                    <a:pt x="609140" y="101513"/>
                  </a:cubicBezTo>
                  <a:cubicBezTo>
                    <a:pt x="618135" y="90591"/>
                    <a:pt x="619420" y="87378"/>
                    <a:pt x="623917" y="74529"/>
                  </a:cubicBezTo>
                  <a:cubicBezTo>
                    <a:pt x="628414" y="61679"/>
                    <a:pt x="638052" y="53969"/>
                    <a:pt x="645762" y="53969"/>
                  </a:cubicBezTo>
                  <a:cubicBezTo>
                    <a:pt x="652829" y="53969"/>
                    <a:pt x="662466" y="57181"/>
                    <a:pt x="677244" y="53969"/>
                  </a:cubicBezTo>
                  <a:cubicBezTo>
                    <a:pt x="692021" y="50756"/>
                    <a:pt x="697161" y="48187"/>
                    <a:pt x="708725" y="38549"/>
                  </a:cubicBezTo>
                  <a:cubicBezTo>
                    <a:pt x="720290" y="28912"/>
                    <a:pt x="735710" y="22487"/>
                    <a:pt x="738280" y="22487"/>
                  </a:cubicBezTo>
                  <a:cubicBezTo>
                    <a:pt x="740850" y="22487"/>
                    <a:pt x="740850" y="29554"/>
                    <a:pt x="748560" y="29554"/>
                  </a:cubicBezTo>
                  <a:cubicBezTo>
                    <a:pt x="756269" y="30197"/>
                    <a:pt x="763979" y="37264"/>
                    <a:pt x="770404" y="29554"/>
                  </a:cubicBezTo>
                  <a:cubicBezTo>
                    <a:pt x="776829" y="21845"/>
                    <a:pt x="780684" y="12850"/>
                    <a:pt x="785181" y="10280"/>
                  </a:cubicBezTo>
                  <a:cubicBezTo>
                    <a:pt x="789679" y="7710"/>
                    <a:pt x="790321" y="6425"/>
                    <a:pt x="796104" y="6425"/>
                  </a:cubicBezTo>
                  <a:cubicBezTo>
                    <a:pt x="798674" y="6425"/>
                    <a:pt x="805098" y="3855"/>
                    <a:pt x="811523" y="0"/>
                  </a:cubicBezTo>
                  <a:cubicBezTo>
                    <a:pt x="808953" y="5140"/>
                    <a:pt x="807026" y="10280"/>
                    <a:pt x="807026" y="13492"/>
                  </a:cubicBezTo>
                  <a:cubicBezTo>
                    <a:pt x="807026" y="18632"/>
                    <a:pt x="812166" y="21845"/>
                    <a:pt x="815378" y="24415"/>
                  </a:cubicBezTo>
                  <a:cubicBezTo>
                    <a:pt x="818591" y="26984"/>
                    <a:pt x="835938" y="34694"/>
                    <a:pt x="850715" y="39192"/>
                  </a:cubicBezTo>
                  <a:cubicBezTo>
                    <a:pt x="865492" y="43689"/>
                    <a:pt x="869990" y="43689"/>
                    <a:pt x="878984" y="49472"/>
                  </a:cubicBezTo>
                  <a:cubicBezTo>
                    <a:pt x="887979" y="55254"/>
                    <a:pt x="890549" y="66819"/>
                    <a:pt x="891192" y="70031"/>
                  </a:cubicBezTo>
                  <a:cubicBezTo>
                    <a:pt x="891834" y="73244"/>
                    <a:pt x="887979" y="79026"/>
                    <a:pt x="887979" y="86736"/>
                  </a:cubicBezTo>
                  <a:cubicBezTo>
                    <a:pt x="887337" y="94446"/>
                    <a:pt x="883482" y="96373"/>
                    <a:pt x="889907" y="104725"/>
                  </a:cubicBezTo>
                  <a:cubicBezTo>
                    <a:pt x="896332" y="113720"/>
                    <a:pt x="911751" y="122073"/>
                    <a:pt x="913036" y="127212"/>
                  </a:cubicBezTo>
                  <a:cubicBezTo>
                    <a:pt x="909181" y="136207"/>
                    <a:pt x="909181" y="147130"/>
                    <a:pt x="908539" y="149699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4" name="Freihandform 463">
              <a:extLst>
                <a:ext uri="{FF2B5EF4-FFF2-40B4-BE49-F238E27FC236}">
                  <a16:creationId xmlns:a16="http://schemas.microsoft.com/office/drawing/2014/main" id="{5742402C-B479-CE37-2001-2F50571CE65E}"/>
                </a:ext>
              </a:extLst>
            </p:cNvPr>
            <p:cNvSpPr/>
            <p:nvPr/>
          </p:nvSpPr>
          <p:spPr>
            <a:xfrm>
              <a:off x="3515083" y="3650672"/>
              <a:ext cx="913036" cy="655533"/>
            </a:xfrm>
            <a:custGeom>
              <a:avLst/>
              <a:gdLst>
                <a:gd name="connsiteX0" fmla="*/ 908539 w 913036"/>
                <a:gd name="connsiteY0" fmla="*/ 149699 h 655533"/>
                <a:gd name="connsiteX1" fmla="*/ 902114 w 913036"/>
                <a:gd name="connsiteY1" fmla="*/ 160622 h 655533"/>
                <a:gd name="connsiteX2" fmla="*/ 898259 w 913036"/>
                <a:gd name="connsiteY2" fmla="*/ 192104 h 655533"/>
                <a:gd name="connsiteX3" fmla="*/ 894404 w 913036"/>
                <a:gd name="connsiteY3" fmla="*/ 221658 h 655533"/>
                <a:gd name="connsiteX4" fmla="*/ 885409 w 913036"/>
                <a:gd name="connsiteY4" fmla="*/ 246073 h 655533"/>
                <a:gd name="connsiteX5" fmla="*/ 869990 w 913036"/>
                <a:gd name="connsiteY5" fmla="*/ 282052 h 655533"/>
                <a:gd name="connsiteX6" fmla="*/ 858425 w 913036"/>
                <a:gd name="connsiteY6" fmla="*/ 306467 h 655533"/>
                <a:gd name="connsiteX7" fmla="*/ 857782 w 913036"/>
                <a:gd name="connsiteY7" fmla="*/ 319959 h 655533"/>
                <a:gd name="connsiteX8" fmla="*/ 848788 w 913036"/>
                <a:gd name="connsiteY8" fmla="*/ 334736 h 655533"/>
                <a:gd name="connsiteX9" fmla="*/ 824373 w 913036"/>
                <a:gd name="connsiteY9" fmla="*/ 336021 h 655533"/>
                <a:gd name="connsiteX10" fmla="*/ 810238 w 913036"/>
                <a:gd name="connsiteY10" fmla="*/ 328311 h 655533"/>
                <a:gd name="connsiteX11" fmla="*/ 790964 w 913036"/>
                <a:gd name="connsiteY11" fmla="*/ 323171 h 655533"/>
                <a:gd name="connsiteX12" fmla="*/ 794176 w 913036"/>
                <a:gd name="connsiteY12" fmla="*/ 305181 h 655533"/>
                <a:gd name="connsiteX13" fmla="*/ 791606 w 913036"/>
                <a:gd name="connsiteY13" fmla="*/ 289119 h 655533"/>
                <a:gd name="connsiteX14" fmla="*/ 782611 w 913036"/>
                <a:gd name="connsiteY14" fmla="*/ 276270 h 655533"/>
                <a:gd name="connsiteX15" fmla="*/ 765264 w 913036"/>
                <a:gd name="connsiteY15" fmla="*/ 257637 h 655533"/>
                <a:gd name="connsiteX16" fmla="*/ 744705 w 913036"/>
                <a:gd name="connsiteY16" fmla="*/ 249928 h 655533"/>
                <a:gd name="connsiteX17" fmla="*/ 724145 w 913036"/>
                <a:gd name="connsiteY17" fmla="*/ 251855 h 655533"/>
                <a:gd name="connsiteX18" fmla="*/ 714508 w 913036"/>
                <a:gd name="connsiteY18" fmla="*/ 245430 h 655533"/>
                <a:gd name="connsiteX19" fmla="*/ 699088 w 913036"/>
                <a:gd name="connsiteY19" fmla="*/ 242860 h 655533"/>
                <a:gd name="connsiteX20" fmla="*/ 687523 w 913036"/>
                <a:gd name="connsiteY20" fmla="*/ 252497 h 655533"/>
                <a:gd name="connsiteX21" fmla="*/ 689451 w 913036"/>
                <a:gd name="connsiteY21" fmla="*/ 263420 h 655533"/>
                <a:gd name="connsiteX22" fmla="*/ 688166 w 913036"/>
                <a:gd name="connsiteY22" fmla="*/ 273057 h 655533"/>
                <a:gd name="connsiteX23" fmla="*/ 699731 w 913036"/>
                <a:gd name="connsiteY23" fmla="*/ 281409 h 655533"/>
                <a:gd name="connsiteX24" fmla="*/ 711295 w 913036"/>
                <a:gd name="connsiteY24" fmla="*/ 291689 h 655533"/>
                <a:gd name="connsiteX25" fmla="*/ 718363 w 913036"/>
                <a:gd name="connsiteY25" fmla="*/ 296187 h 655533"/>
                <a:gd name="connsiteX26" fmla="*/ 713865 w 913036"/>
                <a:gd name="connsiteY26" fmla="*/ 310321 h 655533"/>
                <a:gd name="connsiteX27" fmla="*/ 705513 w 913036"/>
                <a:gd name="connsiteY27" fmla="*/ 319316 h 655533"/>
                <a:gd name="connsiteX28" fmla="*/ 689451 w 913036"/>
                <a:gd name="connsiteY28" fmla="*/ 326383 h 655533"/>
                <a:gd name="connsiteX29" fmla="*/ 674031 w 913036"/>
                <a:gd name="connsiteY29" fmla="*/ 332808 h 655533"/>
                <a:gd name="connsiteX30" fmla="*/ 643192 w 913036"/>
                <a:gd name="connsiteY30" fmla="*/ 348871 h 655533"/>
                <a:gd name="connsiteX31" fmla="*/ 615565 w 913036"/>
                <a:gd name="connsiteY31" fmla="*/ 357866 h 655533"/>
                <a:gd name="connsiteX32" fmla="*/ 602715 w 913036"/>
                <a:gd name="connsiteY32" fmla="*/ 359793 h 655533"/>
                <a:gd name="connsiteX33" fmla="*/ 586653 w 913036"/>
                <a:gd name="connsiteY33" fmla="*/ 370715 h 655533"/>
                <a:gd name="connsiteX34" fmla="*/ 577015 w 913036"/>
                <a:gd name="connsiteY34" fmla="*/ 379710 h 655533"/>
                <a:gd name="connsiteX35" fmla="*/ 566093 w 913036"/>
                <a:gd name="connsiteY35" fmla="*/ 379068 h 655533"/>
                <a:gd name="connsiteX36" fmla="*/ 542964 w 913036"/>
                <a:gd name="connsiteY36" fmla="*/ 393202 h 655533"/>
                <a:gd name="connsiteX37" fmla="*/ 529471 w 913036"/>
                <a:gd name="connsiteY37" fmla="*/ 400270 h 655533"/>
                <a:gd name="connsiteX38" fmla="*/ 508269 w 913036"/>
                <a:gd name="connsiteY38" fmla="*/ 400270 h 655533"/>
                <a:gd name="connsiteX39" fmla="*/ 487710 w 913036"/>
                <a:gd name="connsiteY39" fmla="*/ 410549 h 655533"/>
                <a:gd name="connsiteX40" fmla="*/ 478072 w 913036"/>
                <a:gd name="connsiteY40" fmla="*/ 429181 h 655533"/>
                <a:gd name="connsiteX41" fmla="*/ 466508 w 913036"/>
                <a:gd name="connsiteY41" fmla="*/ 455523 h 655533"/>
                <a:gd name="connsiteX42" fmla="*/ 447875 w 913036"/>
                <a:gd name="connsiteY42" fmla="*/ 455523 h 655533"/>
                <a:gd name="connsiteX43" fmla="*/ 437596 w 913036"/>
                <a:gd name="connsiteY43" fmla="*/ 450384 h 655533"/>
                <a:gd name="connsiteX44" fmla="*/ 423461 w 913036"/>
                <a:gd name="connsiteY44" fmla="*/ 453596 h 655533"/>
                <a:gd name="connsiteX45" fmla="*/ 415109 w 913036"/>
                <a:gd name="connsiteY45" fmla="*/ 458736 h 655533"/>
                <a:gd name="connsiteX46" fmla="*/ 410611 w 913036"/>
                <a:gd name="connsiteY46" fmla="*/ 467088 h 655533"/>
                <a:gd name="connsiteX47" fmla="*/ 395834 w 913036"/>
                <a:gd name="connsiteY47" fmla="*/ 472228 h 655533"/>
                <a:gd name="connsiteX48" fmla="*/ 393907 w 913036"/>
                <a:gd name="connsiteY48" fmla="*/ 487648 h 655533"/>
                <a:gd name="connsiteX49" fmla="*/ 381699 w 913036"/>
                <a:gd name="connsiteY49" fmla="*/ 506922 h 655533"/>
                <a:gd name="connsiteX50" fmla="*/ 355357 w 913036"/>
                <a:gd name="connsiteY50" fmla="*/ 506922 h 655533"/>
                <a:gd name="connsiteX51" fmla="*/ 350860 w 913036"/>
                <a:gd name="connsiteY51" fmla="*/ 510777 h 655533"/>
                <a:gd name="connsiteX52" fmla="*/ 345720 w 913036"/>
                <a:gd name="connsiteY52" fmla="*/ 521700 h 655533"/>
                <a:gd name="connsiteX53" fmla="*/ 334155 w 913036"/>
                <a:gd name="connsiteY53" fmla="*/ 540332 h 655533"/>
                <a:gd name="connsiteX54" fmla="*/ 320021 w 913036"/>
                <a:gd name="connsiteY54" fmla="*/ 548684 h 655533"/>
                <a:gd name="connsiteX55" fmla="*/ 301388 w 913036"/>
                <a:gd name="connsiteY55" fmla="*/ 542259 h 655533"/>
                <a:gd name="connsiteX56" fmla="*/ 289824 w 913036"/>
                <a:gd name="connsiteY56" fmla="*/ 537119 h 655533"/>
                <a:gd name="connsiteX57" fmla="*/ 278901 w 913036"/>
                <a:gd name="connsiteY57" fmla="*/ 530052 h 655533"/>
                <a:gd name="connsiteX58" fmla="*/ 273119 w 913036"/>
                <a:gd name="connsiteY58" fmla="*/ 535192 h 655533"/>
                <a:gd name="connsiteX59" fmla="*/ 267979 w 913036"/>
                <a:gd name="connsiteY59" fmla="*/ 538404 h 655533"/>
                <a:gd name="connsiteX60" fmla="*/ 254487 w 913036"/>
                <a:gd name="connsiteY60" fmla="*/ 542902 h 655533"/>
                <a:gd name="connsiteX61" fmla="*/ 236497 w 913036"/>
                <a:gd name="connsiteY61" fmla="*/ 551254 h 655533"/>
                <a:gd name="connsiteX62" fmla="*/ 219150 w 913036"/>
                <a:gd name="connsiteY62" fmla="*/ 551254 h 655533"/>
                <a:gd name="connsiteX63" fmla="*/ 197948 w 913036"/>
                <a:gd name="connsiteY63" fmla="*/ 558964 h 655533"/>
                <a:gd name="connsiteX64" fmla="*/ 183171 w 913036"/>
                <a:gd name="connsiteY64" fmla="*/ 565389 h 655533"/>
                <a:gd name="connsiteX65" fmla="*/ 165824 w 913036"/>
                <a:gd name="connsiteY65" fmla="*/ 582094 h 655533"/>
                <a:gd name="connsiteX66" fmla="*/ 158756 w 913036"/>
                <a:gd name="connsiteY66" fmla="*/ 594301 h 655533"/>
                <a:gd name="connsiteX67" fmla="*/ 151046 w 913036"/>
                <a:gd name="connsiteY67" fmla="*/ 603938 h 655533"/>
                <a:gd name="connsiteX68" fmla="*/ 147191 w 913036"/>
                <a:gd name="connsiteY68" fmla="*/ 608436 h 655533"/>
                <a:gd name="connsiteX69" fmla="*/ 144622 w 913036"/>
                <a:gd name="connsiteY69" fmla="*/ 612290 h 655533"/>
                <a:gd name="connsiteX70" fmla="*/ 143337 w 913036"/>
                <a:gd name="connsiteY70" fmla="*/ 614218 h 655533"/>
                <a:gd name="connsiteX71" fmla="*/ 142694 w 913036"/>
                <a:gd name="connsiteY71" fmla="*/ 616145 h 655533"/>
                <a:gd name="connsiteX72" fmla="*/ 142694 w 913036"/>
                <a:gd name="connsiteY72" fmla="*/ 616788 h 655533"/>
                <a:gd name="connsiteX73" fmla="*/ 142051 w 913036"/>
                <a:gd name="connsiteY73" fmla="*/ 618715 h 655533"/>
                <a:gd name="connsiteX74" fmla="*/ 143337 w 913036"/>
                <a:gd name="connsiteY74" fmla="*/ 628995 h 655533"/>
                <a:gd name="connsiteX75" fmla="*/ 139482 w 913036"/>
                <a:gd name="connsiteY75" fmla="*/ 648912 h 655533"/>
                <a:gd name="connsiteX76" fmla="*/ 125347 w 913036"/>
                <a:gd name="connsiteY76" fmla="*/ 655337 h 655533"/>
                <a:gd name="connsiteX77" fmla="*/ 124062 w 913036"/>
                <a:gd name="connsiteY77" fmla="*/ 644415 h 655533"/>
                <a:gd name="connsiteX78" fmla="*/ 115710 w 913036"/>
                <a:gd name="connsiteY78" fmla="*/ 630923 h 655533"/>
                <a:gd name="connsiteX79" fmla="*/ 109285 w 913036"/>
                <a:gd name="connsiteY79" fmla="*/ 620000 h 655533"/>
                <a:gd name="connsiteX80" fmla="*/ 104145 w 913036"/>
                <a:gd name="connsiteY80" fmla="*/ 611648 h 655533"/>
                <a:gd name="connsiteX81" fmla="*/ 99005 w 913036"/>
                <a:gd name="connsiteY81" fmla="*/ 602011 h 655533"/>
                <a:gd name="connsiteX82" fmla="*/ 88083 w 913036"/>
                <a:gd name="connsiteY82" fmla="*/ 596871 h 655533"/>
                <a:gd name="connsiteX83" fmla="*/ 77160 w 913036"/>
                <a:gd name="connsiteY83" fmla="*/ 598798 h 655533"/>
                <a:gd name="connsiteX84" fmla="*/ 76518 w 913036"/>
                <a:gd name="connsiteY84" fmla="*/ 600083 h 655533"/>
                <a:gd name="connsiteX85" fmla="*/ 39253 w 913036"/>
                <a:gd name="connsiteY85" fmla="*/ 589161 h 655533"/>
                <a:gd name="connsiteX86" fmla="*/ 31544 w 913036"/>
                <a:gd name="connsiteY86" fmla="*/ 582094 h 655533"/>
                <a:gd name="connsiteX87" fmla="*/ 32829 w 913036"/>
                <a:gd name="connsiteY87" fmla="*/ 575026 h 655533"/>
                <a:gd name="connsiteX88" fmla="*/ 27689 w 913036"/>
                <a:gd name="connsiteY88" fmla="*/ 561534 h 655533"/>
                <a:gd name="connsiteX89" fmla="*/ 12269 w 913036"/>
                <a:gd name="connsiteY89" fmla="*/ 557679 h 655533"/>
                <a:gd name="connsiteX90" fmla="*/ 5202 w 913036"/>
                <a:gd name="connsiteY90" fmla="*/ 557679 h 655533"/>
                <a:gd name="connsiteX91" fmla="*/ 62 w 913036"/>
                <a:gd name="connsiteY91" fmla="*/ 553182 h 655533"/>
                <a:gd name="connsiteX92" fmla="*/ 7129 w 913036"/>
                <a:gd name="connsiteY92" fmla="*/ 545472 h 655533"/>
                <a:gd name="connsiteX93" fmla="*/ 11627 w 913036"/>
                <a:gd name="connsiteY93" fmla="*/ 531979 h 655533"/>
                <a:gd name="connsiteX94" fmla="*/ 16766 w 913036"/>
                <a:gd name="connsiteY94" fmla="*/ 510777 h 655533"/>
                <a:gd name="connsiteX95" fmla="*/ 36041 w 913036"/>
                <a:gd name="connsiteY95" fmla="*/ 501140 h 655533"/>
                <a:gd name="connsiteX96" fmla="*/ 47606 w 913036"/>
                <a:gd name="connsiteY96" fmla="*/ 504995 h 655533"/>
                <a:gd name="connsiteX97" fmla="*/ 58528 w 913036"/>
                <a:gd name="connsiteY97" fmla="*/ 502425 h 655533"/>
                <a:gd name="connsiteX98" fmla="*/ 65596 w 913036"/>
                <a:gd name="connsiteY98" fmla="*/ 497928 h 655533"/>
                <a:gd name="connsiteX99" fmla="*/ 85513 w 913036"/>
                <a:gd name="connsiteY99" fmla="*/ 482508 h 655533"/>
                <a:gd name="connsiteX100" fmla="*/ 130487 w 913036"/>
                <a:gd name="connsiteY100" fmla="*/ 439461 h 655533"/>
                <a:gd name="connsiteX101" fmla="*/ 109285 w 913036"/>
                <a:gd name="connsiteY101" fmla="*/ 434321 h 655533"/>
                <a:gd name="connsiteX102" fmla="*/ 107357 w 913036"/>
                <a:gd name="connsiteY102" fmla="*/ 427254 h 655533"/>
                <a:gd name="connsiteX103" fmla="*/ 105430 w 913036"/>
                <a:gd name="connsiteY103" fmla="*/ 407979 h 655533"/>
                <a:gd name="connsiteX104" fmla="*/ 106715 w 913036"/>
                <a:gd name="connsiteY104" fmla="*/ 392560 h 655533"/>
                <a:gd name="connsiteX105" fmla="*/ 118280 w 913036"/>
                <a:gd name="connsiteY105" fmla="*/ 384207 h 655533"/>
                <a:gd name="connsiteX106" fmla="*/ 142694 w 913036"/>
                <a:gd name="connsiteY106" fmla="*/ 373285 h 655533"/>
                <a:gd name="connsiteX107" fmla="*/ 170963 w 913036"/>
                <a:gd name="connsiteY107" fmla="*/ 357223 h 655533"/>
                <a:gd name="connsiteX108" fmla="*/ 189596 w 913036"/>
                <a:gd name="connsiteY108" fmla="*/ 336663 h 655533"/>
                <a:gd name="connsiteX109" fmla="*/ 176746 w 913036"/>
                <a:gd name="connsiteY109" fmla="*/ 311606 h 655533"/>
                <a:gd name="connsiteX110" fmla="*/ 130487 w 913036"/>
                <a:gd name="connsiteY110" fmla="*/ 271130 h 655533"/>
                <a:gd name="connsiteX111" fmla="*/ 99647 w 913036"/>
                <a:gd name="connsiteY111" fmla="*/ 265347 h 655533"/>
                <a:gd name="connsiteX112" fmla="*/ 79730 w 913036"/>
                <a:gd name="connsiteY112" fmla="*/ 253140 h 655533"/>
                <a:gd name="connsiteX113" fmla="*/ 64953 w 913036"/>
                <a:gd name="connsiteY113" fmla="*/ 182466 h 655533"/>
                <a:gd name="connsiteX114" fmla="*/ 57886 w 913036"/>
                <a:gd name="connsiteY114" fmla="*/ 164477 h 655533"/>
                <a:gd name="connsiteX115" fmla="*/ 58528 w 913036"/>
                <a:gd name="connsiteY115" fmla="*/ 147130 h 655533"/>
                <a:gd name="connsiteX116" fmla="*/ 64953 w 913036"/>
                <a:gd name="connsiteY116" fmla="*/ 107295 h 655533"/>
                <a:gd name="connsiteX117" fmla="*/ 78445 w 913036"/>
                <a:gd name="connsiteY117" fmla="*/ 55896 h 655533"/>
                <a:gd name="connsiteX118" fmla="*/ 102217 w 913036"/>
                <a:gd name="connsiteY118" fmla="*/ 55896 h 655533"/>
                <a:gd name="connsiteX119" fmla="*/ 135627 w 913036"/>
                <a:gd name="connsiteY119" fmla="*/ 46902 h 655533"/>
                <a:gd name="connsiteX120" fmla="*/ 153616 w 913036"/>
                <a:gd name="connsiteY120" fmla="*/ 29554 h 655533"/>
                <a:gd name="connsiteX121" fmla="*/ 183171 w 913036"/>
                <a:gd name="connsiteY121" fmla="*/ 32767 h 655533"/>
                <a:gd name="connsiteX122" fmla="*/ 201803 w 913036"/>
                <a:gd name="connsiteY122" fmla="*/ 29554 h 655533"/>
                <a:gd name="connsiteX123" fmla="*/ 252559 w 913036"/>
                <a:gd name="connsiteY123" fmla="*/ 3855 h 655533"/>
                <a:gd name="connsiteX124" fmla="*/ 278901 w 913036"/>
                <a:gd name="connsiteY124" fmla="*/ 3855 h 655533"/>
                <a:gd name="connsiteX125" fmla="*/ 309741 w 913036"/>
                <a:gd name="connsiteY125" fmla="*/ 12207 h 655533"/>
                <a:gd name="connsiteX126" fmla="*/ 308456 w 913036"/>
                <a:gd name="connsiteY126" fmla="*/ 12850 h 655533"/>
                <a:gd name="connsiteX127" fmla="*/ 355357 w 913036"/>
                <a:gd name="connsiteY127" fmla="*/ 37264 h 655533"/>
                <a:gd name="connsiteX128" fmla="*/ 370134 w 913036"/>
                <a:gd name="connsiteY128" fmla="*/ 63606 h 655533"/>
                <a:gd name="connsiteX129" fmla="*/ 370777 w 913036"/>
                <a:gd name="connsiteY129" fmla="*/ 73244 h 655533"/>
                <a:gd name="connsiteX130" fmla="*/ 358570 w 913036"/>
                <a:gd name="connsiteY130" fmla="*/ 110508 h 655533"/>
                <a:gd name="connsiteX131" fmla="*/ 370777 w 913036"/>
                <a:gd name="connsiteY131" fmla="*/ 121430 h 655533"/>
                <a:gd name="connsiteX132" fmla="*/ 409326 w 913036"/>
                <a:gd name="connsiteY132" fmla="*/ 104725 h 655533"/>
                <a:gd name="connsiteX133" fmla="*/ 432456 w 913036"/>
                <a:gd name="connsiteY133" fmla="*/ 101513 h 655533"/>
                <a:gd name="connsiteX134" fmla="*/ 447233 w 913036"/>
                <a:gd name="connsiteY134" fmla="*/ 113078 h 655533"/>
                <a:gd name="connsiteX135" fmla="*/ 521761 w 913036"/>
                <a:gd name="connsiteY135" fmla="*/ 125285 h 655533"/>
                <a:gd name="connsiteX136" fmla="*/ 609140 w 913036"/>
                <a:gd name="connsiteY136" fmla="*/ 101513 h 655533"/>
                <a:gd name="connsiteX137" fmla="*/ 623917 w 913036"/>
                <a:gd name="connsiteY137" fmla="*/ 74529 h 655533"/>
                <a:gd name="connsiteX138" fmla="*/ 645762 w 913036"/>
                <a:gd name="connsiteY138" fmla="*/ 53969 h 655533"/>
                <a:gd name="connsiteX139" fmla="*/ 677244 w 913036"/>
                <a:gd name="connsiteY139" fmla="*/ 53969 h 655533"/>
                <a:gd name="connsiteX140" fmla="*/ 708725 w 913036"/>
                <a:gd name="connsiteY140" fmla="*/ 38549 h 655533"/>
                <a:gd name="connsiteX141" fmla="*/ 738280 w 913036"/>
                <a:gd name="connsiteY141" fmla="*/ 22487 h 655533"/>
                <a:gd name="connsiteX142" fmla="*/ 748560 w 913036"/>
                <a:gd name="connsiteY142" fmla="*/ 29554 h 655533"/>
                <a:gd name="connsiteX143" fmla="*/ 770404 w 913036"/>
                <a:gd name="connsiteY143" fmla="*/ 29554 h 655533"/>
                <a:gd name="connsiteX144" fmla="*/ 785181 w 913036"/>
                <a:gd name="connsiteY144" fmla="*/ 10280 h 655533"/>
                <a:gd name="connsiteX145" fmla="*/ 796104 w 913036"/>
                <a:gd name="connsiteY145" fmla="*/ 6425 h 655533"/>
                <a:gd name="connsiteX146" fmla="*/ 811523 w 913036"/>
                <a:gd name="connsiteY146" fmla="*/ 0 h 655533"/>
                <a:gd name="connsiteX147" fmla="*/ 807026 w 913036"/>
                <a:gd name="connsiteY147" fmla="*/ 13492 h 655533"/>
                <a:gd name="connsiteX148" fmla="*/ 815378 w 913036"/>
                <a:gd name="connsiteY148" fmla="*/ 24415 h 655533"/>
                <a:gd name="connsiteX149" fmla="*/ 850715 w 913036"/>
                <a:gd name="connsiteY149" fmla="*/ 39192 h 655533"/>
                <a:gd name="connsiteX150" fmla="*/ 878984 w 913036"/>
                <a:gd name="connsiteY150" fmla="*/ 49472 h 655533"/>
                <a:gd name="connsiteX151" fmla="*/ 891192 w 913036"/>
                <a:gd name="connsiteY151" fmla="*/ 70031 h 655533"/>
                <a:gd name="connsiteX152" fmla="*/ 887979 w 913036"/>
                <a:gd name="connsiteY152" fmla="*/ 86736 h 655533"/>
                <a:gd name="connsiteX153" fmla="*/ 889907 w 913036"/>
                <a:gd name="connsiteY153" fmla="*/ 104725 h 655533"/>
                <a:gd name="connsiteX154" fmla="*/ 913036 w 913036"/>
                <a:gd name="connsiteY154" fmla="*/ 127212 h 655533"/>
                <a:gd name="connsiteX155" fmla="*/ 908539 w 913036"/>
                <a:gd name="connsiteY155" fmla="*/ 149699 h 65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913036" h="655533">
                  <a:moveTo>
                    <a:pt x="908539" y="149699"/>
                  </a:moveTo>
                  <a:cubicBezTo>
                    <a:pt x="908539" y="152270"/>
                    <a:pt x="905969" y="150342"/>
                    <a:pt x="902114" y="160622"/>
                  </a:cubicBezTo>
                  <a:cubicBezTo>
                    <a:pt x="898259" y="170902"/>
                    <a:pt x="898259" y="190176"/>
                    <a:pt x="898259" y="192104"/>
                  </a:cubicBezTo>
                  <a:cubicBezTo>
                    <a:pt x="898259" y="193389"/>
                    <a:pt x="898259" y="211378"/>
                    <a:pt x="894404" y="221658"/>
                  </a:cubicBezTo>
                  <a:cubicBezTo>
                    <a:pt x="890549" y="231938"/>
                    <a:pt x="887337" y="236435"/>
                    <a:pt x="885409" y="246073"/>
                  </a:cubicBezTo>
                  <a:cubicBezTo>
                    <a:pt x="884124" y="255710"/>
                    <a:pt x="875130" y="271772"/>
                    <a:pt x="869990" y="282052"/>
                  </a:cubicBezTo>
                  <a:cubicBezTo>
                    <a:pt x="864850" y="292974"/>
                    <a:pt x="858425" y="301969"/>
                    <a:pt x="858425" y="306467"/>
                  </a:cubicBezTo>
                  <a:cubicBezTo>
                    <a:pt x="858425" y="310964"/>
                    <a:pt x="860352" y="310321"/>
                    <a:pt x="857782" y="319959"/>
                  </a:cubicBezTo>
                  <a:cubicBezTo>
                    <a:pt x="855212" y="329596"/>
                    <a:pt x="853928" y="333451"/>
                    <a:pt x="848788" y="334736"/>
                  </a:cubicBezTo>
                  <a:cubicBezTo>
                    <a:pt x="843648" y="336663"/>
                    <a:pt x="828228" y="337948"/>
                    <a:pt x="824373" y="336021"/>
                  </a:cubicBezTo>
                  <a:cubicBezTo>
                    <a:pt x="820518" y="334093"/>
                    <a:pt x="814736" y="328954"/>
                    <a:pt x="810238" y="328311"/>
                  </a:cubicBezTo>
                  <a:cubicBezTo>
                    <a:pt x="805098" y="327669"/>
                    <a:pt x="791606" y="330238"/>
                    <a:pt x="790964" y="323171"/>
                  </a:cubicBezTo>
                  <a:cubicBezTo>
                    <a:pt x="790964" y="316104"/>
                    <a:pt x="793534" y="312249"/>
                    <a:pt x="794176" y="305181"/>
                  </a:cubicBezTo>
                  <a:cubicBezTo>
                    <a:pt x="795461" y="298757"/>
                    <a:pt x="794819" y="294259"/>
                    <a:pt x="791606" y="289119"/>
                  </a:cubicBezTo>
                  <a:cubicBezTo>
                    <a:pt x="788394" y="283979"/>
                    <a:pt x="782611" y="276270"/>
                    <a:pt x="782611" y="276270"/>
                  </a:cubicBezTo>
                  <a:cubicBezTo>
                    <a:pt x="782611" y="276270"/>
                    <a:pt x="776187" y="262135"/>
                    <a:pt x="765264" y="257637"/>
                  </a:cubicBezTo>
                  <a:cubicBezTo>
                    <a:pt x="754342" y="253140"/>
                    <a:pt x="753699" y="249285"/>
                    <a:pt x="744705" y="249928"/>
                  </a:cubicBezTo>
                  <a:cubicBezTo>
                    <a:pt x="735710" y="251213"/>
                    <a:pt x="727357" y="251855"/>
                    <a:pt x="724145" y="251855"/>
                  </a:cubicBezTo>
                  <a:cubicBezTo>
                    <a:pt x="720290" y="251855"/>
                    <a:pt x="718363" y="248000"/>
                    <a:pt x="714508" y="245430"/>
                  </a:cubicBezTo>
                  <a:cubicBezTo>
                    <a:pt x="711295" y="242860"/>
                    <a:pt x="704228" y="241575"/>
                    <a:pt x="699088" y="242860"/>
                  </a:cubicBezTo>
                  <a:cubicBezTo>
                    <a:pt x="693948" y="244145"/>
                    <a:pt x="686238" y="245430"/>
                    <a:pt x="687523" y="252497"/>
                  </a:cubicBezTo>
                  <a:cubicBezTo>
                    <a:pt x="689451" y="259565"/>
                    <a:pt x="692021" y="260207"/>
                    <a:pt x="689451" y="263420"/>
                  </a:cubicBezTo>
                  <a:cubicBezTo>
                    <a:pt x="686881" y="266632"/>
                    <a:pt x="685596" y="269845"/>
                    <a:pt x="688166" y="273057"/>
                  </a:cubicBezTo>
                  <a:cubicBezTo>
                    <a:pt x="690736" y="276270"/>
                    <a:pt x="696518" y="276270"/>
                    <a:pt x="699731" y="281409"/>
                  </a:cubicBezTo>
                  <a:cubicBezTo>
                    <a:pt x="702943" y="286549"/>
                    <a:pt x="708725" y="291689"/>
                    <a:pt x="711295" y="291689"/>
                  </a:cubicBezTo>
                  <a:cubicBezTo>
                    <a:pt x="713865" y="291689"/>
                    <a:pt x="718363" y="292974"/>
                    <a:pt x="718363" y="296187"/>
                  </a:cubicBezTo>
                  <a:cubicBezTo>
                    <a:pt x="718363" y="299399"/>
                    <a:pt x="716435" y="307109"/>
                    <a:pt x="713865" y="310321"/>
                  </a:cubicBezTo>
                  <a:cubicBezTo>
                    <a:pt x="711295" y="313534"/>
                    <a:pt x="710653" y="316104"/>
                    <a:pt x="705513" y="319316"/>
                  </a:cubicBezTo>
                  <a:cubicBezTo>
                    <a:pt x="699731" y="322529"/>
                    <a:pt x="690736" y="325741"/>
                    <a:pt x="689451" y="326383"/>
                  </a:cubicBezTo>
                  <a:cubicBezTo>
                    <a:pt x="688166" y="327026"/>
                    <a:pt x="684311" y="328311"/>
                    <a:pt x="674031" y="332808"/>
                  </a:cubicBezTo>
                  <a:cubicBezTo>
                    <a:pt x="663751" y="337306"/>
                    <a:pt x="651544" y="343088"/>
                    <a:pt x="643192" y="348871"/>
                  </a:cubicBezTo>
                  <a:cubicBezTo>
                    <a:pt x="634839" y="355295"/>
                    <a:pt x="623275" y="357223"/>
                    <a:pt x="615565" y="357866"/>
                  </a:cubicBezTo>
                  <a:cubicBezTo>
                    <a:pt x="607855" y="358508"/>
                    <a:pt x="609140" y="356580"/>
                    <a:pt x="602715" y="359793"/>
                  </a:cubicBezTo>
                  <a:cubicBezTo>
                    <a:pt x="596290" y="363005"/>
                    <a:pt x="588580" y="366218"/>
                    <a:pt x="586653" y="370715"/>
                  </a:cubicBezTo>
                  <a:cubicBezTo>
                    <a:pt x="584725" y="374570"/>
                    <a:pt x="580228" y="379710"/>
                    <a:pt x="577015" y="379710"/>
                  </a:cubicBezTo>
                  <a:cubicBezTo>
                    <a:pt x="573803" y="379710"/>
                    <a:pt x="569948" y="377782"/>
                    <a:pt x="566093" y="379068"/>
                  </a:cubicBezTo>
                  <a:cubicBezTo>
                    <a:pt x="562238" y="380353"/>
                    <a:pt x="550673" y="387420"/>
                    <a:pt x="542964" y="393202"/>
                  </a:cubicBezTo>
                  <a:cubicBezTo>
                    <a:pt x="534611" y="398985"/>
                    <a:pt x="533969" y="400270"/>
                    <a:pt x="529471" y="400270"/>
                  </a:cubicBezTo>
                  <a:cubicBezTo>
                    <a:pt x="524974" y="400270"/>
                    <a:pt x="512124" y="398985"/>
                    <a:pt x="508269" y="400270"/>
                  </a:cubicBezTo>
                  <a:cubicBezTo>
                    <a:pt x="503772" y="401555"/>
                    <a:pt x="492207" y="404767"/>
                    <a:pt x="487710" y="410549"/>
                  </a:cubicBezTo>
                  <a:cubicBezTo>
                    <a:pt x="483212" y="416332"/>
                    <a:pt x="479357" y="418902"/>
                    <a:pt x="478072" y="429181"/>
                  </a:cubicBezTo>
                  <a:cubicBezTo>
                    <a:pt x="476787" y="439461"/>
                    <a:pt x="472290" y="453596"/>
                    <a:pt x="466508" y="455523"/>
                  </a:cubicBezTo>
                  <a:cubicBezTo>
                    <a:pt x="460725" y="457451"/>
                    <a:pt x="451730" y="456809"/>
                    <a:pt x="447875" y="455523"/>
                  </a:cubicBezTo>
                  <a:cubicBezTo>
                    <a:pt x="444663" y="454239"/>
                    <a:pt x="442093" y="450384"/>
                    <a:pt x="437596" y="450384"/>
                  </a:cubicBezTo>
                  <a:cubicBezTo>
                    <a:pt x="433098" y="450384"/>
                    <a:pt x="425388" y="451669"/>
                    <a:pt x="423461" y="453596"/>
                  </a:cubicBezTo>
                  <a:cubicBezTo>
                    <a:pt x="421533" y="454881"/>
                    <a:pt x="416394" y="456809"/>
                    <a:pt x="415109" y="458736"/>
                  </a:cubicBezTo>
                  <a:cubicBezTo>
                    <a:pt x="413824" y="460663"/>
                    <a:pt x="412539" y="465803"/>
                    <a:pt x="410611" y="467088"/>
                  </a:cubicBezTo>
                  <a:cubicBezTo>
                    <a:pt x="408684" y="468373"/>
                    <a:pt x="397119" y="470943"/>
                    <a:pt x="395834" y="472228"/>
                  </a:cubicBezTo>
                  <a:cubicBezTo>
                    <a:pt x="394549" y="473513"/>
                    <a:pt x="393907" y="479296"/>
                    <a:pt x="393907" y="487648"/>
                  </a:cubicBezTo>
                  <a:cubicBezTo>
                    <a:pt x="393907" y="496000"/>
                    <a:pt x="390052" y="506280"/>
                    <a:pt x="381699" y="506922"/>
                  </a:cubicBezTo>
                  <a:cubicBezTo>
                    <a:pt x="372705" y="507565"/>
                    <a:pt x="358570" y="506922"/>
                    <a:pt x="355357" y="506922"/>
                  </a:cubicBezTo>
                  <a:cubicBezTo>
                    <a:pt x="352145" y="506922"/>
                    <a:pt x="352145" y="506280"/>
                    <a:pt x="350860" y="510777"/>
                  </a:cubicBezTo>
                  <a:cubicBezTo>
                    <a:pt x="349575" y="515275"/>
                    <a:pt x="350218" y="516560"/>
                    <a:pt x="345720" y="521700"/>
                  </a:cubicBezTo>
                  <a:cubicBezTo>
                    <a:pt x="341223" y="526840"/>
                    <a:pt x="338010" y="534550"/>
                    <a:pt x="334155" y="540332"/>
                  </a:cubicBezTo>
                  <a:cubicBezTo>
                    <a:pt x="330300" y="546114"/>
                    <a:pt x="325803" y="549969"/>
                    <a:pt x="320021" y="548684"/>
                  </a:cubicBezTo>
                  <a:cubicBezTo>
                    <a:pt x="313596" y="548042"/>
                    <a:pt x="305886" y="544187"/>
                    <a:pt x="301388" y="542259"/>
                  </a:cubicBezTo>
                  <a:cubicBezTo>
                    <a:pt x="296891" y="540332"/>
                    <a:pt x="292394" y="537762"/>
                    <a:pt x="289824" y="537119"/>
                  </a:cubicBezTo>
                  <a:cubicBezTo>
                    <a:pt x="287254" y="536477"/>
                    <a:pt x="280829" y="530052"/>
                    <a:pt x="278901" y="530052"/>
                  </a:cubicBezTo>
                  <a:cubicBezTo>
                    <a:pt x="276974" y="530695"/>
                    <a:pt x="273761" y="531979"/>
                    <a:pt x="273119" y="535192"/>
                  </a:cubicBezTo>
                  <a:cubicBezTo>
                    <a:pt x="271834" y="537762"/>
                    <a:pt x="269264" y="537762"/>
                    <a:pt x="267979" y="538404"/>
                  </a:cubicBezTo>
                  <a:cubicBezTo>
                    <a:pt x="266694" y="539047"/>
                    <a:pt x="257699" y="540974"/>
                    <a:pt x="254487" y="542902"/>
                  </a:cubicBezTo>
                  <a:cubicBezTo>
                    <a:pt x="250632" y="544829"/>
                    <a:pt x="244207" y="549969"/>
                    <a:pt x="236497" y="551254"/>
                  </a:cubicBezTo>
                  <a:cubicBezTo>
                    <a:pt x="228787" y="552539"/>
                    <a:pt x="223005" y="549969"/>
                    <a:pt x="219150" y="551254"/>
                  </a:cubicBezTo>
                  <a:cubicBezTo>
                    <a:pt x="215295" y="552539"/>
                    <a:pt x="199875" y="557679"/>
                    <a:pt x="197948" y="558964"/>
                  </a:cubicBezTo>
                  <a:cubicBezTo>
                    <a:pt x="196021" y="560249"/>
                    <a:pt x="192166" y="558321"/>
                    <a:pt x="183171" y="565389"/>
                  </a:cubicBezTo>
                  <a:cubicBezTo>
                    <a:pt x="174176" y="572456"/>
                    <a:pt x="167751" y="577596"/>
                    <a:pt x="165824" y="582094"/>
                  </a:cubicBezTo>
                  <a:cubicBezTo>
                    <a:pt x="163896" y="587233"/>
                    <a:pt x="162611" y="589161"/>
                    <a:pt x="158756" y="594301"/>
                  </a:cubicBezTo>
                  <a:cubicBezTo>
                    <a:pt x="154259" y="599441"/>
                    <a:pt x="152974" y="602011"/>
                    <a:pt x="151046" y="603938"/>
                  </a:cubicBezTo>
                  <a:cubicBezTo>
                    <a:pt x="150404" y="604581"/>
                    <a:pt x="148476" y="606508"/>
                    <a:pt x="147191" y="608436"/>
                  </a:cubicBezTo>
                  <a:cubicBezTo>
                    <a:pt x="146549" y="609720"/>
                    <a:pt x="145264" y="611005"/>
                    <a:pt x="144622" y="612290"/>
                  </a:cubicBezTo>
                  <a:cubicBezTo>
                    <a:pt x="143979" y="612933"/>
                    <a:pt x="143979" y="613575"/>
                    <a:pt x="143337" y="614218"/>
                  </a:cubicBezTo>
                  <a:cubicBezTo>
                    <a:pt x="142694" y="614860"/>
                    <a:pt x="142694" y="615503"/>
                    <a:pt x="142694" y="616145"/>
                  </a:cubicBezTo>
                  <a:cubicBezTo>
                    <a:pt x="142694" y="616145"/>
                    <a:pt x="142694" y="616788"/>
                    <a:pt x="142694" y="616788"/>
                  </a:cubicBezTo>
                  <a:cubicBezTo>
                    <a:pt x="142694" y="617430"/>
                    <a:pt x="142051" y="618073"/>
                    <a:pt x="142051" y="618715"/>
                  </a:cubicBezTo>
                  <a:cubicBezTo>
                    <a:pt x="141409" y="624498"/>
                    <a:pt x="143337" y="623213"/>
                    <a:pt x="143337" y="628995"/>
                  </a:cubicBezTo>
                  <a:cubicBezTo>
                    <a:pt x="143337" y="634777"/>
                    <a:pt x="144622" y="643130"/>
                    <a:pt x="139482" y="648912"/>
                  </a:cubicBezTo>
                  <a:cubicBezTo>
                    <a:pt x="134342" y="655337"/>
                    <a:pt x="125989" y="655980"/>
                    <a:pt x="125347" y="655337"/>
                  </a:cubicBezTo>
                  <a:cubicBezTo>
                    <a:pt x="124704" y="654052"/>
                    <a:pt x="125347" y="649555"/>
                    <a:pt x="124062" y="644415"/>
                  </a:cubicBezTo>
                  <a:cubicBezTo>
                    <a:pt x="122135" y="639275"/>
                    <a:pt x="120207" y="635420"/>
                    <a:pt x="115710" y="630923"/>
                  </a:cubicBezTo>
                  <a:cubicBezTo>
                    <a:pt x="111212" y="626425"/>
                    <a:pt x="109927" y="623855"/>
                    <a:pt x="109285" y="620000"/>
                  </a:cubicBezTo>
                  <a:cubicBezTo>
                    <a:pt x="108642" y="616145"/>
                    <a:pt x="106715" y="614218"/>
                    <a:pt x="104145" y="611648"/>
                  </a:cubicBezTo>
                  <a:cubicBezTo>
                    <a:pt x="101575" y="609078"/>
                    <a:pt x="101575" y="606508"/>
                    <a:pt x="99005" y="602011"/>
                  </a:cubicBezTo>
                  <a:cubicBezTo>
                    <a:pt x="96435" y="597513"/>
                    <a:pt x="96435" y="594943"/>
                    <a:pt x="88083" y="596871"/>
                  </a:cubicBezTo>
                  <a:cubicBezTo>
                    <a:pt x="82300" y="598156"/>
                    <a:pt x="78445" y="596871"/>
                    <a:pt x="77160" y="598798"/>
                  </a:cubicBezTo>
                  <a:cubicBezTo>
                    <a:pt x="77160" y="598798"/>
                    <a:pt x="76518" y="599441"/>
                    <a:pt x="76518" y="600083"/>
                  </a:cubicBezTo>
                  <a:cubicBezTo>
                    <a:pt x="65596" y="594301"/>
                    <a:pt x="51461" y="594301"/>
                    <a:pt x="39253" y="589161"/>
                  </a:cubicBezTo>
                  <a:cubicBezTo>
                    <a:pt x="36041" y="587876"/>
                    <a:pt x="32186" y="585306"/>
                    <a:pt x="31544" y="582094"/>
                  </a:cubicBezTo>
                  <a:cubicBezTo>
                    <a:pt x="30901" y="579524"/>
                    <a:pt x="32186" y="577596"/>
                    <a:pt x="32829" y="575026"/>
                  </a:cubicBezTo>
                  <a:cubicBezTo>
                    <a:pt x="34114" y="569886"/>
                    <a:pt x="31544" y="564746"/>
                    <a:pt x="27689" y="561534"/>
                  </a:cubicBezTo>
                  <a:cubicBezTo>
                    <a:pt x="23834" y="558321"/>
                    <a:pt x="18051" y="557037"/>
                    <a:pt x="12269" y="557679"/>
                  </a:cubicBezTo>
                  <a:cubicBezTo>
                    <a:pt x="9699" y="557679"/>
                    <a:pt x="7129" y="558321"/>
                    <a:pt x="5202" y="557679"/>
                  </a:cubicBezTo>
                  <a:cubicBezTo>
                    <a:pt x="2632" y="557037"/>
                    <a:pt x="62" y="555752"/>
                    <a:pt x="62" y="553182"/>
                  </a:cubicBezTo>
                  <a:cubicBezTo>
                    <a:pt x="-581" y="549969"/>
                    <a:pt x="3917" y="548042"/>
                    <a:pt x="7129" y="545472"/>
                  </a:cubicBezTo>
                  <a:cubicBezTo>
                    <a:pt x="10342" y="542259"/>
                    <a:pt x="10984" y="537119"/>
                    <a:pt x="11627" y="531979"/>
                  </a:cubicBezTo>
                  <a:cubicBezTo>
                    <a:pt x="12269" y="524912"/>
                    <a:pt x="12912" y="517202"/>
                    <a:pt x="16766" y="510777"/>
                  </a:cubicBezTo>
                  <a:cubicBezTo>
                    <a:pt x="20621" y="504353"/>
                    <a:pt x="28331" y="499855"/>
                    <a:pt x="36041" y="501140"/>
                  </a:cubicBezTo>
                  <a:cubicBezTo>
                    <a:pt x="39896" y="501783"/>
                    <a:pt x="43108" y="504353"/>
                    <a:pt x="47606" y="504995"/>
                  </a:cubicBezTo>
                  <a:cubicBezTo>
                    <a:pt x="51461" y="505638"/>
                    <a:pt x="55316" y="504353"/>
                    <a:pt x="58528" y="502425"/>
                  </a:cubicBezTo>
                  <a:cubicBezTo>
                    <a:pt x="61098" y="501140"/>
                    <a:pt x="63026" y="499213"/>
                    <a:pt x="65596" y="497928"/>
                  </a:cubicBezTo>
                  <a:cubicBezTo>
                    <a:pt x="72020" y="492788"/>
                    <a:pt x="78445" y="487648"/>
                    <a:pt x="85513" y="482508"/>
                  </a:cubicBezTo>
                  <a:cubicBezTo>
                    <a:pt x="102217" y="469658"/>
                    <a:pt x="118922" y="456166"/>
                    <a:pt x="130487" y="439461"/>
                  </a:cubicBezTo>
                  <a:cubicBezTo>
                    <a:pt x="124062" y="435606"/>
                    <a:pt x="113782" y="440104"/>
                    <a:pt x="109285" y="434321"/>
                  </a:cubicBezTo>
                  <a:cubicBezTo>
                    <a:pt x="108000" y="432394"/>
                    <a:pt x="107357" y="429824"/>
                    <a:pt x="107357" y="427254"/>
                  </a:cubicBezTo>
                  <a:cubicBezTo>
                    <a:pt x="106715" y="420829"/>
                    <a:pt x="106072" y="414404"/>
                    <a:pt x="105430" y="407979"/>
                  </a:cubicBezTo>
                  <a:cubicBezTo>
                    <a:pt x="104787" y="402840"/>
                    <a:pt x="104145" y="397700"/>
                    <a:pt x="106715" y="392560"/>
                  </a:cubicBezTo>
                  <a:cubicBezTo>
                    <a:pt x="109285" y="388062"/>
                    <a:pt x="113782" y="386135"/>
                    <a:pt x="118280" y="384207"/>
                  </a:cubicBezTo>
                  <a:cubicBezTo>
                    <a:pt x="118280" y="384207"/>
                    <a:pt x="135627" y="377782"/>
                    <a:pt x="142694" y="373285"/>
                  </a:cubicBezTo>
                  <a:cubicBezTo>
                    <a:pt x="150404" y="369430"/>
                    <a:pt x="168393" y="363005"/>
                    <a:pt x="170963" y="357223"/>
                  </a:cubicBezTo>
                  <a:cubicBezTo>
                    <a:pt x="174176" y="352083"/>
                    <a:pt x="191523" y="347586"/>
                    <a:pt x="189596" y="336663"/>
                  </a:cubicBezTo>
                  <a:cubicBezTo>
                    <a:pt x="187668" y="325099"/>
                    <a:pt x="193450" y="328311"/>
                    <a:pt x="176746" y="311606"/>
                  </a:cubicBezTo>
                  <a:cubicBezTo>
                    <a:pt x="160041" y="294902"/>
                    <a:pt x="151046" y="277555"/>
                    <a:pt x="130487" y="271130"/>
                  </a:cubicBezTo>
                  <a:cubicBezTo>
                    <a:pt x="120207" y="267917"/>
                    <a:pt x="109285" y="267275"/>
                    <a:pt x="99647" y="265347"/>
                  </a:cubicBezTo>
                  <a:cubicBezTo>
                    <a:pt x="90010" y="263420"/>
                    <a:pt x="82300" y="260850"/>
                    <a:pt x="79730" y="253140"/>
                  </a:cubicBezTo>
                  <a:cubicBezTo>
                    <a:pt x="74590" y="238363"/>
                    <a:pt x="70736" y="197244"/>
                    <a:pt x="64953" y="182466"/>
                  </a:cubicBezTo>
                  <a:cubicBezTo>
                    <a:pt x="62383" y="175399"/>
                    <a:pt x="59171" y="169617"/>
                    <a:pt x="57886" y="164477"/>
                  </a:cubicBezTo>
                  <a:cubicBezTo>
                    <a:pt x="55958" y="158694"/>
                    <a:pt x="55958" y="153554"/>
                    <a:pt x="58528" y="147130"/>
                  </a:cubicBezTo>
                  <a:cubicBezTo>
                    <a:pt x="63668" y="135565"/>
                    <a:pt x="64953" y="122715"/>
                    <a:pt x="64953" y="107295"/>
                  </a:cubicBezTo>
                  <a:cubicBezTo>
                    <a:pt x="64953" y="92518"/>
                    <a:pt x="69450" y="61679"/>
                    <a:pt x="78445" y="55896"/>
                  </a:cubicBezTo>
                  <a:cubicBezTo>
                    <a:pt x="87440" y="49472"/>
                    <a:pt x="87440" y="57181"/>
                    <a:pt x="102217" y="55896"/>
                  </a:cubicBezTo>
                  <a:cubicBezTo>
                    <a:pt x="116994" y="54611"/>
                    <a:pt x="129202" y="55254"/>
                    <a:pt x="135627" y="46902"/>
                  </a:cubicBezTo>
                  <a:cubicBezTo>
                    <a:pt x="142051" y="38549"/>
                    <a:pt x="143337" y="29554"/>
                    <a:pt x="153616" y="29554"/>
                  </a:cubicBezTo>
                  <a:cubicBezTo>
                    <a:pt x="163896" y="29554"/>
                    <a:pt x="176103" y="32767"/>
                    <a:pt x="183171" y="32767"/>
                  </a:cubicBezTo>
                  <a:cubicBezTo>
                    <a:pt x="189596" y="32767"/>
                    <a:pt x="200518" y="28269"/>
                    <a:pt x="201803" y="29554"/>
                  </a:cubicBezTo>
                  <a:cubicBezTo>
                    <a:pt x="203088" y="30839"/>
                    <a:pt x="238425" y="3855"/>
                    <a:pt x="252559" y="3855"/>
                  </a:cubicBezTo>
                  <a:cubicBezTo>
                    <a:pt x="266694" y="3855"/>
                    <a:pt x="266052" y="643"/>
                    <a:pt x="278901" y="3855"/>
                  </a:cubicBezTo>
                  <a:cubicBezTo>
                    <a:pt x="289181" y="6425"/>
                    <a:pt x="299461" y="10280"/>
                    <a:pt x="309741" y="12207"/>
                  </a:cubicBezTo>
                  <a:cubicBezTo>
                    <a:pt x="309098" y="12850"/>
                    <a:pt x="308456" y="12850"/>
                    <a:pt x="308456" y="12850"/>
                  </a:cubicBezTo>
                  <a:cubicBezTo>
                    <a:pt x="308456" y="12850"/>
                    <a:pt x="348932" y="34052"/>
                    <a:pt x="355357" y="37264"/>
                  </a:cubicBezTo>
                  <a:cubicBezTo>
                    <a:pt x="360497" y="39834"/>
                    <a:pt x="367565" y="50756"/>
                    <a:pt x="370134" y="63606"/>
                  </a:cubicBezTo>
                  <a:cubicBezTo>
                    <a:pt x="370777" y="66819"/>
                    <a:pt x="370777" y="70031"/>
                    <a:pt x="370777" y="73244"/>
                  </a:cubicBezTo>
                  <a:cubicBezTo>
                    <a:pt x="369492" y="89306"/>
                    <a:pt x="358570" y="107295"/>
                    <a:pt x="358570" y="110508"/>
                  </a:cubicBezTo>
                  <a:cubicBezTo>
                    <a:pt x="358570" y="113720"/>
                    <a:pt x="357285" y="125928"/>
                    <a:pt x="370777" y="121430"/>
                  </a:cubicBezTo>
                  <a:cubicBezTo>
                    <a:pt x="384912" y="116933"/>
                    <a:pt x="402901" y="106653"/>
                    <a:pt x="409326" y="104725"/>
                  </a:cubicBezTo>
                  <a:cubicBezTo>
                    <a:pt x="415751" y="102798"/>
                    <a:pt x="424104" y="95088"/>
                    <a:pt x="432456" y="101513"/>
                  </a:cubicBezTo>
                  <a:cubicBezTo>
                    <a:pt x="440808" y="107938"/>
                    <a:pt x="431813" y="106653"/>
                    <a:pt x="447233" y="113078"/>
                  </a:cubicBezTo>
                  <a:cubicBezTo>
                    <a:pt x="462653" y="119503"/>
                    <a:pt x="510839" y="125285"/>
                    <a:pt x="521761" y="125285"/>
                  </a:cubicBezTo>
                  <a:cubicBezTo>
                    <a:pt x="532684" y="125285"/>
                    <a:pt x="600145" y="112435"/>
                    <a:pt x="609140" y="101513"/>
                  </a:cubicBezTo>
                  <a:cubicBezTo>
                    <a:pt x="618135" y="90591"/>
                    <a:pt x="619420" y="87378"/>
                    <a:pt x="623917" y="74529"/>
                  </a:cubicBezTo>
                  <a:cubicBezTo>
                    <a:pt x="628414" y="61679"/>
                    <a:pt x="638052" y="53969"/>
                    <a:pt x="645762" y="53969"/>
                  </a:cubicBezTo>
                  <a:cubicBezTo>
                    <a:pt x="652829" y="53969"/>
                    <a:pt x="662466" y="57181"/>
                    <a:pt x="677244" y="53969"/>
                  </a:cubicBezTo>
                  <a:cubicBezTo>
                    <a:pt x="692021" y="50756"/>
                    <a:pt x="697161" y="48187"/>
                    <a:pt x="708725" y="38549"/>
                  </a:cubicBezTo>
                  <a:cubicBezTo>
                    <a:pt x="720290" y="28912"/>
                    <a:pt x="735710" y="22487"/>
                    <a:pt x="738280" y="22487"/>
                  </a:cubicBezTo>
                  <a:cubicBezTo>
                    <a:pt x="740850" y="22487"/>
                    <a:pt x="740850" y="29554"/>
                    <a:pt x="748560" y="29554"/>
                  </a:cubicBezTo>
                  <a:cubicBezTo>
                    <a:pt x="756269" y="30197"/>
                    <a:pt x="763979" y="37264"/>
                    <a:pt x="770404" y="29554"/>
                  </a:cubicBezTo>
                  <a:cubicBezTo>
                    <a:pt x="776829" y="21845"/>
                    <a:pt x="780684" y="12850"/>
                    <a:pt x="785181" y="10280"/>
                  </a:cubicBezTo>
                  <a:cubicBezTo>
                    <a:pt x="789679" y="7710"/>
                    <a:pt x="790321" y="6425"/>
                    <a:pt x="796104" y="6425"/>
                  </a:cubicBezTo>
                  <a:cubicBezTo>
                    <a:pt x="798674" y="6425"/>
                    <a:pt x="805098" y="3855"/>
                    <a:pt x="811523" y="0"/>
                  </a:cubicBezTo>
                  <a:cubicBezTo>
                    <a:pt x="808953" y="5140"/>
                    <a:pt x="807026" y="10280"/>
                    <a:pt x="807026" y="13492"/>
                  </a:cubicBezTo>
                  <a:cubicBezTo>
                    <a:pt x="807026" y="18632"/>
                    <a:pt x="812166" y="21845"/>
                    <a:pt x="815378" y="24415"/>
                  </a:cubicBezTo>
                  <a:cubicBezTo>
                    <a:pt x="818591" y="26984"/>
                    <a:pt x="835938" y="34694"/>
                    <a:pt x="850715" y="39192"/>
                  </a:cubicBezTo>
                  <a:cubicBezTo>
                    <a:pt x="865492" y="43689"/>
                    <a:pt x="869990" y="43689"/>
                    <a:pt x="878984" y="49472"/>
                  </a:cubicBezTo>
                  <a:cubicBezTo>
                    <a:pt x="887979" y="55254"/>
                    <a:pt x="890549" y="66819"/>
                    <a:pt x="891192" y="70031"/>
                  </a:cubicBezTo>
                  <a:cubicBezTo>
                    <a:pt x="891834" y="73244"/>
                    <a:pt x="887979" y="79026"/>
                    <a:pt x="887979" y="86736"/>
                  </a:cubicBezTo>
                  <a:cubicBezTo>
                    <a:pt x="887337" y="94446"/>
                    <a:pt x="883482" y="96373"/>
                    <a:pt x="889907" y="104725"/>
                  </a:cubicBezTo>
                  <a:cubicBezTo>
                    <a:pt x="896332" y="113720"/>
                    <a:pt x="911751" y="122073"/>
                    <a:pt x="913036" y="127212"/>
                  </a:cubicBezTo>
                  <a:cubicBezTo>
                    <a:pt x="909181" y="136207"/>
                    <a:pt x="909181" y="147130"/>
                    <a:pt x="908539" y="149699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5" name="Freihandform 464">
              <a:extLst>
                <a:ext uri="{FF2B5EF4-FFF2-40B4-BE49-F238E27FC236}">
                  <a16:creationId xmlns:a16="http://schemas.microsoft.com/office/drawing/2014/main" id="{2AA82DC4-128F-D8B7-1843-18B2127D880D}"/>
                </a:ext>
              </a:extLst>
            </p:cNvPr>
            <p:cNvSpPr/>
            <p:nvPr/>
          </p:nvSpPr>
          <p:spPr>
            <a:xfrm>
              <a:off x="2297683" y="3687294"/>
              <a:ext cx="709427" cy="984161"/>
            </a:xfrm>
            <a:custGeom>
              <a:avLst/>
              <a:gdLst>
                <a:gd name="connsiteX0" fmla="*/ 708612 w 709427"/>
                <a:gd name="connsiteY0" fmla="*/ 260207 h 984161"/>
                <a:gd name="connsiteX1" fmla="*/ 704757 w 709427"/>
                <a:gd name="connsiteY1" fmla="*/ 267275 h 984161"/>
                <a:gd name="connsiteX2" fmla="*/ 691265 w 709427"/>
                <a:gd name="connsiteY2" fmla="*/ 285907 h 984161"/>
                <a:gd name="connsiteX3" fmla="*/ 673918 w 709427"/>
                <a:gd name="connsiteY3" fmla="*/ 307109 h 984161"/>
                <a:gd name="connsiteX4" fmla="*/ 663638 w 709427"/>
                <a:gd name="connsiteY4" fmla="*/ 321244 h 984161"/>
                <a:gd name="connsiteX5" fmla="*/ 643721 w 709427"/>
                <a:gd name="connsiteY5" fmla="*/ 354653 h 984161"/>
                <a:gd name="connsiteX6" fmla="*/ 639866 w 709427"/>
                <a:gd name="connsiteY6" fmla="*/ 425327 h 984161"/>
                <a:gd name="connsiteX7" fmla="*/ 640509 w 709427"/>
                <a:gd name="connsiteY7" fmla="*/ 427254 h 984161"/>
                <a:gd name="connsiteX8" fmla="*/ 650146 w 709427"/>
                <a:gd name="connsiteY8" fmla="*/ 428539 h 984161"/>
                <a:gd name="connsiteX9" fmla="*/ 659141 w 709427"/>
                <a:gd name="connsiteY9" fmla="*/ 422114 h 984161"/>
                <a:gd name="connsiteX10" fmla="*/ 666208 w 709427"/>
                <a:gd name="connsiteY10" fmla="*/ 422114 h 984161"/>
                <a:gd name="connsiteX11" fmla="*/ 682270 w 709427"/>
                <a:gd name="connsiteY11" fmla="*/ 440104 h 984161"/>
                <a:gd name="connsiteX12" fmla="*/ 671348 w 709427"/>
                <a:gd name="connsiteY12" fmla="*/ 465803 h 984161"/>
                <a:gd name="connsiteX13" fmla="*/ 668136 w 709427"/>
                <a:gd name="connsiteY13" fmla="*/ 483150 h 984161"/>
                <a:gd name="connsiteX14" fmla="*/ 670063 w 709427"/>
                <a:gd name="connsiteY14" fmla="*/ 498570 h 984161"/>
                <a:gd name="connsiteX15" fmla="*/ 670063 w 709427"/>
                <a:gd name="connsiteY15" fmla="*/ 498570 h 984161"/>
                <a:gd name="connsiteX16" fmla="*/ 652073 w 709427"/>
                <a:gd name="connsiteY16" fmla="*/ 529410 h 984161"/>
                <a:gd name="connsiteX17" fmla="*/ 619307 w 709427"/>
                <a:gd name="connsiteY17" fmla="*/ 548684 h 984161"/>
                <a:gd name="connsiteX18" fmla="*/ 551203 w 709427"/>
                <a:gd name="connsiteY18" fmla="*/ 618073 h 984161"/>
                <a:gd name="connsiteX19" fmla="*/ 530643 w 709427"/>
                <a:gd name="connsiteY19" fmla="*/ 618073 h 984161"/>
                <a:gd name="connsiteX20" fmla="*/ 511369 w 709427"/>
                <a:gd name="connsiteY20" fmla="*/ 618715 h 984161"/>
                <a:gd name="connsiteX21" fmla="*/ 511369 w 709427"/>
                <a:gd name="connsiteY21" fmla="*/ 643772 h 984161"/>
                <a:gd name="connsiteX22" fmla="*/ 520363 w 709427"/>
                <a:gd name="connsiteY22" fmla="*/ 668187 h 984161"/>
                <a:gd name="connsiteX23" fmla="*/ 496591 w 709427"/>
                <a:gd name="connsiteY23" fmla="*/ 675254 h 984161"/>
                <a:gd name="connsiteX24" fmla="*/ 469607 w 709427"/>
                <a:gd name="connsiteY24" fmla="*/ 663689 h 984161"/>
                <a:gd name="connsiteX25" fmla="*/ 425275 w 709427"/>
                <a:gd name="connsiteY25" fmla="*/ 654695 h 984161"/>
                <a:gd name="connsiteX26" fmla="*/ 364882 w 709427"/>
                <a:gd name="connsiteY26" fmla="*/ 675254 h 984161"/>
                <a:gd name="connsiteX27" fmla="*/ 360384 w 709427"/>
                <a:gd name="connsiteY27" fmla="*/ 712519 h 984161"/>
                <a:gd name="connsiteX28" fmla="*/ 386726 w 709427"/>
                <a:gd name="connsiteY28" fmla="*/ 799254 h 984161"/>
                <a:gd name="connsiteX29" fmla="*/ 401503 w 709427"/>
                <a:gd name="connsiteY29" fmla="*/ 833949 h 984161"/>
                <a:gd name="connsiteX30" fmla="*/ 390581 w 709427"/>
                <a:gd name="connsiteY30" fmla="*/ 873140 h 984161"/>
                <a:gd name="connsiteX31" fmla="*/ 392509 w 709427"/>
                <a:gd name="connsiteY31" fmla="*/ 894342 h 984161"/>
                <a:gd name="connsiteX32" fmla="*/ 401503 w 709427"/>
                <a:gd name="connsiteY32" fmla="*/ 904622 h 984161"/>
                <a:gd name="connsiteX33" fmla="*/ 401503 w 709427"/>
                <a:gd name="connsiteY33" fmla="*/ 904622 h 984161"/>
                <a:gd name="connsiteX34" fmla="*/ 406001 w 709427"/>
                <a:gd name="connsiteY34" fmla="*/ 922612 h 984161"/>
                <a:gd name="connsiteX35" fmla="*/ 385441 w 709427"/>
                <a:gd name="connsiteY35" fmla="*/ 932249 h 984161"/>
                <a:gd name="connsiteX36" fmla="*/ 359099 w 709427"/>
                <a:gd name="connsiteY36" fmla="*/ 932249 h 984161"/>
                <a:gd name="connsiteX37" fmla="*/ 350104 w 709427"/>
                <a:gd name="connsiteY37" fmla="*/ 945741 h 984161"/>
                <a:gd name="connsiteX38" fmla="*/ 359099 w 709427"/>
                <a:gd name="connsiteY38" fmla="*/ 959234 h 984161"/>
                <a:gd name="connsiteX39" fmla="*/ 340467 w 709427"/>
                <a:gd name="connsiteY39" fmla="*/ 962446 h 984161"/>
                <a:gd name="connsiteX40" fmla="*/ 324405 w 709427"/>
                <a:gd name="connsiteY40" fmla="*/ 981078 h 984161"/>
                <a:gd name="connsiteX41" fmla="*/ 305130 w 709427"/>
                <a:gd name="connsiteY41" fmla="*/ 978508 h 984161"/>
                <a:gd name="connsiteX42" fmla="*/ 314125 w 709427"/>
                <a:gd name="connsiteY42" fmla="*/ 948954 h 984161"/>
                <a:gd name="connsiteX43" fmla="*/ 289068 w 709427"/>
                <a:gd name="connsiteY43" fmla="*/ 925182 h 984161"/>
                <a:gd name="connsiteX44" fmla="*/ 271721 w 709427"/>
                <a:gd name="connsiteY44" fmla="*/ 900767 h 984161"/>
                <a:gd name="connsiteX45" fmla="*/ 274933 w 709427"/>
                <a:gd name="connsiteY45" fmla="*/ 882135 h 984161"/>
                <a:gd name="connsiteX46" fmla="*/ 239597 w 709427"/>
                <a:gd name="connsiteY46" fmla="*/ 884705 h 984161"/>
                <a:gd name="connsiteX47" fmla="*/ 198477 w 709427"/>
                <a:gd name="connsiteY47" fmla="*/ 894342 h 984161"/>
                <a:gd name="connsiteX48" fmla="*/ 191410 w 709427"/>
                <a:gd name="connsiteY48" fmla="*/ 895627 h 984161"/>
                <a:gd name="connsiteX49" fmla="*/ 190767 w 709427"/>
                <a:gd name="connsiteY49" fmla="*/ 893700 h 984161"/>
                <a:gd name="connsiteX50" fmla="*/ 170850 w 709427"/>
                <a:gd name="connsiteY50" fmla="*/ 852581 h 984161"/>
                <a:gd name="connsiteX51" fmla="*/ 189482 w 709427"/>
                <a:gd name="connsiteY51" fmla="*/ 808892 h 984161"/>
                <a:gd name="connsiteX52" fmla="*/ 167638 w 709427"/>
                <a:gd name="connsiteY52" fmla="*/ 737575 h 984161"/>
                <a:gd name="connsiteX53" fmla="*/ 124591 w 709427"/>
                <a:gd name="connsiteY53" fmla="*/ 700954 h 984161"/>
                <a:gd name="connsiteX54" fmla="*/ 69337 w 709427"/>
                <a:gd name="connsiteY54" fmla="*/ 724726 h 984161"/>
                <a:gd name="connsiteX55" fmla="*/ 17938 w 709427"/>
                <a:gd name="connsiteY55" fmla="*/ 718943 h 984161"/>
                <a:gd name="connsiteX56" fmla="*/ 591 w 709427"/>
                <a:gd name="connsiteY56" fmla="*/ 695171 h 984161"/>
                <a:gd name="connsiteX57" fmla="*/ 26933 w 709427"/>
                <a:gd name="connsiteY57" fmla="*/ 648270 h 984161"/>
                <a:gd name="connsiteX58" fmla="*/ 40425 w 709427"/>
                <a:gd name="connsiteY58" fmla="*/ 623213 h 984161"/>
                <a:gd name="connsiteX59" fmla="*/ 71265 w 709427"/>
                <a:gd name="connsiteY59" fmla="*/ 607793 h 984161"/>
                <a:gd name="connsiteX60" fmla="*/ 95679 w 709427"/>
                <a:gd name="connsiteY60" fmla="*/ 601368 h 984161"/>
                <a:gd name="connsiteX61" fmla="*/ 103389 w 709427"/>
                <a:gd name="connsiteY61" fmla="*/ 590446 h 984161"/>
                <a:gd name="connsiteX62" fmla="*/ 80260 w 709427"/>
                <a:gd name="connsiteY62" fmla="*/ 547399 h 984161"/>
                <a:gd name="connsiteX63" fmla="*/ 58415 w 709427"/>
                <a:gd name="connsiteY63" fmla="*/ 535192 h 984161"/>
                <a:gd name="connsiteX64" fmla="*/ 64197 w 709427"/>
                <a:gd name="connsiteY64" fmla="*/ 512062 h 984161"/>
                <a:gd name="connsiteX65" fmla="*/ 68695 w 709427"/>
                <a:gd name="connsiteY65" fmla="*/ 502425 h 984161"/>
                <a:gd name="connsiteX66" fmla="*/ 75120 w 709427"/>
                <a:gd name="connsiteY66" fmla="*/ 475441 h 984161"/>
                <a:gd name="connsiteX67" fmla="*/ 96964 w 709427"/>
                <a:gd name="connsiteY67" fmla="*/ 481223 h 984161"/>
                <a:gd name="connsiteX68" fmla="*/ 98892 w 709427"/>
                <a:gd name="connsiteY68" fmla="*/ 486363 h 984161"/>
                <a:gd name="connsiteX69" fmla="*/ 113027 w 709427"/>
                <a:gd name="connsiteY69" fmla="*/ 477368 h 984161"/>
                <a:gd name="connsiteX70" fmla="*/ 117524 w 709427"/>
                <a:gd name="connsiteY70" fmla="*/ 453596 h 984161"/>
                <a:gd name="connsiteX71" fmla="*/ 104032 w 709427"/>
                <a:gd name="connsiteY71" fmla="*/ 435606 h 984161"/>
                <a:gd name="connsiteX72" fmla="*/ 105317 w 709427"/>
                <a:gd name="connsiteY72" fmla="*/ 424042 h 984161"/>
                <a:gd name="connsiteX73" fmla="*/ 104674 w 709427"/>
                <a:gd name="connsiteY73" fmla="*/ 415047 h 984161"/>
                <a:gd name="connsiteX74" fmla="*/ 125234 w 709427"/>
                <a:gd name="connsiteY74" fmla="*/ 398985 h 984161"/>
                <a:gd name="connsiteX75" fmla="*/ 125234 w 709427"/>
                <a:gd name="connsiteY75" fmla="*/ 382280 h 984161"/>
                <a:gd name="connsiteX76" fmla="*/ 111099 w 709427"/>
                <a:gd name="connsiteY76" fmla="*/ 371358 h 984161"/>
                <a:gd name="connsiteX77" fmla="*/ 160571 w 709427"/>
                <a:gd name="connsiteY77" fmla="*/ 328311 h 984161"/>
                <a:gd name="connsiteX78" fmla="*/ 163141 w 709427"/>
                <a:gd name="connsiteY78" fmla="*/ 343088 h 984161"/>
                <a:gd name="connsiteX79" fmla="*/ 195265 w 709427"/>
                <a:gd name="connsiteY79" fmla="*/ 332166 h 984161"/>
                <a:gd name="connsiteX80" fmla="*/ 239597 w 709427"/>
                <a:gd name="connsiteY80" fmla="*/ 253783 h 984161"/>
                <a:gd name="connsiteX81" fmla="*/ 262726 w 709427"/>
                <a:gd name="connsiteY81" fmla="*/ 242218 h 984161"/>
                <a:gd name="connsiteX82" fmla="*/ 288426 w 709427"/>
                <a:gd name="connsiteY82" fmla="*/ 210736 h 984161"/>
                <a:gd name="connsiteX83" fmla="*/ 294208 w 709427"/>
                <a:gd name="connsiteY83" fmla="*/ 192104 h 984161"/>
                <a:gd name="connsiteX84" fmla="*/ 285856 w 709427"/>
                <a:gd name="connsiteY84" fmla="*/ 161907 h 984161"/>
                <a:gd name="connsiteX85" fmla="*/ 260156 w 709427"/>
                <a:gd name="connsiteY85" fmla="*/ 174757 h 984161"/>
                <a:gd name="connsiteX86" fmla="*/ 246021 w 709427"/>
                <a:gd name="connsiteY86" fmla="*/ 157409 h 984161"/>
                <a:gd name="connsiteX87" fmla="*/ 265296 w 709427"/>
                <a:gd name="connsiteY87" fmla="*/ 131067 h 984161"/>
                <a:gd name="connsiteX88" fmla="*/ 294208 w 709427"/>
                <a:gd name="connsiteY88" fmla="*/ 115648 h 984161"/>
                <a:gd name="connsiteX89" fmla="*/ 329545 w 709427"/>
                <a:gd name="connsiteY89" fmla="*/ 109223 h 984161"/>
                <a:gd name="connsiteX90" fmla="*/ 341752 w 709427"/>
                <a:gd name="connsiteY90" fmla="*/ 89948 h 984161"/>
                <a:gd name="connsiteX91" fmla="*/ 337897 w 709427"/>
                <a:gd name="connsiteY91" fmla="*/ 66819 h 984161"/>
                <a:gd name="connsiteX92" fmla="*/ 388654 w 709427"/>
                <a:gd name="connsiteY92" fmla="*/ 66819 h 984161"/>
                <a:gd name="connsiteX93" fmla="*/ 386084 w 709427"/>
                <a:gd name="connsiteY93" fmla="*/ 81596 h 984161"/>
                <a:gd name="connsiteX94" fmla="*/ 410498 w 709427"/>
                <a:gd name="connsiteY94" fmla="*/ 90591 h 984161"/>
                <a:gd name="connsiteX95" fmla="*/ 451617 w 709427"/>
                <a:gd name="connsiteY95" fmla="*/ 55254 h 984161"/>
                <a:gd name="connsiteX96" fmla="*/ 497876 w 709427"/>
                <a:gd name="connsiteY96" fmla="*/ 0 h 984161"/>
                <a:gd name="connsiteX97" fmla="*/ 500446 w 709427"/>
                <a:gd name="connsiteY97" fmla="*/ 1927 h 984161"/>
                <a:gd name="connsiteX98" fmla="*/ 533856 w 709427"/>
                <a:gd name="connsiteY98" fmla="*/ 7710 h 984161"/>
                <a:gd name="connsiteX99" fmla="*/ 554415 w 709427"/>
                <a:gd name="connsiteY99" fmla="*/ 14135 h 984161"/>
                <a:gd name="connsiteX100" fmla="*/ 565980 w 709427"/>
                <a:gd name="connsiteY100" fmla="*/ 26342 h 984161"/>
                <a:gd name="connsiteX101" fmla="*/ 558913 w 709427"/>
                <a:gd name="connsiteY101" fmla="*/ 39834 h 984161"/>
                <a:gd name="connsiteX102" fmla="*/ 544135 w 709427"/>
                <a:gd name="connsiteY102" fmla="*/ 41119 h 984161"/>
                <a:gd name="connsiteX103" fmla="*/ 541566 w 709427"/>
                <a:gd name="connsiteY103" fmla="*/ 45617 h 984161"/>
                <a:gd name="connsiteX104" fmla="*/ 552488 w 709427"/>
                <a:gd name="connsiteY104" fmla="*/ 82238 h 984161"/>
                <a:gd name="connsiteX105" fmla="*/ 558913 w 709427"/>
                <a:gd name="connsiteY105" fmla="*/ 98301 h 984161"/>
                <a:gd name="connsiteX106" fmla="*/ 542851 w 709427"/>
                <a:gd name="connsiteY106" fmla="*/ 109223 h 984161"/>
                <a:gd name="connsiteX107" fmla="*/ 522291 w 709427"/>
                <a:gd name="connsiteY107" fmla="*/ 112435 h 984161"/>
                <a:gd name="connsiteX108" fmla="*/ 537711 w 709427"/>
                <a:gd name="connsiteY108" fmla="*/ 138135 h 984161"/>
                <a:gd name="connsiteX109" fmla="*/ 562125 w 709427"/>
                <a:gd name="connsiteY109" fmla="*/ 151627 h 984161"/>
                <a:gd name="connsiteX110" fmla="*/ 574975 w 709427"/>
                <a:gd name="connsiteY110" fmla="*/ 155482 h 984161"/>
                <a:gd name="connsiteX111" fmla="*/ 596177 w 709427"/>
                <a:gd name="connsiteY111" fmla="*/ 145202 h 984161"/>
                <a:gd name="connsiteX112" fmla="*/ 600032 w 709427"/>
                <a:gd name="connsiteY112" fmla="*/ 140705 h 984161"/>
                <a:gd name="connsiteX113" fmla="*/ 590395 w 709427"/>
                <a:gd name="connsiteY113" fmla="*/ 132995 h 984161"/>
                <a:gd name="connsiteX114" fmla="*/ 577545 w 709427"/>
                <a:gd name="connsiteY114" fmla="*/ 127855 h 984161"/>
                <a:gd name="connsiteX115" fmla="*/ 583970 w 709427"/>
                <a:gd name="connsiteY115" fmla="*/ 115648 h 984161"/>
                <a:gd name="connsiteX116" fmla="*/ 632156 w 709427"/>
                <a:gd name="connsiteY116" fmla="*/ 113078 h 984161"/>
                <a:gd name="connsiteX117" fmla="*/ 632799 w 709427"/>
                <a:gd name="connsiteY117" fmla="*/ 116290 h 984161"/>
                <a:gd name="connsiteX118" fmla="*/ 639866 w 709427"/>
                <a:gd name="connsiteY118" fmla="*/ 143275 h 984161"/>
                <a:gd name="connsiteX119" fmla="*/ 657856 w 709427"/>
                <a:gd name="connsiteY119" fmla="*/ 165119 h 984161"/>
                <a:gd name="connsiteX120" fmla="*/ 673918 w 709427"/>
                <a:gd name="connsiteY120" fmla="*/ 173472 h 984161"/>
                <a:gd name="connsiteX121" fmla="*/ 682270 w 709427"/>
                <a:gd name="connsiteY121" fmla="*/ 187606 h 984161"/>
                <a:gd name="connsiteX122" fmla="*/ 693835 w 709427"/>
                <a:gd name="connsiteY122" fmla="*/ 217803 h 984161"/>
                <a:gd name="connsiteX123" fmla="*/ 699617 w 709427"/>
                <a:gd name="connsiteY123" fmla="*/ 230653 h 984161"/>
                <a:gd name="connsiteX124" fmla="*/ 707327 w 709427"/>
                <a:gd name="connsiteY124" fmla="*/ 240290 h 984161"/>
                <a:gd name="connsiteX125" fmla="*/ 708612 w 709427"/>
                <a:gd name="connsiteY125" fmla="*/ 260207 h 98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709427" h="984161">
                  <a:moveTo>
                    <a:pt x="708612" y="260207"/>
                  </a:moveTo>
                  <a:cubicBezTo>
                    <a:pt x="707970" y="262777"/>
                    <a:pt x="706042" y="264705"/>
                    <a:pt x="704757" y="267275"/>
                  </a:cubicBezTo>
                  <a:cubicBezTo>
                    <a:pt x="700902" y="273700"/>
                    <a:pt x="695763" y="280124"/>
                    <a:pt x="691265" y="285907"/>
                  </a:cubicBezTo>
                  <a:cubicBezTo>
                    <a:pt x="685483" y="292974"/>
                    <a:pt x="679058" y="300042"/>
                    <a:pt x="673918" y="307109"/>
                  </a:cubicBezTo>
                  <a:cubicBezTo>
                    <a:pt x="670063" y="311606"/>
                    <a:pt x="666851" y="316104"/>
                    <a:pt x="663638" y="321244"/>
                  </a:cubicBezTo>
                  <a:cubicBezTo>
                    <a:pt x="655928" y="332166"/>
                    <a:pt x="648219" y="342446"/>
                    <a:pt x="643721" y="354653"/>
                  </a:cubicBezTo>
                  <a:cubicBezTo>
                    <a:pt x="635369" y="377140"/>
                    <a:pt x="637296" y="402197"/>
                    <a:pt x="639866" y="425327"/>
                  </a:cubicBezTo>
                  <a:cubicBezTo>
                    <a:pt x="639866" y="425969"/>
                    <a:pt x="639866" y="426612"/>
                    <a:pt x="640509" y="427254"/>
                  </a:cubicBezTo>
                  <a:cubicBezTo>
                    <a:pt x="641794" y="430467"/>
                    <a:pt x="647576" y="430467"/>
                    <a:pt x="650146" y="428539"/>
                  </a:cubicBezTo>
                  <a:cubicBezTo>
                    <a:pt x="653358" y="426612"/>
                    <a:pt x="655928" y="423399"/>
                    <a:pt x="659141" y="422114"/>
                  </a:cubicBezTo>
                  <a:cubicBezTo>
                    <a:pt x="661068" y="421472"/>
                    <a:pt x="663638" y="421472"/>
                    <a:pt x="666208" y="422114"/>
                  </a:cubicBezTo>
                  <a:cubicBezTo>
                    <a:pt x="674561" y="424684"/>
                    <a:pt x="681628" y="431751"/>
                    <a:pt x="682270" y="440104"/>
                  </a:cubicBezTo>
                  <a:cubicBezTo>
                    <a:pt x="683555" y="451669"/>
                    <a:pt x="674561" y="456166"/>
                    <a:pt x="671348" y="465803"/>
                  </a:cubicBezTo>
                  <a:cubicBezTo>
                    <a:pt x="669421" y="471586"/>
                    <a:pt x="668136" y="477368"/>
                    <a:pt x="668136" y="483150"/>
                  </a:cubicBezTo>
                  <a:cubicBezTo>
                    <a:pt x="668136" y="485078"/>
                    <a:pt x="670706" y="496643"/>
                    <a:pt x="670063" y="498570"/>
                  </a:cubicBezTo>
                  <a:lnTo>
                    <a:pt x="670063" y="498570"/>
                  </a:lnTo>
                  <a:cubicBezTo>
                    <a:pt x="670063" y="498570"/>
                    <a:pt x="663638" y="522342"/>
                    <a:pt x="652073" y="529410"/>
                  </a:cubicBezTo>
                  <a:cubicBezTo>
                    <a:pt x="640509" y="536477"/>
                    <a:pt x="622519" y="544829"/>
                    <a:pt x="619307" y="548684"/>
                  </a:cubicBezTo>
                  <a:cubicBezTo>
                    <a:pt x="616094" y="553182"/>
                    <a:pt x="556985" y="617430"/>
                    <a:pt x="551203" y="618073"/>
                  </a:cubicBezTo>
                  <a:cubicBezTo>
                    <a:pt x="545421" y="619358"/>
                    <a:pt x="537068" y="617430"/>
                    <a:pt x="530643" y="618073"/>
                  </a:cubicBezTo>
                  <a:cubicBezTo>
                    <a:pt x="524218" y="618715"/>
                    <a:pt x="512654" y="612290"/>
                    <a:pt x="511369" y="618715"/>
                  </a:cubicBezTo>
                  <a:cubicBezTo>
                    <a:pt x="509441" y="624498"/>
                    <a:pt x="505586" y="639275"/>
                    <a:pt x="511369" y="643772"/>
                  </a:cubicBezTo>
                  <a:cubicBezTo>
                    <a:pt x="517151" y="648270"/>
                    <a:pt x="520363" y="665617"/>
                    <a:pt x="520363" y="668187"/>
                  </a:cubicBezTo>
                  <a:cubicBezTo>
                    <a:pt x="520363" y="670757"/>
                    <a:pt x="509441" y="675897"/>
                    <a:pt x="496591" y="675254"/>
                  </a:cubicBezTo>
                  <a:cubicBezTo>
                    <a:pt x="483742" y="673969"/>
                    <a:pt x="482457" y="668187"/>
                    <a:pt x="469607" y="663689"/>
                  </a:cubicBezTo>
                  <a:cubicBezTo>
                    <a:pt x="456115" y="659834"/>
                    <a:pt x="437483" y="652125"/>
                    <a:pt x="425275" y="654695"/>
                  </a:cubicBezTo>
                  <a:cubicBezTo>
                    <a:pt x="413068" y="657265"/>
                    <a:pt x="369379" y="669472"/>
                    <a:pt x="364882" y="675254"/>
                  </a:cubicBezTo>
                  <a:cubicBezTo>
                    <a:pt x="360384" y="681037"/>
                    <a:pt x="355887" y="692601"/>
                    <a:pt x="360384" y="712519"/>
                  </a:cubicBezTo>
                  <a:cubicBezTo>
                    <a:pt x="365524" y="732436"/>
                    <a:pt x="377089" y="785119"/>
                    <a:pt x="386726" y="799254"/>
                  </a:cubicBezTo>
                  <a:cubicBezTo>
                    <a:pt x="396363" y="813389"/>
                    <a:pt x="405358" y="817886"/>
                    <a:pt x="401503" y="833949"/>
                  </a:cubicBezTo>
                  <a:cubicBezTo>
                    <a:pt x="397648" y="850011"/>
                    <a:pt x="391224" y="865430"/>
                    <a:pt x="390581" y="873140"/>
                  </a:cubicBezTo>
                  <a:cubicBezTo>
                    <a:pt x="389296" y="880850"/>
                    <a:pt x="388011" y="889203"/>
                    <a:pt x="392509" y="894342"/>
                  </a:cubicBezTo>
                  <a:cubicBezTo>
                    <a:pt x="394436" y="896270"/>
                    <a:pt x="398291" y="900767"/>
                    <a:pt x="401503" y="904622"/>
                  </a:cubicBezTo>
                  <a:cubicBezTo>
                    <a:pt x="401503" y="904622"/>
                    <a:pt x="401503" y="904622"/>
                    <a:pt x="401503" y="904622"/>
                  </a:cubicBezTo>
                  <a:cubicBezTo>
                    <a:pt x="398933" y="907835"/>
                    <a:pt x="406001" y="916829"/>
                    <a:pt x="406001" y="922612"/>
                  </a:cubicBezTo>
                  <a:cubicBezTo>
                    <a:pt x="406001" y="929037"/>
                    <a:pt x="395078" y="930322"/>
                    <a:pt x="385441" y="932249"/>
                  </a:cubicBezTo>
                  <a:cubicBezTo>
                    <a:pt x="375804" y="933534"/>
                    <a:pt x="365524" y="932892"/>
                    <a:pt x="359099" y="932249"/>
                  </a:cubicBezTo>
                  <a:cubicBezTo>
                    <a:pt x="353317" y="931607"/>
                    <a:pt x="349462" y="943171"/>
                    <a:pt x="350104" y="945741"/>
                  </a:cubicBezTo>
                  <a:cubicBezTo>
                    <a:pt x="350747" y="948311"/>
                    <a:pt x="359099" y="959234"/>
                    <a:pt x="359099" y="959234"/>
                  </a:cubicBezTo>
                  <a:cubicBezTo>
                    <a:pt x="359099" y="959234"/>
                    <a:pt x="348819" y="960519"/>
                    <a:pt x="340467" y="962446"/>
                  </a:cubicBezTo>
                  <a:cubicBezTo>
                    <a:pt x="332115" y="963731"/>
                    <a:pt x="332115" y="975296"/>
                    <a:pt x="324405" y="981078"/>
                  </a:cubicBezTo>
                  <a:cubicBezTo>
                    <a:pt x="316695" y="986860"/>
                    <a:pt x="310913" y="983648"/>
                    <a:pt x="305130" y="978508"/>
                  </a:cubicBezTo>
                  <a:cubicBezTo>
                    <a:pt x="298705" y="973368"/>
                    <a:pt x="310913" y="957306"/>
                    <a:pt x="314125" y="948954"/>
                  </a:cubicBezTo>
                  <a:cubicBezTo>
                    <a:pt x="317338" y="940601"/>
                    <a:pt x="299990" y="930964"/>
                    <a:pt x="289068" y="925182"/>
                  </a:cubicBezTo>
                  <a:cubicBezTo>
                    <a:pt x="278146" y="920042"/>
                    <a:pt x="274933" y="912332"/>
                    <a:pt x="271721" y="900767"/>
                  </a:cubicBezTo>
                  <a:cubicBezTo>
                    <a:pt x="269151" y="889203"/>
                    <a:pt x="276218" y="886633"/>
                    <a:pt x="274933" y="882135"/>
                  </a:cubicBezTo>
                  <a:cubicBezTo>
                    <a:pt x="273648" y="877638"/>
                    <a:pt x="249876" y="880850"/>
                    <a:pt x="239597" y="884705"/>
                  </a:cubicBezTo>
                  <a:cubicBezTo>
                    <a:pt x="229317" y="888560"/>
                    <a:pt x="209400" y="893057"/>
                    <a:pt x="198477" y="894342"/>
                  </a:cubicBezTo>
                  <a:cubicBezTo>
                    <a:pt x="196550" y="894342"/>
                    <a:pt x="193980" y="894985"/>
                    <a:pt x="191410" y="895627"/>
                  </a:cubicBezTo>
                  <a:cubicBezTo>
                    <a:pt x="191410" y="894985"/>
                    <a:pt x="190767" y="894342"/>
                    <a:pt x="190767" y="893700"/>
                  </a:cubicBezTo>
                  <a:cubicBezTo>
                    <a:pt x="188198" y="889203"/>
                    <a:pt x="167638" y="864788"/>
                    <a:pt x="170850" y="852581"/>
                  </a:cubicBezTo>
                  <a:cubicBezTo>
                    <a:pt x="173420" y="839731"/>
                    <a:pt x="189482" y="823026"/>
                    <a:pt x="189482" y="808892"/>
                  </a:cubicBezTo>
                  <a:cubicBezTo>
                    <a:pt x="189482" y="794757"/>
                    <a:pt x="180488" y="756850"/>
                    <a:pt x="167638" y="737575"/>
                  </a:cubicBezTo>
                  <a:cubicBezTo>
                    <a:pt x="154788" y="718943"/>
                    <a:pt x="136156" y="700311"/>
                    <a:pt x="124591" y="700954"/>
                  </a:cubicBezTo>
                  <a:cubicBezTo>
                    <a:pt x="113669" y="701596"/>
                    <a:pt x="88612" y="721513"/>
                    <a:pt x="69337" y="724726"/>
                  </a:cubicBezTo>
                  <a:cubicBezTo>
                    <a:pt x="50705" y="728581"/>
                    <a:pt x="23078" y="725368"/>
                    <a:pt x="17938" y="718943"/>
                  </a:cubicBezTo>
                  <a:cubicBezTo>
                    <a:pt x="12798" y="712519"/>
                    <a:pt x="-3264" y="709306"/>
                    <a:pt x="591" y="695171"/>
                  </a:cubicBezTo>
                  <a:cubicBezTo>
                    <a:pt x="4446" y="681037"/>
                    <a:pt x="18581" y="663689"/>
                    <a:pt x="26933" y="648270"/>
                  </a:cubicBezTo>
                  <a:cubicBezTo>
                    <a:pt x="35286" y="632850"/>
                    <a:pt x="34001" y="627710"/>
                    <a:pt x="40425" y="623213"/>
                  </a:cubicBezTo>
                  <a:cubicBezTo>
                    <a:pt x="46850" y="618715"/>
                    <a:pt x="63555" y="611648"/>
                    <a:pt x="71265" y="607793"/>
                  </a:cubicBezTo>
                  <a:cubicBezTo>
                    <a:pt x="78975" y="603938"/>
                    <a:pt x="86042" y="602653"/>
                    <a:pt x="95679" y="601368"/>
                  </a:cubicBezTo>
                  <a:cubicBezTo>
                    <a:pt x="105317" y="600083"/>
                    <a:pt x="107887" y="596871"/>
                    <a:pt x="103389" y="590446"/>
                  </a:cubicBezTo>
                  <a:cubicBezTo>
                    <a:pt x="98892" y="584021"/>
                    <a:pt x="88612" y="551254"/>
                    <a:pt x="80260" y="547399"/>
                  </a:cubicBezTo>
                  <a:cubicBezTo>
                    <a:pt x="71265" y="542902"/>
                    <a:pt x="59058" y="548042"/>
                    <a:pt x="58415" y="535192"/>
                  </a:cubicBezTo>
                  <a:cubicBezTo>
                    <a:pt x="57773" y="522342"/>
                    <a:pt x="62270" y="513347"/>
                    <a:pt x="64197" y="512062"/>
                  </a:cubicBezTo>
                  <a:cubicBezTo>
                    <a:pt x="66767" y="510778"/>
                    <a:pt x="67410" y="510778"/>
                    <a:pt x="68695" y="502425"/>
                  </a:cubicBezTo>
                  <a:cubicBezTo>
                    <a:pt x="69980" y="494073"/>
                    <a:pt x="70622" y="476083"/>
                    <a:pt x="75120" y="475441"/>
                  </a:cubicBezTo>
                  <a:cubicBezTo>
                    <a:pt x="78975" y="474798"/>
                    <a:pt x="96964" y="479295"/>
                    <a:pt x="96964" y="481223"/>
                  </a:cubicBezTo>
                  <a:cubicBezTo>
                    <a:pt x="96964" y="483150"/>
                    <a:pt x="93752" y="487005"/>
                    <a:pt x="98892" y="486363"/>
                  </a:cubicBezTo>
                  <a:cubicBezTo>
                    <a:pt x="104674" y="485720"/>
                    <a:pt x="110457" y="484435"/>
                    <a:pt x="113027" y="477368"/>
                  </a:cubicBezTo>
                  <a:cubicBezTo>
                    <a:pt x="115596" y="470301"/>
                    <a:pt x="117524" y="453596"/>
                    <a:pt x="117524" y="453596"/>
                  </a:cubicBezTo>
                  <a:cubicBezTo>
                    <a:pt x="117524" y="453596"/>
                    <a:pt x="105959" y="438819"/>
                    <a:pt x="104032" y="435606"/>
                  </a:cubicBezTo>
                  <a:cubicBezTo>
                    <a:pt x="102104" y="431751"/>
                    <a:pt x="105317" y="429824"/>
                    <a:pt x="105317" y="424042"/>
                  </a:cubicBezTo>
                  <a:cubicBezTo>
                    <a:pt x="105317" y="422114"/>
                    <a:pt x="105317" y="418902"/>
                    <a:pt x="104674" y="415047"/>
                  </a:cubicBezTo>
                  <a:cubicBezTo>
                    <a:pt x="113027" y="413119"/>
                    <a:pt x="122664" y="407337"/>
                    <a:pt x="125234" y="398985"/>
                  </a:cubicBezTo>
                  <a:cubicBezTo>
                    <a:pt x="129089" y="387420"/>
                    <a:pt x="134871" y="383565"/>
                    <a:pt x="125234" y="382280"/>
                  </a:cubicBezTo>
                  <a:cubicBezTo>
                    <a:pt x="115596" y="380995"/>
                    <a:pt x="104032" y="381638"/>
                    <a:pt x="111099" y="371358"/>
                  </a:cubicBezTo>
                  <a:cubicBezTo>
                    <a:pt x="118166" y="361078"/>
                    <a:pt x="159286" y="325741"/>
                    <a:pt x="160571" y="328311"/>
                  </a:cubicBezTo>
                  <a:cubicBezTo>
                    <a:pt x="161856" y="330881"/>
                    <a:pt x="154146" y="342446"/>
                    <a:pt x="163141" y="343088"/>
                  </a:cubicBezTo>
                  <a:cubicBezTo>
                    <a:pt x="172135" y="343731"/>
                    <a:pt x="191410" y="340518"/>
                    <a:pt x="195265" y="332166"/>
                  </a:cubicBezTo>
                  <a:cubicBezTo>
                    <a:pt x="199120" y="323814"/>
                    <a:pt x="231244" y="260207"/>
                    <a:pt x="239597" y="253783"/>
                  </a:cubicBezTo>
                  <a:cubicBezTo>
                    <a:pt x="248591" y="247358"/>
                    <a:pt x="252446" y="251212"/>
                    <a:pt x="262726" y="242218"/>
                  </a:cubicBezTo>
                  <a:cubicBezTo>
                    <a:pt x="273006" y="233223"/>
                    <a:pt x="285856" y="213948"/>
                    <a:pt x="288426" y="210736"/>
                  </a:cubicBezTo>
                  <a:cubicBezTo>
                    <a:pt x="291638" y="207523"/>
                    <a:pt x="296135" y="202384"/>
                    <a:pt x="294208" y="192104"/>
                  </a:cubicBezTo>
                  <a:cubicBezTo>
                    <a:pt x="292280" y="181824"/>
                    <a:pt x="292923" y="158694"/>
                    <a:pt x="285856" y="161907"/>
                  </a:cubicBezTo>
                  <a:cubicBezTo>
                    <a:pt x="278788" y="165119"/>
                    <a:pt x="268508" y="175399"/>
                    <a:pt x="260156" y="174757"/>
                  </a:cubicBezTo>
                  <a:cubicBezTo>
                    <a:pt x="252446" y="174114"/>
                    <a:pt x="239597" y="172187"/>
                    <a:pt x="246021" y="157409"/>
                  </a:cubicBezTo>
                  <a:cubicBezTo>
                    <a:pt x="252446" y="142632"/>
                    <a:pt x="256301" y="140705"/>
                    <a:pt x="265296" y="131067"/>
                  </a:cubicBezTo>
                  <a:cubicBezTo>
                    <a:pt x="274291" y="121430"/>
                    <a:pt x="283928" y="113720"/>
                    <a:pt x="294208" y="115648"/>
                  </a:cubicBezTo>
                  <a:cubicBezTo>
                    <a:pt x="304488" y="117575"/>
                    <a:pt x="322477" y="116290"/>
                    <a:pt x="329545" y="109223"/>
                  </a:cubicBezTo>
                  <a:cubicBezTo>
                    <a:pt x="336612" y="102156"/>
                    <a:pt x="344964" y="96373"/>
                    <a:pt x="341752" y="89948"/>
                  </a:cubicBezTo>
                  <a:cubicBezTo>
                    <a:pt x="338540" y="83523"/>
                    <a:pt x="321835" y="71959"/>
                    <a:pt x="337897" y="66819"/>
                  </a:cubicBezTo>
                  <a:cubicBezTo>
                    <a:pt x="353959" y="61036"/>
                    <a:pt x="387369" y="56539"/>
                    <a:pt x="388654" y="66819"/>
                  </a:cubicBezTo>
                  <a:cubicBezTo>
                    <a:pt x="389939" y="77099"/>
                    <a:pt x="382229" y="71959"/>
                    <a:pt x="386084" y="81596"/>
                  </a:cubicBezTo>
                  <a:cubicBezTo>
                    <a:pt x="390581" y="91233"/>
                    <a:pt x="398933" y="103440"/>
                    <a:pt x="410498" y="90591"/>
                  </a:cubicBezTo>
                  <a:cubicBezTo>
                    <a:pt x="422063" y="77741"/>
                    <a:pt x="438125" y="71959"/>
                    <a:pt x="451617" y="55254"/>
                  </a:cubicBezTo>
                  <a:cubicBezTo>
                    <a:pt x="459970" y="44974"/>
                    <a:pt x="481814" y="18632"/>
                    <a:pt x="497876" y="0"/>
                  </a:cubicBezTo>
                  <a:cubicBezTo>
                    <a:pt x="498519" y="643"/>
                    <a:pt x="499804" y="1285"/>
                    <a:pt x="500446" y="1927"/>
                  </a:cubicBezTo>
                  <a:cubicBezTo>
                    <a:pt x="509441" y="8995"/>
                    <a:pt x="522291" y="7067"/>
                    <a:pt x="533856" y="7710"/>
                  </a:cubicBezTo>
                  <a:cubicBezTo>
                    <a:pt x="540923" y="8352"/>
                    <a:pt x="547990" y="10280"/>
                    <a:pt x="554415" y="14135"/>
                  </a:cubicBezTo>
                  <a:cubicBezTo>
                    <a:pt x="559555" y="16705"/>
                    <a:pt x="564695" y="20560"/>
                    <a:pt x="565980" y="26342"/>
                  </a:cubicBezTo>
                  <a:cubicBezTo>
                    <a:pt x="567908" y="31482"/>
                    <a:pt x="564695" y="38549"/>
                    <a:pt x="558913" y="39834"/>
                  </a:cubicBezTo>
                  <a:cubicBezTo>
                    <a:pt x="553773" y="41119"/>
                    <a:pt x="547990" y="37907"/>
                    <a:pt x="544135" y="41119"/>
                  </a:cubicBezTo>
                  <a:cubicBezTo>
                    <a:pt x="542851" y="42404"/>
                    <a:pt x="541566" y="43689"/>
                    <a:pt x="541566" y="45617"/>
                  </a:cubicBezTo>
                  <a:cubicBezTo>
                    <a:pt x="537068" y="58466"/>
                    <a:pt x="544135" y="71316"/>
                    <a:pt x="552488" y="82238"/>
                  </a:cubicBezTo>
                  <a:cubicBezTo>
                    <a:pt x="556343" y="87378"/>
                    <a:pt x="560198" y="92518"/>
                    <a:pt x="558913" y="98301"/>
                  </a:cubicBezTo>
                  <a:cubicBezTo>
                    <a:pt x="557628" y="104725"/>
                    <a:pt x="549918" y="107938"/>
                    <a:pt x="542851" y="109223"/>
                  </a:cubicBezTo>
                  <a:cubicBezTo>
                    <a:pt x="535783" y="110508"/>
                    <a:pt x="528716" y="109865"/>
                    <a:pt x="522291" y="112435"/>
                  </a:cubicBezTo>
                  <a:cubicBezTo>
                    <a:pt x="518436" y="122715"/>
                    <a:pt x="528073" y="132352"/>
                    <a:pt x="537711" y="138135"/>
                  </a:cubicBezTo>
                  <a:cubicBezTo>
                    <a:pt x="545421" y="143275"/>
                    <a:pt x="553773" y="147772"/>
                    <a:pt x="562125" y="151627"/>
                  </a:cubicBezTo>
                  <a:cubicBezTo>
                    <a:pt x="565980" y="153555"/>
                    <a:pt x="570478" y="155482"/>
                    <a:pt x="574975" y="155482"/>
                  </a:cubicBezTo>
                  <a:cubicBezTo>
                    <a:pt x="583327" y="155482"/>
                    <a:pt x="589752" y="150342"/>
                    <a:pt x="596177" y="145202"/>
                  </a:cubicBezTo>
                  <a:cubicBezTo>
                    <a:pt x="598104" y="143917"/>
                    <a:pt x="599389" y="142632"/>
                    <a:pt x="600032" y="140705"/>
                  </a:cubicBezTo>
                  <a:cubicBezTo>
                    <a:pt x="601317" y="136207"/>
                    <a:pt x="595534" y="132995"/>
                    <a:pt x="590395" y="132995"/>
                  </a:cubicBezTo>
                  <a:cubicBezTo>
                    <a:pt x="585897" y="132352"/>
                    <a:pt x="580115" y="131710"/>
                    <a:pt x="577545" y="127855"/>
                  </a:cubicBezTo>
                  <a:cubicBezTo>
                    <a:pt x="574975" y="123358"/>
                    <a:pt x="579472" y="118218"/>
                    <a:pt x="583970" y="115648"/>
                  </a:cubicBezTo>
                  <a:cubicBezTo>
                    <a:pt x="598104" y="107295"/>
                    <a:pt x="616737" y="106653"/>
                    <a:pt x="632156" y="113078"/>
                  </a:cubicBezTo>
                  <a:cubicBezTo>
                    <a:pt x="632156" y="114363"/>
                    <a:pt x="632799" y="115005"/>
                    <a:pt x="632799" y="116290"/>
                  </a:cubicBezTo>
                  <a:cubicBezTo>
                    <a:pt x="634084" y="125285"/>
                    <a:pt x="636011" y="134922"/>
                    <a:pt x="639866" y="143275"/>
                  </a:cubicBezTo>
                  <a:cubicBezTo>
                    <a:pt x="643721" y="152269"/>
                    <a:pt x="649503" y="159979"/>
                    <a:pt x="657856" y="165119"/>
                  </a:cubicBezTo>
                  <a:cubicBezTo>
                    <a:pt x="662996" y="167689"/>
                    <a:pt x="669421" y="169617"/>
                    <a:pt x="673918" y="173472"/>
                  </a:cubicBezTo>
                  <a:cubicBezTo>
                    <a:pt x="677773" y="177326"/>
                    <a:pt x="680343" y="182466"/>
                    <a:pt x="682270" y="187606"/>
                  </a:cubicBezTo>
                  <a:cubicBezTo>
                    <a:pt x="686125" y="197886"/>
                    <a:pt x="689980" y="207523"/>
                    <a:pt x="693835" y="217803"/>
                  </a:cubicBezTo>
                  <a:cubicBezTo>
                    <a:pt x="695763" y="222301"/>
                    <a:pt x="697048" y="226798"/>
                    <a:pt x="699617" y="230653"/>
                  </a:cubicBezTo>
                  <a:cubicBezTo>
                    <a:pt x="702187" y="233865"/>
                    <a:pt x="705400" y="236435"/>
                    <a:pt x="707327" y="240290"/>
                  </a:cubicBezTo>
                  <a:cubicBezTo>
                    <a:pt x="708612" y="248000"/>
                    <a:pt x="710540" y="254425"/>
                    <a:pt x="708612" y="260207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6" name="Freihandform 465">
              <a:extLst>
                <a:ext uri="{FF2B5EF4-FFF2-40B4-BE49-F238E27FC236}">
                  <a16:creationId xmlns:a16="http://schemas.microsoft.com/office/drawing/2014/main" id="{CDD712AD-40F7-EE52-A37F-E6CAA3A56E32}"/>
                </a:ext>
              </a:extLst>
            </p:cNvPr>
            <p:cNvSpPr/>
            <p:nvPr/>
          </p:nvSpPr>
          <p:spPr>
            <a:xfrm>
              <a:off x="2297683" y="3687294"/>
              <a:ext cx="709427" cy="984161"/>
            </a:xfrm>
            <a:custGeom>
              <a:avLst/>
              <a:gdLst>
                <a:gd name="connsiteX0" fmla="*/ 708612 w 709427"/>
                <a:gd name="connsiteY0" fmla="*/ 260207 h 984161"/>
                <a:gd name="connsiteX1" fmla="*/ 704757 w 709427"/>
                <a:gd name="connsiteY1" fmla="*/ 267275 h 984161"/>
                <a:gd name="connsiteX2" fmla="*/ 691265 w 709427"/>
                <a:gd name="connsiteY2" fmla="*/ 285907 h 984161"/>
                <a:gd name="connsiteX3" fmla="*/ 673918 w 709427"/>
                <a:gd name="connsiteY3" fmla="*/ 307109 h 984161"/>
                <a:gd name="connsiteX4" fmla="*/ 663638 w 709427"/>
                <a:gd name="connsiteY4" fmla="*/ 321244 h 984161"/>
                <a:gd name="connsiteX5" fmla="*/ 643721 w 709427"/>
                <a:gd name="connsiteY5" fmla="*/ 354653 h 984161"/>
                <a:gd name="connsiteX6" fmla="*/ 639866 w 709427"/>
                <a:gd name="connsiteY6" fmla="*/ 425327 h 984161"/>
                <a:gd name="connsiteX7" fmla="*/ 640509 w 709427"/>
                <a:gd name="connsiteY7" fmla="*/ 427254 h 984161"/>
                <a:gd name="connsiteX8" fmla="*/ 650146 w 709427"/>
                <a:gd name="connsiteY8" fmla="*/ 428539 h 984161"/>
                <a:gd name="connsiteX9" fmla="*/ 659141 w 709427"/>
                <a:gd name="connsiteY9" fmla="*/ 422114 h 984161"/>
                <a:gd name="connsiteX10" fmla="*/ 666208 w 709427"/>
                <a:gd name="connsiteY10" fmla="*/ 422114 h 984161"/>
                <a:gd name="connsiteX11" fmla="*/ 682270 w 709427"/>
                <a:gd name="connsiteY11" fmla="*/ 440104 h 984161"/>
                <a:gd name="connsiteX12" fmla="*/ 671348 w 709427"/>
                <a:gd name="connsiteY12" fmla="*/ 465803 h 984161"/>
                <a:gd name="connsiteX13" fmla="*/ 668136 w 709427"/>
                <a:gd name="connsiteY13" fmla="*/ 483150 h 984161"/>
                <a:gd name="connsiteX14" fmla="*/ 670063 w 709427"/>
                <a:gd name="connsiteY14" fmla="*/ 498570 h 984161"/>
                <a:gd name="connsiteX15" fmla="*/ 670063 w 709427"/>
                <a:gd name="connsiteY15" fmla="*/ 498570 h 984161"/>
                <a:gd name="connsiteX16" fmla="*/ 652073 w 709427"/>
                <a:gd name="connsiteY16" fmla="*/ 529410 h 984161"/>
                <a:gd name="connsiteX17" fmla="*/ 619307 w 709427"/>
                <a:gd name="connsiteY17" fmla="*/ 548684 h 984161"/>
                <a:gd name="connsiteX18" fmla="*/ 551203 w 709427"/>
                <a:gd name="connsiteY18" fmla="*/ 618073 h 984161"/>
                <a:gd name="connsiteX19" fmla="*/ 530643 w 709427"/>
                <a:gd name="connsiteY19" fmla="*/ 618073 h 984161"/>
                <a:gd name="connsiteX20" fmla="*/ 511369 w 709427"/>
                <a:gd name="connsiteY20" fmla="*/ 618715 h 984161"/>
                <a:gd name="connsiteX21" fmla="*/ 511369 w 709427"/>
                <a:gd name="connsiteY21" fmla="*/ 643772 h 984161"/>
                <a:gd name="connsiteX22" fmla="*/ 520363 w 709427"/>
                <a:gd name="connsiteY22" fmla="*/ 668187 h 984161"/>
                <a:gd name="connsiteX23" fmla="*/ 496591 w 709427"/>
                <a:gd name="connsiteY23" fmla="*/ 675254 h 984161"/>
                <a:gd name="connsiteX24" fmla="*/ 469607 w 709427"/>
                <a:gd name="connsiteY24" fmla="*/ 663689 h 984161"/>
                <a:gd name="connsiteX25" fmla="*/ 425275 w 709427"/>
                <a:gd name="connsiteY25" fmla="*/ 654695 h 984161"/>
                <a:gd name="connsiteX26" fmla="*/ 364882 w 709427"/>
                <a:gd name="connsiteY26" fmla="*/ 675254 h 984161"/>
                <a:gd name="connsiteX27" fmla="*/ 360384 w 709427"/>
                <a:gd name="connsiteY27" fmla="*/ 712519 h 984161"/>
                <a:gd name="connsiteX28" fmla="*/ 386726 w 709427"/>
                <a:gd name="connsiteY28" fmla="*/ 799254 h 984161"/>
                <a:gd name="connsiteX29" fmla="*/ 401503 w 709427"/>
                <a:gd name="connsiteY29" fmla="*/ 833949 h 984161"/>
                <a:gd name="connsiteX30" fmla="*/ 390581 w 709427"/>
                <a:gd name="connsiteY30" fmla="*/ 873140 h 984161"/>
                <a:gd name="connsiteX31" fmla="*/ 392509 w 709427"/>
                <a:gd name="connsiteY31" fmla="*/ 894342 h 984161"/>
                <a:gd name="connsiteX32" fmla="*/ 401503 w 709427"/>
                <a:gd name="connsiteY32" fmla="*/ 904622 h 984161"/>
                <a:gd name="connsiteX33" fmla="*/ 401503 w 709427"/>
                <a:gd name="connsiteY33" fmla="*/ 904622 h 984161"/>
                <a:gd name="connsiteX34" fmla="*/ 406001 w 709427"/>
                <a:gd name="connsiteY34" fmla="*/ 922612 h 984161"/>
                <a:gd name="connsiteX35" fmla="*/ 385441 w 709427"/>
                <a:gd name="connsiteY35" fmla="*/ 932249 h 984161"/>
                <a:gd name="connsiteX36" fmla="*/ 359099 w 709427"/>
                <a:gd name="connsiteY36" fmla="*/ 932249 h 984161"/>
                <a:gd name="connsiteX37" fmla="*/ 350104 w 709427"/>
                <a:gd name="connsiteY37" fmla="*/ 945741 h 984161"/>
                <a:gd name="connsiteX38" fmla="*/ 359099 w 709427"/>
                <a:gd name="connsiteY38" fmla="*/ 959234 h 984161"/>
                <a:gd name="connsiteX39" fmla="*/ 340467 w 709427"/>
                <a:gd name="connsiteY39" fmla="*/ 962446 h 984161"/>
                <a:gd name="connsiteX40" fmla="*/ 324405 w 709427"/>
                <a:gd name="connsiteY40" fmla="*/ 981078 h 984161"/>
                <a:gd name="connsiteX41" fmla="*/ 305130 w 709427"/>
                <a:gd name="connsiteY41" fmla="*/ 978508 h 984161"/>
                <a:gd name="connsiteX42" fmla="*/ 314125 w 709427"/>
                <a:gd name="connsiteY42" fmla="*/ 948954 h 984161"/>
                <a:gd name="connsiteX43" fmla="*/ 289068 w 709427"/>
                <a:gd name="connsiteY43" fmla="*/ 925182 h 984161"/>
                <a:gd name="connsiteX44" fmla="*/ 271721 w 709427"/>
                <a:gd name="connsiteY44" fmla="*/ 900767 h 984161"/>
                <a:gd name="connsiteX45" fmla="*/ 274933 w 709427"/>
                <a:gd name="connsiteY45" fmla="*/ 882135 h 984161"/>
                <a:gd name="connsiteX46" fmla="*/ 239597 w 709427"/>
                <a:gd name="connsiteY46" fmla="*/ 884705 h 984161"/>
                <a:gd name="connsiteX47" fmla="*/ 198477 w 709427"/>
                <a:gd name="connsiteY47" fmla="*/ 894342 h 984161"/>
                <a:gd name="connsiteX48" fmla="*/ 191410 w 709427"/>
                <a:gd name="connsiteY48" fmla="*/ 895627 h 984161"/>
                <a:gd name="connsiteX49" fmla="*/ 190767 w 709427"/>
                <a:gd name="connsiteY49" fmla="*/ 893700 h 984161"/>
                <a:gd name="connsiteX50" fmla="*/ 170850 w 709427"/>
                <a:gd name="connsiteY50" fmla="*/ 852581 h 984161"/>
                <a:gd name="connsiteX51" fmla="*/ 189482 w 709427"/>
                <a:gd name="connsiteY51" fmla="*/ 808892 h 984161"/>
                <a:gd name="connsiteX52" fmla="*/ 167638 w 709427"/>
                <a:gd name="connsiteY52" fmla="*/ 737575 h 984161"/>
                <a:gd name="connsiteX53" fmla="*/ 124591 w 709427"/>
                <a:gd name="connsiteY53" fmla="*/ 700954 h 984161"/>
                <a:gd name="connsiteX54" fmla="*/ 69337 w 709427"/>
                <a:gd name="connsiteY54" fmla="*/ 724726 h 984161"/>
                <a:gd name="connsiteX55" fmla="*/ 17938 w 709427"/>
                <a:gd name="connsiteY55" fmla="*/ 718943 h 984161"/>
                <a:gd name="connsiteX56" fmla="*/ 591 w 709427"/>
                <a:gd name="connsiteY56" fmla="*/ 695171 h 984161"/>
                <a:gd name="connsiteX57" fmla="*/ 26933 w 709427"/>
                <a:gd name="connsiteY57" fmla="*/ 648270 h 984161"/>
                <a:gd name="connsiteX58" fmla="*/ 40425 w 709427"/>
                <a:gd name="connsiteY58" fmla="*/ 623213 h 984161"/>
                <a:gd name="connsiteX59" fmla="*/ 71265 w 709427"/>
                <a:gd name="connsiteY59" fmla="*/ 607793 h 984161"/>
                <a:gd name="connsiteX60" fmla="*/ 95679 w 709427"/>
                <a:gd name="connsiteY60" fmla="*/ 601368 h 984161"/>
                <a:gd name="connsiteX61" fmla="*/ 103389 w 709427"/>
                <a:gd name="connsiteY61" fmla="*/ 590446 h 984161"/>
                <a:gd name="connsiteX62" fmla="*/ 80260 w 709427"/>
                <a:gd name="connsiteY62" fmla="*/ 547399 h 984161"/>
                <a:gd name="connsiteX63" fmla="*/ 58415 w 709427"/>
                <a:gd name="connsiteY63" fmla="*/ 535192 h 984161"/>
                <a:gd name="connsiteX64" fmla="*/ 64197 w 709427"/>
                <a:gd name="connsiteY64" fmla="*/ 512062 h 984161"/>
                <a:gd name="connsiteX65" fmla="*/ 68695 w 709427"/>
                <a:gd name="connsiteY65" fmla="*/ 502425 h 984161"/>
                <a:gd name="connsiteX66" fmla="*/ 75120 w 709427"/>
                <a:gd name="connsiteY66" fmla="*/ 475441 h 984161"/>
                <a:gd name="connsiteX67" fmla="*/ 96964 w 709427"/>
                <a:gd name="connsiteY67" fmla="*/ 481223 h 984161"/>
                <a:gd name="connsiteX68" fmla="*/ 98892 w 709427"/>
                <a:gd name="connsiteY68" fmla="*/ 486363 h 984161"/>
                <a:gd name="connsiteX69" fmla="*/ 113027 w 709427"/>
                <a:gd name="connsiteY69" fmla="*/ 477368 h 984161"/>
                <a:gd name="connsiteX70" fmla="*/ 117524 w 709427"/>
                <a:gd name="connsiteY70" fmla="*/ 453596 h 984161"/>
                <a:gd name="connsiteX71" fmla="*/ 104032 w 709427"/>
                <a:gd name="connsiteY71" fmla="*/ 435606 h 984161"/>
                <a:gd name="connsiteX72" fmla="*/ 105317 w 709427"/>
                <a:gd name="connsiteY72" fmla="*/ 424042 h 984161"/>
                <a:gd name="connsiteX73" fmla="*/ 104674 w 709427"/>
                <a:gd name="connsiteY73" fmla="*/ 415047 h 984161"/>
                <a:gd name="connsiteX74" fmla="*/ 125234 w 709427"/>
                <a:gd name="connsiteY74" fmla="*/ 398985 h 984161"/>
                <a:gd name="connsiteX75" fmla="*/ 125234 w 709427"/>
                <a:gd name="connsiteY75" fmla="*/ 382280 h 984161"/>
                <a:gd name="connsiteX76" fmla="*/ 111099 w 709427"/>
                <a:gd name="connsiteY76" fmla="*/ 371358 h 984161"/>
                <a:gd name="connsiteX77" fmla="*/ 160571 w 709427"/>
                <a:gd name="connsiteY77" fmla="*/ 328311 h 984161"/>
                <a:gd name="connsiteX78" fmla="*/ 163141 w 709427"/>
                <a:gd name="connsiteY78" fmla="*/ 343088 h 984161"/>
                <a:gd name="connsiteX79" fmla="*/ 195265 w 709427"/>
                <a:gd name="connsiteY79" fmla="*/ 332166 h 984161"/>
                <a:gd name="connsiteX80" fmla="*/ 239597 w 709427"/>
                <a:gd name="connsiteY80" fmla="*/ 253783 h 984161"/>
                <a:gd name="connsiteX81" fmla="*/ 262726 w 709427"/>
                <a:gd name="connsiteY81" fmla="*/ 242218 h 984161"/>
                <a:gd name="connsiteX82" fmla="*/ 288426 w 709427"/>
                <a:gd name="connsiteY82" fmla="*/ 210736 h 984161"/>
                <a:gd name="connsiteX83" fmla="*/ 294208 w 709427"/>
                <a:gd name="connsiteY83" fmla="*/ 192104 h 984161"/>
                <a:gd name="connsiteX84" fmla="*/ 285856 w 709427"/>
                <a:gd name="connsiteY84" fmla="*/ 161907 h 984161"/>
                <a:gd name="connsiteX85" fmla="*/ 260156 w 709427"/>
                <a:gd name="connsiteY85" fmla="*/ 174757 h 984161"/>
                <a:gd name="connsiteX86" fmla="*/ 246021 w 709427"/>
                <a:gd name="connsiteY86" fmla="*/ 157409 h 984161"/>
                <a:gd name="connsiteX87" fmla="*/ 265296 w 709427"/>
                <a:gd name="connsiteY87" fmla="*/ 131067 h 984161"/>
                <a:gd name="connsiteX88" fmla="*/ 294208 w 709427"/>
                <a:gd name="connsiteY88" fmla="*/ 115648 h 984161"/>
                <a:gd name="connsiteX89" fmla="*/ 329545 w 709427"/>
                <a:gd name="connsiteY89" fmla="*/ 109223 h 984161"/>
                <a:gd name="connsiteX90" fmla="*/ 341752 w 709427"/>
                <a:gd name="connsiteY90" fmla="*/ 89948 h 984161"/>
                <a:gd name="connsiteX91" fmla="*/ 337897 w 709427"/>
                <a:gd name="connsiteY91" fmla="*/ 66819 h 984161"/>
                <a:gd name="connsiteX92" fmla="*/ 388654 w 709427"/>
                <a:gd name="connsiteY92" fmla="*/ 66819 h 984161"/>
                <a:gd name="connsiteX93" fmla="*/ 386084 w 709427"/>
                <a:gd name="connsiteY93" fmla="*/ 81596 h 984161"/>
                <a:gd name="connsiteX94" fmla="*/ 410498 w 709427"/>
                <a:gd name="connsiteY94" fmla="*/ 90591 h 984161"/>
                <a:gd name="connsiteX95" fmla="*/ 451617 w 709427"/>
                <a:gd name="connsiteY95" fmla="*/ 55254 h 984161"/>
                <a:gd name="connsiteX96" fmla="*/ 497876 w 709427"/>
                <a:gd name="connsiteY96" fmla="*/ 0 h 984161"/>
                <a:gd name="connsiteX97" fmla="*/ 500446 w 709427"/>
                <a:gd name="connsiteY97" fmla="*/ 1927 h 984161"/>
                <a:gd name="connsiteX98" fmla="*/ 533856 w 709427"/>
                <a:gd name="connsiteY98" fmla="*/ 7710 h 984161"/>
                <a:gd name="connsiteX99" fmla="*/ 554415 w 709427"/>
                <a:gd name="connsiteY99" fmla="*/ 14135 h 984161"/>
                <a:gd name="connsiteX100" fmla="*/ 565980 w 709427"/>
                <a:gd name="connsiteY100" fmla="*/ 26342 h 984161"/>
                <a:gd name="connsiteX101" fmla="*/ 558913 w 709427"/>
                <a:gd name="connsiteY101" fmla="*/ 39834 h 984161"/>
                <a:gd name="connsiteX102" fmla="*/ 544135 w 709427"/>
                <a:gd name="connsiteY102" fmla="*/ 41119 h 984161"/>
                <a:gd name="connsiteX103" fmla="*/ 541566 w 709427"/>
                <a:gd name="connsiteY103" fmla="*/ 45617 h 984161"/>
                <a:gd name="connsiteX104" fmla="*/ 552488 w 709427"/>
                <a:gd name="connsiteY104" fmla="*/ 82238 h 984161"/>
                <a:gd name="connsiteX105" fmla="*/ 558913 w 709427"/>
                <a:gd name="connsiteY105" fmla="*/ 98301 h 984161"/>
                <a:gd name="connsiteX106" fmla="*/ 542851 w 709427"/>
                <a:gd name="connsiteY106" fmla="*/ 109223 h 984161"/>
                <a:gd name="connsiteX107" fmla="*/ 522291 w 709427"/>
                <a:gd name="connsiteY107" fmla="*/ 112435 h 984161"/>
                <a:gd name="connsiteX108" fmla="*/ 537711 w 709427"/>
                <a:gd name="connsiteY108" fmla="*/ 138135 h 984161"/>
                <a:gd name="connsiteX109" fmla="*/ 562125 w 709427"/>
                <a:gd name="connsiteY109" fmla="*/ 151627 h 984161"/>
                <a:gd name="connsiteX110" fmla="*/ 574975 w 709427"/>
                <a:gd name="connsiteY110" fmla="*/ 155482 h 984161"/>
                <a:gd name="connsiteX111" fmla="*/ 596177 w 709427"/>
                <a:gd name="connsiteY111" fmla="*/ 145202 h 984161"/>
                <a:gd name="connsiteX112" fmla="*/ 600032 w 709427"/>
                <a:gd name="connsiteY112" fmla="*/ 140705 h 984161"/>
                <a:gd name="connsiteX113" fmla="*/ 590395 w 709427"/>
                <a:gd name="connsiteY113" fmla="*/ 132995 h 984161"/>
                <a:gd name="connsiteX114" fmla="*/ 577545 w 709427"/>
                <a:gd name="connsiteY114" fmla="*/ 127855 h 984161"/>
                <a:gd name="connsiteX115" fmla="*/ 583970 w 709427"/>
                <a:gd name="connsiteY115" fmla="*/ 115648 h 984161"/>
                <a:gd name="connsiteX116" fmla="*/ 632156 w 709427"/>
                <a:gd name="connsiteY116" fmla="*/ 113078 h 984161"/>
                <a:gd name="connsiteX117" fmla="*/ 632799 w 709427"/>
                <a:gd name="connsiteY117" fmla="*/ 116290 h 984161"/>
                <a:gd name="connsiteX118" fmla="*/ 639866 w 709427"/>
                <a:gd name="connsiteY118" fmla="*/ 143275 h 984161"/>
                <a:gd name="connsiteX119" fmla="*/ 657856 w 709427"/>
                <a:gd name="connsiteY119" fmla="*/ 165119 h 984161"/>
                <a:gd name="connsiteX120" fmla="*/ 673918 w 709427"/>
                <a:gd name="connsiteY120" fmla="*/ 173472 h 984161"/>
                <a:gd name="connsiteX121" fmla="*/ 682270 w 709427"/>
                <a:gd name="connsiteY121" fmla="*/ 187606 h 984161"/>
                <a:gd name="connsiteX122" fmla="*/ 693835 w 709427"/>
                <a:gd name="connsiteY122" fmla="*/ 217803 h 984161"/>
                <a:gd name="connsiteX123" fmla="*/ 699617 w 709427"/>
                <a:gd name="connsiteY123" fmla="*/ 230653 h 984161"/>
                <a:gd name="connsiteX124" fmla="*/ 707327 w 709427"/>
                <a:gd name="connsiteY124" fmla="*/ 240290 h 984161"/>
                <a:gd name="connsiteX125" fmla="*/ 708612 w 709427"/>
                <a:gd name="connsiteY125" fmla="*/ 260207 h 98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709427" h="984161">
                  <a:moveTo>
                    <a:pt x="708612" y="260207"/>
                  </a:moveTo>
                  <a:cubicBezTo>
                    <a:pt x="707970" y="262777"/>
                    <a:pt x="706042" y="264705"/>
                    <a:pt x="704757" y="267275"/>
                  </a:cubicBezTo>
                  <a:cubicBezTo>
                    <a:pt x="700902" y="273700"/>
                    <a:pt x="695763" y="280124"/>
                    <a:pt x="691265" y="285907"/>
                  </a:cubicBezTo>
                  <a:cubicBezTo>
                    <a:pt x="685483" y="292974"/>
                    <a:pt x="679058" y="300042"/>
                    <a:pt x="673918" y="307109"/>
                  </a:cubicBezTo>
                  <a:cubicBezTo>
                    <a:pt x="670063" y="311606"/>
                    <a:pt x="666851" y="316104"/>
                    <a:pt x="663638" y="321244"/>
                  </a:cubicBezTo>
                  <a:cubicBezTo>
                    <a:pt x="655928" y="332166"/>
                    <a:pt x="648219" y="342446"/>
                    <a:pt x="643721" y="354653"/>
                  </a:cubicBezTo>
                  <a:cubicBezTo>
                    <a:pt x="635369" y="377140"/>
                    <a:pt x="637296" y="402197"/>
                    <a:pt x="639866" y="425327"/>
                  </a:cubicBezTo>
                  <a:cubicBezTo>
                    <a:pt x="639866" y="425969"/>
                    <a:pt x="639866" y="426612"/>
                    <a:pt x="640509" y="427254"/>
                  </a:cubicBezTo>
                  <a:cubicBezTo>
                    <a:pt x="641794" y="430467"/>
                    <a:pt x="647576" y="430467"/>
                    <a:pt x="650146" y="428539"/>
                  </a:cubicBezTo>
                  <a:cubicBezTo>
                    <a:pt x="653358" y="426612"/>
                    <a:pt x="655928" y="423399"/>
                    <a:pt x="659141" y="422114"/>
                  </a:cubicBezTo>
                  <a:cubicBezTo>
                    <a:pt x="661068" y="421472"/>
                    <a:pt x="663638" y="421472"/>
                    <a:pt x="666208" y="422114"/>
                  </a:cubicBezTo>
                  <a:cubicBezTo>
                    <a:pt x="674561" y="424684"/>
                    <a:pt x="681628" y="431751"/>
                    <a:pt x="682270" y="440104"/>
                  </a:cubicBezTo>
                  <a:cubicBezTo>
                    <a:pt x="683555" y="451669"/>
                    <a:pt x="674561" y="456166"/>
                    <a:pt x="671348" y="465803"/>
                  </a:cubicBezTo>
                  <a:cubicBezTo>
                    <a:pt x="669421" y="471586"/>
                    <a:pt x="668136" y="477368"/>
                    <a:pt x="668136" y="483150"/>
                  </a:cubicBezTo>
                  <a:cubicBezTo>
                    <a:pt x="668136" y="485078"/>
                    <a:pt x="670706" y="496643"/>
                    <a:pt x="670063" y="498570"/>
                  </a:cubicBezTo>
                  <a:lnTo>
                    <a:pt x="670063" y="498570"/>
                  </a:lnTo>
                  <a:cubicBezTo>
                    <a:pt x="670063" y="498570"/>
                    <a:pt x="663638" y="522342"/>
                    <a:pt x="652073" y="529410"/>
                  </a:cubicBezTo>
                  <a:cubicBezTo>
                    <a:pt x="640509" y="536477"/>
                    <a:pt x="622519" y="544829"/>
                    <a:pt x="619307" y="548684"/>
                  </a:cubicBezTo>
                  <a:cubicBezTo>
                    <a:pt x="616094" y="553182"/>
                    <a:pt x="556985" y="617430"/>
                    <a:pt x="551203" y="618073"/>
                  </a:cubicBezTo>
                  <a:cubicBezTo>
                    <a:pt x="545421" y="619358"/>
                    <a:pt x="537068" y="617430"/>
                    <a:pt x="530643" y="618073"/>
                  </a:cubicBezTo>
                  <a:cubicBezTo>
                    <a:pt x="524218" y="618715"/>
                    <a:pt x="512654" y="612290"/>
                    <a:pt x="511369" y="618715"/>
                  </a:cubicBezTo>
                  <a:cubicBezTo>
                    <a:pt x="509441" y="624498"/>
                    <a:pt x="505586" y="639275"/>
                    <a:pt x="511369" y="643772"/>
                  </a:cubicBezTo>
                  <a:cubicBezTo>
                    <a:pt x="517151" y="648270"/>
                    <a:pt x="520363" y="665617"/>
                    <a:pt x="520363" y="668187"/>
                  </a:cubicBezTo>
                  <a:cubicBezTo>
                    <a:pt x="520363" y="670757"/>
                    <a:pt x="509441" y="675897"/>
                    <a:pt x="496591" y="675254"/>
                  </a:cubicBezTo>
                  <a:cubicBezTo>
                    <a:pt x="483742" y="673969"/>
                    <a:pt x="482457" y="668187"/>
                    <a:pt x="469607" y="663689"/>
                  </a:cubicBezTo>
                  <a:cubicBezTo>
                    <a:pt x="456115" y="659834"/>
                    <a:pt x="437483" y="652125"/>
                    <a:pt x="425275" y="654695"/>
                  </a:cubicBezTo>
                  <a:cubicBezTo>
                    <a:pt x="413068" y="657265"/>
                    <a:pt x="369379" y="669472"/>
                    <a:pt x="364882" y="675254"/>
                  </a:cubicBezTo>
                  <a:cubicBezTo>
                    <a:pt x="360384" y="681037"/>
                    <a:pt x="355887" y="692601"/>
                    <a:pt x="360384" y="712519"/>
                  </a:cubicBezTo>
                  <a:cubicBezTo>
                    <a:pt x="365524" y="732436"/>
                    <a:pt x="377089" y="785119"/>
                    <a:pt x="386726" y="799254"/>
                  </a:cubicBezTo>
                  <a:cubicBezTo>
                    <a:pt x="396363" y="813389"/>
                    <a:pt x="405358" y="817886"/>
                    <a:pt x="401503" y="833949"/>
                  </a:cubicBezTo>
                  <a:cubicBezTo>
                    <a:pt x="397648" y="850011"/>
                    <a:pt x="391224" y="865430"/>
                    <a:pt x="390581" y="873140"/>
                  </a:cubicBezTo>
                  <a:cubicBezTo>
                    <a:pt x="389296" y="880850"/>
                    <a:pt x="388011" y="889203"/>
                    <a:pt x="392509" y="894342"/>
                  </a:cubicBezTo>
                  <a:cubicBezTo>
                    <a:pt x="394436" y="896270"/>
                    <a:pt x="398291" y="900767"/>
                    <a:pt x="401503" y="904622"/>
                  </a:cubicBezTo>
                  <a:cubicBezTo>
                    <a:pt x="401503" y="904622"/>
                    <a:pt x="401503" y="904622"/>
                    <a:pt x="401503" y="904622"/>
                  </a:cubicBezTo>
                  <a:cubicBezTo>
                    <a:pt x="398933" y="907835"/>
                    <a:pt x="406001" y="916829"/>
                    <a:pt x="406001" y="922612"/>
                  </a:cubicBezTo>
                  <a:cubicBezTo>
                    <a:pt x="406001" y="929037"/>
                    <a:pt x="395078" y="930322"/>
                    <a:pt x="385441" y="932249"/>
                  </a:cubicBezTo>
                  <a:cubicBezTo>
                    <a:pt x="375804" y="933534"/>
                    <a:pt x="365524" y="932892"/>
                    <a:pt x="359099" y="932249"/>
                  </a:cubicBezTo>
                  <a:cubicBezTo>
                    <a:pt x="353317" y="931607"/>
                    <a:pt x="349462" y="943171"/>
                    <a:pt x="350104" y="945741"/>
                  </a:cubicBezTo>
                  <a:cubicBezTo>
                    <a:pt x="350747" y="948311"/>
                    <a:pt x="359099" y="959234"/>
                    <a:pt x="359099" y="959234"/>
                  </a:cubicBezTo>
                  <a:cubicBezTo>
                    <a:pt x="359099" y="959234"/>
                    <a:pt x="348819" y="960519"/>
                    <a:pt x="340467" y="962446"/>
                  </a:cubicBezTo>
                  <a:cubicBezTo>
                    <a:pt x="332115" y="963731"/>
                    <a:pt x="332115" y="975296"/>
                    <a:pt x="324405" y="981078"/>
                  </a:cubicBezTo>
                  <a:cubicBezTo>
                    <a:pt x="316695" y="986860"/>
                    <a:pt x="310913" y="983648"/>
                    <a:pt x="305130" y="978508"/>
                  </a:cubicBezTo>
                  <a:cubicBezTo>
                    <a:pt x="298705" y="973368"/>
                    <a:pt x="310913" y="957306"/>
                    <a:pt x="314125" y="948954"/>
                  </a:cubicBezTo>
                  <a:cubicBezTo>
                    <a:pt x="317338" y="940601"/>
                    <a:pt x="299990" y="930964"/>
                    <a:pt x="289068" y="925182"/>
                  </a:cubicBezTo>
                  <a:cubicBezTo>
                    <a:pt x="278146" y="920042"/>
                    <a:pt x="274933" y="912332"/>
                    <a:pt x="271721" y="900767"/>
                  </a:cubicBezTo>
                  <a:cubicBezTo>
                    <a:pt x="269151" y="889203"/>
                    <a:pt x="276218" y="886633"/>
                    <a:pt x="274933" y="882135"/>
                  </a:cubicBezTo>
                  <a:cubicBezTo>
                    <a:pt x="273648" y="877638"/>
                    <a:pt x="249876" y="880850"/>
                    <a:pt x="239597" y="884705"/>
                  </a:cubicBezTo>
                  <a:cubicBezTo>
                    <a:pt x="229317" y="888560"/>
                    <a:pt x="209400" y="893057"/>
                    <a:pt x="198477" y="894342"/>
                  </a:cubicBezTo>
                  <a:cubicBezTo>
                    <a:pt x="196550" y="894342"/>
                    <a:pt x="193980" y="894985"/>
                    <a:pt x="191410" y="895627"/>
                  </a:cubicBezTo>
                  <a:cubicBezTo>
                    <a:pt x="191410" y="894985"/>
                    <a:pt x="190767" y="894342"/>
                    <a:pt x="190767" y="893700"/>
                  </a:cubicBezTo>
                  <a:cubicBezTo>
                    <a:pt x="188198" y="889203"/>
                    <a:pt x="167638" y="864788"/>
                    <a:pt x="170850" y="852581"/>
                  </a:cubicBezTo>
                  <a:cubicBezTo>
                    <a:pt x="173420" y="839731"/>
                    <a:pt x="189482" y="823026"/>
                    <a:pt x="189482" y="808892"/>
                  </a:cubicBezTo>
                  <a:cubicBezTo>
                    <a:pt x="189482" y="794757"/>
                    <a:pt x="180488" y="756850"/>
                    <a:pt x="167638" y="737575"/>
                  </a:cubicBezTo>
                  <a:cubicBezTo>
                    <a:pt x="154788" y="718943"/>
                    <a:pt x="136156" y="700311"/>
                    <a:pt x="124591" y="700954"/>
                  </a:cubicBezTo>
                  <a:cubicBezTo>
                    <a:pt x="113669" y="701596"/>
                    <a:pt x="88612" y="721513"/>
                    <a:pt x="69337" y="724726"/>
                  </a:cubicBezTo>
                  <a:cubicBezTo>
                    <a:pt x="50705" y="728581"/>
                    <a:pt x="23078" y="725368"/>
                    <a:pt x="17938" y="718943"/>
                  </a:cubicBezTo>
                  <a:cubicBezTo>
                    <a:pt x="12798" y="712519"/>
                    <a:pt x="-3264" y="709306"/>
                    <a:pt x="591" y="695171"/>
                  </a:cubicBezTo>
                  <a:cubicBezTo>
                    <a:pt x="4446" y="681037"/>
                    <a:pt x="18581" y="663689"/>
                    <a:pt x="26933" y="648270"/>
                  </a:cubicBezTo>
                  <a:cubicBezTo>
                    <a:pt x="35286" y="632850"/>
                    <a:pt x="34001" y="627710"/>
                    <a:pt x="40425" y="623213"/>
                  </a:cubicBezTo>
                  <a:cubicBezTo>
                    <a:pt x="46850" y="618715"/>
                    <a:pt x="63555" y="611648"/>
                    <a:pt x="71265" y="607793"/>
                  </a:cubicBezTo>
                  <a:cubicBezTo>
                    <a:pt x="78975" y="603938"/>
                    <a:pt x="86042" y="602653"/>
                    <a:pt x="95679" y="601368"/>
                  </a:cubicBezTo>
                  <a:cubicBezTo>
                    <a:pt x="105317" y="600083"/>
                    <a:pt x="107887" y="596871"/>
                    <a:pt x="103389" y="590446"/>
                  </a:cubicBezTo>
                  <a:cubicBezTo>
                    <a:pt x="98892" y="584021"/>
                    <a:pt x="88612" y="551254"/>
                    <a:pt x="80260" y="547399"/>
                  </a:cubicBezTo>
                  <a:cubicBezTo>
                    <a:pt x="71265" y="542902"/>
                    <a:pt x="59058" y="548042"/>
                    <a:pt x="58415" y="535192"/>
                  </a:cubicBezTo>
                  <a:cubicBezTo>
                    <a:pt x="57773" y="522342"/>
                    <a:pt x="62270" y="513347"/>
                    <a:pt x="64197" y="512062"/>
                  </a:cubicBezTo>
                  <a:cubicBezTo>
                    <a:pt x="66767" y="510778"/>
                    <a:pt x="67410" y="510778"/>
                    <a:pt x="68695" y="502425"/>
                  </a:cubicBezTo>
                  <a:cubicBezTo>
                    <a:pt x="69980" y="494073"/>
                    <a:pt x="70622" y="476083"/>
                    <a:pt x="75120" y="475441"/>
                  </a:cubicBezTo>
                  <a:cubicBezTo>
                    <a:pt x="78975" y="474798"/>
                    <a:pt x="96964" y="479295"/>
                    <a:pt x="96964" y="481223"/>
                  </a:cubicBezTo>
                  <a:cubicBezTo>
                    <a:pt x="96964" y="483150"/>
                    <a:pt x="93752" y="487005"/>
                    <a:pt x="98892" y="486363"/>
                  </a:cubicBezTo>
                  <a:cubicBezTo>
                    <a:pt x="104674" y="485720"/>
                    <a:pt x="110457" y="484435"/>
                    <a:pt x="113027" y="477368"/>
                  </a:cubicBezTo>
                  <a:cubicBezTo>
                    <a:pt x="115596" y="470301"/>
                    <a:pt x="117524" y="453596"/>
                    <a:pt x="117524" y="453596"/>
                  </a:cubicBezTo>
                  <a:cubicBezTo>
                    <a:pt x="117524" y="453596"/>
                    <a:pt x="105959" y="438819"/>
                    <a:pt x="104032" y="435606"/>
                  </a:cubicBezTo>
                  <a:cubicBezTo>
                    <a:pt x="102104" y="431751"/>
                    <a:pt x="105317" y="429824"/>
                    <a:pt x="105317" y="424042"/>
                  </a:cubicBezTo>
                  <a:cubicBezTo>
                    <a:pt x="105317" y="422114"/>
                    <a:pt x="105317" y="418902"/>
                    <a:pt x="104674" y="415047"/>
                  </a:cubicBezTo>
                  <a:cubicBezTo>
                    <a:pt x="113027" y="413119"/>
                    <a:pt x="122664" y="407337"/>
                    <a:pt x="125234" y="398985"/>
                  </a:cubicBezTo>
                  <a:cubicBezTo>
                    <a:pt x="129089" y="387420"/>
                    <a:pt x="134871" y="383565"/>
                    <a:pt x="125234" y="382280"/>
                  </a:cubicBezTo>
                  <a:cubicBezTo>
                    <a:pt x="115596" y="380995"/>
                    <a:pt x="104032" y="381638"/>
                    <a:pt x="111099" y="371358"/>
                  </a:cubicBezTo>
                  <a:cubicBezTo>
                    <a:pt x="118166" y="361078"/>
                    <a:pt x="159286" y="325741"/>
                    <a:pt x="160571" y="328311"/>
                  </a:cubicBezTo>
                  <a:cubicBezTo>
                    <a:pt x="161856" y="330881"/>
                    <a:pt x="154146" y="342446"/>
                    <a:pt x="163141" y="343088"/>
                  </a:cubicBezTo>
                  <a:cubicBezTo>
                    <a:pt x="172135" y="343731"/>
                    <a:pt x="191410" y="340518"/>
                    <a:pt x="195265" y="332166"/>
                  </a:cubicBezTo>
                  <a:cubicBezTo>
                    <a:pt x="199120" y="323814"/>
                    <a:pt x="231244" y="260207"/>
                    <a:pt x="239597" y="253783"/>
                  </a:cubicBezTo>
                  <a:cubicBezTo>
                    <a:pt x="248591" y="247358"/>
                    <a:pt x="252446" y="251212"/>
                    <a:pt x="262726" y="242218"/>
                  </a:cubicBezTo>
                  <a:cubicBezTo>
                    <a:pt x="273006" y="233223"/>
                    <a:pt x="285856" y="213948"/>
                    <a:pt x="288426" y="210736"/>
                  </a:cubicBezTo>
                  <a:cubicBezTo>
                    <a:pt x="291638" y="207523"/>
                    <a:pt x="296135" y="202384"/>
                    <a:pt x="294208" y="192104"/>
                  </a:cubicBezTo>
                  <a:cubicBezTo>
                    <a:pt x="292280" y="181824"/>
                    <a:pt x="292923" y="158694"/>
                    <a:pt x="285856" y="161907"/>
                  </a:cubicBezTo>
                  <a:cubicBezTo>
                    <a:pt x="278788" y="165119"/>
                    <a:pt x="268508" y="175399"/>
                    <a:pt x="260156" y="174757"/>
                  </a:cubicBezTo>
                  <a:cubicBezTo>
                    <a:pt x="252446" y="174114"/>
                    <a:pt x="239597" y="172187"/>
                    <a:pt x="246021" y="157409"/>
                  </a:cubicBezTo>
                  <a:cubicBezTo>
                    <a:pt x="252446" y="142632"/>
                    <a:pt x="256301" y="140705"/>
                    <a:pt x="265296" y="131067"/>
                  </a:cubicBezTo>
                  <a:cubicBezTo>
                    <a:pt x="274291" y="121430"/>
                    <a:pt x="283928" y="113720"/>
                    <a:pt x="294208" y="115648"/>
                  </a:cubicBezTo>
                  <a:cubicBezTo>
                    <a:pt x="304488" y="117575"/>
                    <a:pt x="322477" y="116290"/>
                    <a:pt x="329545" y="109223"/>
                  </a:cubicBezTo>
                  <a:cubicBezTo>
                    <a:pt x="336612" y="102156"/>
                    <a:pt x="344964" y="96373"/>
                    <a:pt x="341752" y="89948"/>
                  </a:cubicBezTo>
                  <a:cubicBezTo>
                    <a:pt x="338540" y="83523"/>
                    <a:pt x="321835" y="71959"/>
                    <a:pt x="337897" y="66819"/>
                  </a:cubicBezTo>
                  <a:cubicBezTo>
                    <a:pt x="353959" y="61036"/>
                    <a:pt x="387369" y="56539"/>
                    <a:pt x="388654" y="66819"/>
                  </a:cubicBezTo>
                  <a:cubicBezTo>
                    <a:pt x="389939" y="77099"/>
                    <a:pt x="382229" y="71959"/>
                    <a:pt x="386084" y="81596"/>
                  </a:cubicBezTo>
                  <a:cubicBezTo>
                    <a:pt x="390581" y="91233"/>
                    <a:pt x="398933" y="103440"/>
                    <a:pt x="410498" y="90591"/>
                  </a:cubicBezTo>
                  <a:cubicBezTo>
                    <a:pt x="422063" y="77741"/>
                    <a:pt x="438125" y="71959"/>
                    <a:pt x="451617" y="55254"/>
                  </a:cubicBezTo>
                  <a:cubicBezTo>
                    <a:pt x="459970" y="44974"/>
                    <a:pt x="481814" y="18632"/>
                    <a:pt x="497876" y="0"/>
                  </a:cubicBezTo>
                  <a:cubicBezTo>
                    <a:pt x="498519" y="643"/>
                    <a:pt x="499804" y="1285"/>
                    <a:pt x="500446" y="1927"/>
                  </a:cubicBezTo>
                  <a:cubicBezTo>
                    <a:pt x="509441" y="8995"/>
                    <a:pt x="522291" y="7067"/>
                    <a:pt x="533856" y="7710"/>
                  </a:cubicBezTo>
                  <a:cubicBezTo>
                    <a:pt x="540923" y="8352"/>
                    <a:pt x="547990" y="10280"/>
                    <a:pt x="554415" y="14135"/>
                  </a:cubicBezTo>
                  <a:cubicBezTo>
                    <a:pt x="559555" y="16705"/>
                    <a:pt x="564695" y="20560"/>
                    <a:pt x="565980" y="26342"/>
                  </a:cubicBezTo>
                  <a:cubicBezTo>
                    <a:pt x="567908" y="31482"/>
                    <a:pt x="564695" y="38549"/>
                    <a:pt x="558913" y="39834"/>
                  </a:cubicBezTo>
                  <a:cubicBezTo>
                    <a:pt x="553773" y="41119"/>
                    <a:pt x="547990" y="37907"/>
                    <a:pt x="544135" y="41119"/>
                  </a:cubicBezTo>
                  <a:cubicBezTo>
                    <a:pt x="542851" y="42404"/>
                    <a:pt x="541566" y="43689"/>
                    <a:pt x="541566" y="45617"/>
                  </a:cubicBezTo>
                  <a:cubicBezTo>
                    <a:pt x="537068" y="58466"/>
                    <a:pt x="544135" y="71316"/>
                    <a:pt x="552488" y="82238"/>
                  </a:cubicBezTo>
                  <a:cubicBezTo>
                    <a:pt x="556343" y="87378"/>
                    <a:pt x="560198" y="92518"/>
                    <a:pt x="558913" y="98301"/>
                  </a:cubicBezTo>
                  <a:cubicBezTo>
                    <a:pt x="557628" y="104725"/>
                    <a:pt x="549918" y="107938"/>
                    <a:pt x="542851" y="109223"/>
                  </a:cubicBezTo>
                  <a:cubicBezTo>
                    <a:pt x="535783" y="110508"/>
                    <a:pt x="528716" y="109865"/>
                    <a:pt x="522291" y="112435"/>
                  </a:cubicBezTo>
                  <a:cubicBezTo>
                    <a:pt x="518436" y="122715"/>
                    <a:pt x="528073" y="132352"/>
                    <a:pt x="537711" y="138135"/>
                  </a:cubicBezTo>
                  <a:cubicBezTo>
                    <a:pt x="545421" y="143275"/>
                    <a:pt x="553773" y="147772"/>
                    <a:pt x="562125" y="151627"/>
                  </a:cubicBezTo>
                  <a:cubicBezTo>
                    <a:pt x="565980" y="153555"/>
                    <a:pt x="570478" y="155482"/>
                    <a:pt x="574975" y="155482"/>
                  </a:cubicBezTo>
                  <a:cubicBezTo>
                    <a:pt x="583327" y="155482"/>
                    <a:pt x="589752" y="150342"/>
                    <a:pt x="596177" y="145202"/>
                  </a:cubicBezTo>
                  <a:cubicBezTo>
                    <a:pt x="598104" y="143917"/>
                    <a:pt x="599389" y="142632"/>
                    <a:pt x="600032" y="140705"/>
                  </a:cubicBezTo>
                  <a:cubicBezTo>
                    <a:pt x="601317" y="136207"/>
                    <a:pt x="595534" y="132995"/>
                    <a:pt x="590395" y="132995"/>
                  </a:cubicBezTo>
                  <a:cubicBezTo>
                    <a:pt x="585897" y="132352"/>
                    <a:pt x="580115" y="131710"/>
                    <a:pt x="577545" y="127855"/>
                  </a:cubicBezTo>
                  <a:cubicBezTo>
                    <a:pt x="574975" y="123358"/>
                    <a:pt x="579472" y="118218"/>
                    <a:pt x="583970" y="115648"/>
                  </a:cubicBezTo>
                  <a:cubicBezTo>
                    <a:pt x="598104" y="107295"/>
                    <a:pt x="616737" y="106653"/>
                    <a:pt x="632156" y="113078"/>
                  </a:cubicBezTo>
                  <a:cubicBezTo>
                    <a:pt x="632156" y="114363"/>
                    <a:pt x="632799" y="115005"/>
                    <a:pt x="632799" y="116290"/>
                  </a:cubicBezTo>
                  <a:cubicBezTo>
                    <a:pt x="634084" y="125285"/>
                    <a:pt x="636011" y="134922"/>
                    <a:pt x="639866" y="143275"/>
                  </a:cubicBezTo>
                  <a:cubicBezTo>
                    <a:pt x="643721" y="152269"/>
                    <a:pt x="649503" y="159979"/>
                    <a:pt x="657856" y="165119"/>
                  </a:cubicBezTo>
                  <a:cubicBezTo>
                    <a:pt x="662996" y="167689"/>
                    <a:pt x="669421" y="169617"/>
                    <a:pt x="673918" y="173472"/>
                  </a:cubicBezTo>
                  <a:cubicBezTo>
                    <a:pt x="677773" y="177326"/>
                    <a:pt x="680343" y="182466"/>
                    <a:pt x="682270" y="187606"/>
                  </a:cubicBezTo>
                  <a:cubicBezTo>
                    <a:pt x="686125" y="197886"/>
                    <a:pt x="689980" y="207523"/>
                    <a:pt x="693835" y="217803"/>
                  </a:cubicBezTo>
                  <a:cubicBezTo>
                    <a:pt x="695763" y="222301"/>
                    <a:pt x="697048" y="226798"/>
                    <a:pt x="699617" y="230653"/>
                  </a:cubicBezTo>
                  <a:cubicBezTo>
                    <a:pt x="702187" y="233865"/>
                    <a:pt x="705400" y="236435"/>
                    <a:pt x="707327" y="240290"/>
                  </a:cubicBezTo>
                  <a:cubicBezTo>
                    <a:pt x="708612" y="248000"/>
                    <a:pt x="710540" y="254425"/>
                    <a:pt x="708612" y="260207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7" name="Freihandform 466">
              <a:extLst>
                <a:ext uri="{FF2B5EF4-FFF2-40B4-BE49-F238E27FC236}">
                  <a16:creationId xmlns:a16="http://schemas.microsoft.com/office/drawing/2014/main" id="{7074B760-D383-94E3-0099-CB9C507D00B0}"/>
                </a:ext>
              </a:extLst>
            </p:cNvPr>
            <p:cNvSpPr/>
            <p:nvPr/>
          </p:nvSpPr>
          <p:spPr>
            <a:xfrm>
              <a:off x="1854231" y="4557865"/>
              <a:ext cx="317190" cy="231937"/>
            </a:xfrm>
            <a:custGeom>
              <a:avLst/>
              <a:gdLst>
                <a:gd name="connsiteX0" fmla="*/ 313618 w 317190"/>
                <a:gd name="connsiteY0" fmla="*/ 212663 h 231937"/>
                <a:gd name="connsiteX1" fmla="*/ 314261 w 317190"/>
                <a:gd name="connsiteY1" fmla="*/ 213306 h 231937"/>
                <a:gd name="connsiteX2" fmla="*/ 312333 w 317190"/>
                <a:gd name="connsiteY2" fmla="*/ 215876 h 231937"/>
                <a:gd name="connsiteX3" fmla="*/ 291774 w 317190"/>
                <a:gd name="connsiteY3" fmla="*/ 226798 h 231937"/>
                <a:gd name="connsiteX4" fmla="*/ 266717 w 317190"/>
                <a:gd name="connsiteY4" fmla="*/ 231938 h 231937"/>
                <a:gd name="connsiteX5" fmla="*/ 255152 w 317190"/>
                <a:gd name="connsiteY5" fmla="*/ 228083 h 231937"/>
                <a:gd name="connsiteX6" fmla="*/ 229452 w 317190"/>
                <a:gd name="connsiteY6" fmla="*/ 226155 h 231937"/>
                <a:gd name="connsiteX7" fmla="*/ 211463 w 317190"/>
                <a:gd name="connsiteY7" fmla="*/ 213948 h 231937"/>
                <a:gd name="connsiteX8" fmla="*/ 201826 w 317190"/>
                <a:gd name="connsiteY8" fmla="*/ 197886 h 231937"/>
                <a:gd name="connsiteX9" fmla="*/ 184478 w 317190"/>
                <a:gd name="connsiteY9" fmla="*/ 183751 h 231937"/>
                <a:gd name="connsiteX10" fmla="*/ 166489 w 317190"/>
                <a:gd name="connsiteY10" fmla="*/ 176684 h 231937"/>
                <a:gd name="connsiteX11" fmla="*/ 154281 w 317190"/>
                <a:gd name="connsiteY11" fmla="*/ 190819 h 231937"/>
                <a:gd name="connsiteX12" fmla="*/ 155566 w 317190"/>
                <a:gd name="connsiteY12" fmla="*/ 204953 h 231937"/>
                <a:gd name="connsiteX13" fmla="*/ 127297 w 317190"/>
                <a:gd name="connsiteY13" fmla="*/ 206881 h 231937"/>
                <a:gd name="connsiteX14" fmla="*/ 110592 w 317190"/>
                <a:gd name="connsiteY14" fmla="*/ 199813 h 231937"/>
                <a:gd name="connsiteX15" fmla="*/ 109307 w 317190"/>
                <a:gd name="connsiteY15" fmla="*/ 186964 h 231937"/>
                <a:gd name="connsiteX16" fmla="*/ 102882 w 317190"/>
                <a:gd name="connsiteY16" fmla="*/ 177969 h 231937"/>
                <a:gd name="connsiteX17" fmla="*/ 99028 w 317190"/>
                <a:gd name="connsiteY17" fmla="*/ 168332 h 231937"/>
                <a:gd name="connsiteX18" fmla="*/ 94530 w 317190"/>
                <a:gd name="connsiteY18" fmla="*/ 151627 h 231937"/>
                <a:gd name="connsiteX19" fmla="*/ 82965 w 317190"/>
                <a:gd name="connsiteY19" fmla="*/ 131067 h 231937"/>
                <a:gd name="connsiteX20" fmla="*/ 75256 w 317190"/>
                <a:gd name="connsiteY20" fmla="*/ 118860 h 231937"/>
                <a:gd name="connsiteX21" fmla="*/ 70116 w 317190"/>
                <a:gd name="connsiteY21" fmla="*/ 106010 h 231937"/>
                <a:gd name="connsiteX22" fmla="*/ 62406 w 317190"/>
                <a:gd name="connsiteY22" fmla="*/ 93161 h 231937"/>
                <a:gd name="connsiteX23" fmla="*/ 46344 w 317190"/>
                <a:gd name="connsiteY23" fmla="*/ 75171 h 231937"/>
                <a:gd name="connsiteX24" fmla="*/ 26427 w 317190"/>
                <a:gd name="connsiteY24" fmla="*/ 68104 h 231937"/>
                <a:gd name="connsiteX25" fmla="*/ 7152 w 317190"/>
                <a:gd name="connsiteY25" fmla="*/ 71958 h 231937"/>
                <a:gd name="connsiteX26" fmla="*/ 2654 w 317190"/>
                <a:gd name="connsiteY26" fmla="*/ 61679 h 231937"/>
                <a:gd name="connsiteX27" fmla="*/ 12292 w 317190"/>
                <a:gd name="connsiteY27" fmla="*/ 44332 h 231937"/>
                <a:gd name="connsiteX28" fmla="*/ 11007 w 317190"/>
                <a:gd name="connsiteY28" fmla="*/ 34052 h 231937"/>
                <a:gd name="connsiteX29" fmla="*/ 68831 w 317190"/>
                <a:gd name="connsiteY29" fmla="*/ 39834 h 231937"/>
                <a:gd name="connsiteX30" fmla="*/ 152354 w 317190"/>
                <a:gd name="connsiteY30" fmla="*/ 20559 h 231937"/>
                <a:gd name="connsiteX31" fmla="*/ 188333 w 317190"/>
                <a:gd name="connsiteY31" fmla="*/ 0 h 231937"/>
                <a:gd name="connsiteX32" fmla="*/ 247442 w 317190"/>
                <a:gd name="connsiteY32" fmla="*/ 20559 h 231937"/>
                <a:gd name="connsiteX33" fmla="*/ 287276 w 317190"/>
                <a:gd name="connsiteY33" fmla="*/ 37264 h 231937"/>
                <a:gd name="connsiteX34" fmla="*/ 300126 w 317190"/>
                <a:gd name="connsiteY34" fmla="*/ 97015 h 231937"/>
                <a:gd name="connsiteX35" fmla="*/ 315546 w 317190"/>
                <a:gd name="connsiteY35" fmla="*/ 122073 h 231937"/>
                <a:gd name="connsiteX36" fmla="*/ 312333 w 317190"/>
                <a:gd name="connsiteY36" fmla="*/ 146487 h 231937"/>
                <a:gd name="connsiteX37" fmla="*/ 283421 w 317190"/>
                <a:gd name="connsiteY37" fmla="*/ 174114 h 231937"/>
                <a:gd name="connsiteX38" fmla="*/ 313618 w 317190"/>
                <a:gd name="connsiteY38" fmla="*/ 212663 h 23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17190" h="231937">
                  <a:moveTo>
                    <a:pt x="313618" y="212663"/>
                  </a:moveTo>
                  <a:cubicBezTo>
                    <a:pt x="313618" y="212663"/>
                    <a:pt x="314261" y="213306"/>
                    <a:pt x="314261" y="213306"/>
                  </a:cubicBezTo>
                  <a:cubicBezTo>
                    <a:pt x="313618" y="213948"/>
                    <a:pt x="312976" y="214591"/>
                    <a:pt x="312333" y="215876"/>
                  </a:cubicBezTo>
                  <a:cubicBezTo>
                    <a:pt x="307836" y="221016"/>
                    <a:pt x="293701" y="225513"/>
                    <a:pt x="291774" y="226798"/>
                  </a:cubicBezTo>
                  <a:cubicBezTo>
                    <a:pt x="289846" y="228083"/>
                    <a:pt x="270572" y="231938"/>
                    <a:pt x="266717" y="231938"/>
                  </a:cubicBezTo>
                  <a:cubicBezTo>
                    <a:pt x="262862" y="231938"/>
                    <a:pt x="256437" y="228725"/>
                    <a:pt x="255152" y="228083"/>
                  </a:cubicBezTo>
                  <a:cubicBezTo>
                    <a:pt x="253867" y="228083"/>
                    <a:pt x="238447" y="230010"/>
                    <a:pt x="229452" y="226155"/>
                  </a:cubicBezTo>
                  <a:cubicBezTo>
                    <a:pt x="220458" y="222300"/>
                    <a:pt x="211463" y="213948"/>
                    <a:pt x="211463" y="213948"/>
                  </a:cubicBezTo>
                  <a:cubicBezTo>
                    <a:pt x="211463" y="213948"/>
                    <a:pt x="206323" y="203668"/>
                    <a:pt x="201826" y="197886"/>
                  </a:cubicBezTo>
                  <a:cubicBezTo>
                    <a:pt x="197328" y="191461"/>
                    <a:pt x="188976" y="185679"/>
                    <a:pt x="184478" y="183751"/>
                  </a:cubicBezTo>
                  <a:cubicBezTo>
                    <a:pt x="179981" y="182466"/>
                    <a:pt x="169059" y="174756"/>
                    <a:pt x="166489" y="176684"/>
                  </a:cubicBezTo>
                  <a:cubicBezTo>
                    <a:pt x="163919" y="178611"/>
                    <a:pt x="152354" y="184394"/>
                    <a:pt x="154281" y="190819"/>
                  </a:cubicBezTo>
                  <a:cubicBezTo>
                    <a:pt x="156209" y="197243"/>
                    <a:pt x="161991" y="200456"/>
                    <a:pt x="155566" y="204953"/>
                  </a:cubicBezTo>
                  <a:cubicBezTo>
                    <a:pt x="149142" y="209451"/>
                    <a:pt x="131794" y="210093"/>
                    <a:pt x="127297" y="206881"/>
                  </a:cubicBezTo>
                  <a:cubicBezTo>
                    <a:pt x="122800" y="203668"/>
                    <a:pt x="111877" y="208166"/>
                    <a:pt x="110592" y="199813"/>
                  </a:cubicBezTo>
                  <a:cubicBezTo>
                    <a:pt x="109307" y="191461"/>
                    <a:pt x="109950" y="188891"/>
                    <a:pt x="109307" y="186964"/>
                  </a:cubicBezTo>
                  <a:cubicBezTo>
                    <a:pt x="109307" y="185036"/>
                    <a:pt x="104810" y="180539"/>
                    <a:pt x="102882" y="177969"/>
                  </a:cubicBezTo>
                  <a:cubicBezTo>
                    <a:pt x="100955" y="174756"/>
                    <a:pt x="99028" y="168332"/>
                    <a:pt x="99028" y="168332"/>
                  </a:cubicBezTo>
                  <a:cubicBezTo>
                    <a:pt x="99028" y="168332"/>
                    <a:pt x="97743" y="159337"/>
                    <a:pt x="94530" y="151627"/>
                  </a:cubicBezTo>
                  <a:cubicBezTo>
                    <a:pt x="91318" y="143917"/>
                    <a:pt x="86178" y="134922"/>
                    <a:pt x="82965" y="131067"/>
                  </a:cubicBezTo>
                  <a:cubicBezTo>
                    <a:pt x="79753" y="127855"/>
                    <a:pt x="75898" y="122073"/>
                    <a:pt x="75256" y="118860"/>
                  </a:cubicBezTo>
                  <a:cubicBezTo>
                    <a:pt x="74613" y="115648"/>
                    <a:pt x="71401" y="107295"/>
                    <a:pt x="70116" y="106010"/>
                  </a:cubicBezTo>
                  <a:cubicBezTo>
                    <a:pt x="68831" y="104725"/>
                    <a:pt x="62406" y="93161"/>
                    <a:pt x="62406" y="93161"/>
                  </a:cubicBezTo>
                  <a:cubicBezTo>
                    <a:pt x="62406" y="93161"/>
                    <a:pt x="50199" y="77741"/>
                    <a:pt x="46344" y="75171"/>
                  </a:cubicBezTo>
                  <a:cubicBezTo>
                    <a:pt x="43131" y="73244"/>
                    <a:pt x="32851" y="68104"/>
                    <a:pt x="26427" y="68104"/>
                  </a:cubicBezTo>
                  <a:cubicBezTo>
                    <a:pt x="20002" y="68104"/>
                    <a:pt x="9722" y="71958"/>
                    <a:pt x="7152" y="71958"/>
                  </a:cubicBezTo>
                  <a:cubicBezTo>
                    <a:pt x="4582" y="71958"/>
                    <a:pt x="-4413" y="71958"/>
                    <a:pt x="2654" y="61679"/>
                  </a:cubicBezTo>
                  <a:cubicBezTo>
                    <a:pt x="9722" y="51399"/>
                    <a:pt x="12292" y="48829"/>
                    <a:pt x="12292" y="44332"/>
                  </a:cubicBezTo>
                  <a:cubicBezTo>
                    <a:pt x="12292" y="41762"/>
                    <a:pt x="11007" y="38549"/>
                    <a:pt x="11007" y="34052"/>
                  </a:cubicBezTo>
                  <a:cubicBezTo>
                    <a:pt x="30281" y="37264"/>
                    <a:pt x="59836" y="41762"/>
                    <a:pt x="68831" y="39834"/>
                  </a:cubicBezTo>
                  <a:cubicBezTo>
                    <a:pt x="82965" y="37264"/>
                    <a:pt x="134364" y="32124"/>
                    <a:pt x="152354" y="20559"/>
                  </a:cubicBezTo>
                  <a:cubicBezTo>
                    <a:pt x="170344" y="8995"/>
                    <a:pt x="164561" y="0"/>
                    <a:pt x="188333" y="0"/>
                  </a:cubicBezTo>
                  <a:cubicBezTo>
                    <a:pt x="212105" y="0"/>
                    <a:pt x="229452" y="12850"/>
                    <a:pt x="247442" y="20559"/>
                  </a:cubicBezTo>
                  <a:cubicBezTo>
                    <a:pt x="265432" y="27627"/>
                    <a:pt x="283421" y="29554"/>
                    <a:pt x="287276" y="37264"/>
                  </a:cubicBezTo>
                  <a:cubicBezTo>
                    <a:pt x="291131" y="44974"/>
                    <a:pt x="296914" y="84808"/>
                    <a:pt x="300126" y="97015"/>
                  </a:cubicBezTo>
                  <a:cubicBezTo>
                    <a:pt x="303338" y="109865"/>
                    <a:pt x="312976" y="118860"/>
                    <a:pt x="315546" y="122073"/>
                  </a:cubicBezTo>
                  <a:cubicBezTo>
                    <a:pt x="318116" y="125285"/>
                    <a:pt x="318116" y="140062"/>
                    <a:pt x="312333" y="146487"/>
                  </a:cubicBezTo>
                  <a:cubicBezTo>
                    <a:pt x="306551" y="152912"/>
                    <a:pt x="280851" y="159337"/>
                    <a:pt x="283421" y="174114"/>
                  </a:cubicBezTo>
                  <a:cubicBezTo>
                    <a:pt x="287919" y="187606"/>
                    <a:pt x="298199" y="199171"/>
                    <a:pt x="313618" y="212663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8" name="Freihandform 467">
              <a:extLst>
                <a:ext uri="{FF2B5EF4-FFF2-40B4-BE49-F238E27FC236}">
                  <a16:creationId xmlns:a16="http://schemas.microsoft.com/office/drawing/2014/main" id="{B0F808AA-8DCA-7E31-D425-B2F8AC844EDE}"/>
                </a:ext>
              </a:extLst>
            </p:cNvPr>
            <p:cNvSpPr/>
            <p:nvPr/>
          </p:nvSpPr>
          <p:spPr>
            <a:xfrm>
              <a:off x="1854231" y="4557865"/>
              <a:ext cx="317190" cy="231937"/>
            </a:xfrm>
            <a:custGeom>
              <a:avLst/>
              <a:gdLst>
                <a:gd name="connsiteX0" fmla="*/ 313618 w 317190"/>
                <a:gd name="connsiteY0" fmla="*/ 212663 h 231937"/>
                <a:gd name="connsiteX1" fmla="*/ 314261 w 317190"/>
                <a:gd name="connsiteY1" fmla="*/ 213306 h 231937"/>
                <a:gd name="connsiteX2" fmla="*/ 312333 w 317190"/>
                <a:gd name="connsiteY2" fmla="*/ 215876 h 231937"/>
                <a:gd name="connsiteX3" fmla="*/ 291774 w 317190"/>
                <a:gd name="connsiteY3" fmla="*/ 226798 h 231937"/>
                <a:gd name="connsiteX4" fmla="*/ 266717 w 317190"/>
                <a:gd name="connsiteY4" fmla="*/ 231938 h 231937"/>
                <a:gd name="connsiteX5" fmla="*/ 255152 w 317190"/>
                <a:gd name="connsiteY5" fmla="*/ 228083 h 231937"/>
                <a:gd name="connsiteX6" fmla="*/ 229452 w 317190"/>
                <a:gd name="connsiteY6" fmla="*/ 226155 h 231937"/>
                <a:gd name="connsiteX7" fmla="*/ 211463 w 317190"/>
                <a:gd name="connsiteY7" fmla="*/ 213948 h 231937"/>
                <a:gd name="connsiteX8" fmla="*/ 201826 w 317190"/>
                <a:gd name="connsiteY8" fmla="*/ 197886 h 231937"/>
                <a:gd name="connsiteX9" fmla="*/ 184478 w 317190"/>
                <a:gd name="connsiteY9" fmla="*/ 183751 h 231937"/>
                <a:gd name="connsiteX10" fmla="*/ 166489 w 317190"/>
                <a:gd name="connsiteY10" fmla="*/ 176684 h 231937"/>
                <a:gd name="connsiteX11" fmla="*/ 154281 w 317190"/>
                <a:gd name="connsiteY11" fmla="*/ 190819 h 231937"/>
                <a:gd name="connsiteX12" fmla="*/ 155566 w 317190"/>
                <a:gd name="connsiteY12" fmla="*/ 204953 h 231937"/>
                <a:gd name="connsiteX13" fmla="*/ 127297 w 317190"/>
                <a:gd name="connsiteY13" fmla="*/ 206881 h 231937"/>
                <a:gd name="connsiteX14" fmla="*/ 110592 w 317190"/>
                <a:gd name="connsiteY14" fmla="*/ 199813 h 231937"/>
                <a:gd name="connsiteX15" fmla="*/ 109307 w 317190"/>
                <a:gd name="connsiteY15" fmla="*/ 186964 h 231937"/>
                <a:gd name="connsiteX16" fmla="*/ 102882 w 317190"/>
                <a:gd name="connsiteY16" fmla="*/ 177969 h 231937"/>
                <a:gd name="connsiteX17" fmla="*/ 99028 w 317190"/>
                <a:gd name="connsiteY17" fmla="*/ 168332 h 231937"/>
                <a:gd name="connsiteX18" fmla="*/ 94530 w 317190"/>
                <a:gd name="connsiteY18" fmla="*/ 151627 h 231937"/>
                <a:gd name="connsiteX19" fmla="*/ 82965 w 317190"/>
                <a:gd name="connsiteY19" fmla="*/ 131067 h 231937"/>
                <a:gd name="connsiteX20" fmla="*/ 75256 w 317190"/>
                <a:gd name="connsiteY20" fmla="*/ 118860 h 231937"/>
                <a:gd name="connsiteX21" fmla="*/ 70116 w 317190"/>
                <a:gd name="connsiteY21" fmla="*/ 106010 h 231937"/>
                <a:gd name="connsiteX22" fmla="*/ 62406 w 317190"/>
                <a:gd name="connsiteY22" fmla="*/ 93161 h 231937"/>
                <a:gd name="connsiteX23" fmla="*/ 46344 w 317190"/>
                <a:gd name="connsiteY23" fmla="*/ 75171 h 231937"/>
                <a:gd name="connsiteX24" fmla="*/ 26427 w 317190"/>
                <a:gd name="connsiteY24" fmla="*/ 68104 h 231937"/>
                <a:gd name="connsiteX25" fmla="*/ 7152 w 317190"/>
                <a:gd name="connsiteY25" fmla="*/ 71958 h 231937"/>
                <a:gd name="connsiteX26" fmla="*/ 2654 w 317190"/>
                <a:gd name="connsiteY26" fmla="*/ 61679 h 231937"/>
                <a:gd name="connsiteX27" fmla="*/ 12292 w 317190"/>
                <a:gd name="connsiteY27" fmla="*/ 44332 h 231937"/>
                <a:gd name="connsiteX28" fmla="*/ 11007 w 317190"/>
                <a:gd name="connsiteY28" fmla="*/ 34052 h 231937"/>
                <a:gd name="connsiteX29" fmla="*/ 68831 w 317190"/>
                <a:gd name="connsiteY29" fmla="*/ 39834 h 231937"/>
                <a:gd name="connsiteX30" fmla="*/ 152354 w 317190"/>
                <a:gd name="connsiteY30" fmla="*/ 20559 h 231937"/>
                <a:gd name="connsiteX31" fmla="*/ 188333 w 317190"/>
                <a:gd name="connsiteY31" fmla="*/ 0 h 231937"/>
                <a:gd name="connsiteX32" fmla="*/ 247442 w 317190"/>
                <a:gd name="connsiteY32" fmla="*/ 20559 h 231937"/>
                <a:gd name="connsiteX33" fmla="*/ 287276 w 317190"/>
                <a:gd name="connsiteY33" fmla="*/ 37264 h 231937"/>
                <a:gd name="connsiteX34" fmla="*/ 300126 w 317190"/>
                <a:gd name="connsiteY34" fmla="*/ 97015 h 231937"/>
                <a:gd name="connsiteX35" fmla="*/ 315546 w 317190"/>
                <a:gd name="connsiteY35" fmla="*/ 122073 h 231937"/>
                <a:gd name="connsiteX36" fmla="*/ 312333 w 317190"/>
                <a:gd name="connsiteY36" fmla="*/ 146487 h 231937"/>
                <a:gd name="connsiteX37" fmla="*/ 283421 w 317190"/>
                <a:gd name="connsiteY37" fmla="*/ 174114 h 231937"/>
                <a:gd name="connsiteX38" fmla="*/ 313618 w 317190"/>
                <a:gd name="connsiteY38" fmla="*/ 212663 h 23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17190" h="231937">
                  <a:moveTo>
                    <a:pt x="313618" y="212663"/>
                  </a:moveTo>
                  <a:cubicBezTo>
                    <a:pt x="313618" y="212663"/>
                    <a:pt x="314261" y="213306"/>
                    <a:pt x="314261" y="213306"/>
                  </a:cubicBezTo>
                  <a:cubicBezTo>
                    <a:pt x="313618" y="213948"/>
                    <a:pt x="312976" y="214591"/>
                    <a:pt x="312333" y="215876"/>
                  </a:cubicBezTo>
                  <a:cubicBezTo>
                    <a:pt x="307836" y="221016"/>
                    <a:pt x="293701" y="225513"/>
                    <a:pt x="291774" y="226798"/>
                  </a:cubicBezTo>
                  <a:cubicBezTo>
                    <a:pt x="289846" y="228083"/>
                    <a:pt x="270572" y="231938"/>
                    <a:pt x="266717" y="231938"/>
                  </a:cubicBezTo>
                  <a:cubicBezTo>
                    <a:pt x="262862" y="231938"/>
                    <a:pt x="256437" y="228725"/>
                    <a:pt x="255152" y="228083"/>
                  </a:cubicBezTo>
                  <a:cubicBezTo>
                    <a:pt x="253867" y="228083"/>
                    <a:pt x="238447" y="230010"/>
                    <a:pt x="229452" y="226155"/>
                  </a:cubicBezTo>
                  <a:cubicBezTo>
                    <a:pt x="220458" y="222300"/>
                    <a:pt x="211463" y="213948"/>
                    <a:pt x="211463" y="213948"/>
                  </a:cubicBezTo>
                  <a:cubicBezTo>
                    <a:pt x="211463" y="213948"/>
                    <a:pt x="206323" y="203668"/>
                    <a:pt x="201826" y="197886"/>
                  </a:cubicBezTo>
                  <a:cubicBezTo>
                    <a:pt x="197328" y="191461"/>
                    <a:pt x="188976" y="185679"/>
                    <a:pt x="184478" y="183751"/>
                  </a:cubicBezTo>
                  <a:cubicBezTo>
                    <a:pt x="179981" y="182466"/>
                    <a:pt x="169059" y="174756"/>
                    <a:pt x="166489" y="176684"/>
                  </a:cubicBezTo>
                  <a:cubicBezTo>
                    <a:pt x="163919" y="178611"/>
                    <a:pt x="152354" y="184394"/>
                    <a:pt x="154281" y="190819"/>
                  </a:cubicBezTo>
                  <a:cubicBezTo>
                    <a:pt x="156209" y="197243"/>
                    <a:pt x="161991" y="200456"/>
                    <a:pt x="155566" y="204953"/>
                  </a:cubicBezTo>
                  <a:cubicBezTo>
                    <a:pt x="149142" y="209451"/>
                    <a:pt x="131794" y="210093"/>
                    <a:pt x="127297" y="206881"/>
                  </a:cubicBezTo>
                  <a:cubicBezTo>
                    <a:pt x="122800" y="203668"/>
                    <a:pt x="111877" y="208166"/>
                    <a:pt x="110592" y="199813"/>
                  </a:cubicBezTo>
                  <a:cubicBezTo>
                    <a:pt x="109307" y="191461"/>
                    <a:pt x="109950" y="188891"/>
                    <a:pt x="109307" y="186964"/>
                  </a:cubicBezTo>
                  <a:cubicBezTo>
                    <a:pt x="109307" y="185036"/>
                    <a:pt x="104810" y="180539"/>
                    <a:pt x="102882" y="177969"/>
                  </a:cubicBezTo>
                  <a:cubicBezTo>
                    <a:pt x="100955" y="174756"/>
                    <a:pt x="99028" y="168332"/>
                    <a:pt x="99028" y="168332"/>
                  </a:cubicBezTo>
                  <a:cubicBezTo>
                    <a:pt x="99028" y="168332"/>
                    <a:pt x="97743" y="159337"/>
                    <a:pt x="94530" y="151627"/>
                  </a:cubicBezTo>
                  <a:cubicBezTo>
                    <a:pt x="91318" y="143917"/>
                    <a:pt x="86178" y="134922"/>
                    <a:pt x="82965" y="131067"/>
                  </a:cubicBezTo>
                  <a:cubicBezTo>
                    <a:pt x="79753" y="127855"/>
                    <a:pt x="75898" y="122073"/>
                    <a:pt x="75256" y="118860"/>
                  </a:cubicBezTo>
                  <a:cubicBezTo>
                    <a:pt x="74613" y="115648"/>
                    <a:pt x="71401" y="107295"/>
                    <a:pt x="70116" y="106010"/>
                  </a:cubicBezTo>
                  <a:cubicBezTo>
                    <a:pt x="68831" y="104725"/>
                    <a:pt x="62406" y="93161"/>
                    <a:pt x="62406" y="93161"/>
                  </a:cubicBezTo>
                  <a:cubicBezTo>
                    <a:pt x="62406" y="93161"/>
                    <a:pt x="50199" y="77741"/>
                    <a:pt x="46344" y="75171"/>
                  </a:cubicBezTo>
                  <a:cubicBezTo>
                    <a:pt x="43131" y="73244"/>
                    <a:pt x="32851" y="68104"/>
                    <a:pt x="26427" y="68104"/>
                  </a:cubicBezTo>
                  <a:cubicBezTo>
                    <a:pt x="20002" y="68104"/>
                    <a:pt x="9722" y="71958"/>
                    <a:pt x="7152" y="71958"/>
                  </a:cubicBezTo>
                  <a:cubicBezTo>
                    <a:pt x="4582" y="71958"/>
                    <a:pt x="-4413" y="71958"/>
                    <a:pt x="2654" y="61679"/>
                  </a:cubicBezTo>
                  <a:cubicBezTo>
                    <a:pt x="9722" y="51399"/>
                    <a:pt x="12292" y="48829"/>
                    <a:pt x="12292" y="44332"/>
                  </a:cubicBezTo>
                  <a:cubicBezTo>
                    <a:pt x="12292" y="41762"/>
                    <a:pt x="11007" y="38549"/>
                    <a:pt x="11007" y="34052"/>
                  </a:cubicBezTo>
                  <a:cubicBezTo>
                    <a:pt x="30281" y="37264"/>
                    <a:pt x="59836" y="41762"/>
                    <a:pt x="68831" y="39834"/>
                  </a:cubicBezTo>
                  <a:cubicBezTo>
                    <a:pt x="82965" y="37264"/>
                    <a:pt x="134364" y="32124"/>
                    <a:pt x="152354" y="20559"/>
                  </a:cubicBezTo>
                  <a:cubicBezTo>
                    <a:pt x="170344" y="8995"/>
                    <a:pt x="164561" y="0"/>
                    <a:pt x="188333" y="0"/>
                  </a:cubicBezTo>
                  <a:cubicBezTo>
                    <a:pt x="212105" y="0"/>
                    <a:pt x="229452" y="12850"/>
                    <a:pt x="247442" y="20559"/>
                  </a:cubicBezTo>
                  <a:cubicBezTo>
                    <a:pt x="265432" y="27627"/>
                    <a:pt x="283421" y="29554"/>
                    <a:pt x="287276" y="37264"/>
                  </a:cubicBezTo>
                  <a:cubicBezTo>
                    <a:pt x="291131" y="44974"/>
                    <a:pt x="296914" y="84808"/>
                    <a:pt x="300126" y="97015"/>
                  </a:cubicBezTo>
                  <a:cubicBezTo>
                    <a:pt x="303338" y="109865"/>
                    <a:pt x="312976" y="118860"/>
                    <a:pt x="315546" y="122073"/>
                  </a:cubicBezTo>
                  <a:cubicBezTo>
                    <a:pt x="318116" y="125285"/>
                    <a:pt x="318116" y="140062"/>
                    <a:pt x="312333" y="146487"/>
                  </a:cubicBezTo>
                  <a:cubicBezTo>
                    <a:pt x="306551" y="152912"/>
                    <a:pt x="280851" y="159337"/>
                    <a:pt x="283421" y="174114"/>
                  </a:cubicBezTo>
                  <a:cubicBezTo>
                    <a:pt x="287919" y="187606"/>
                    <a:pt x="298199" y="199171"/>
                    <a:pt x="313618" y="212663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9" name="Freihandform 468">
              <a:extLst>
                <a:ext uri="{FF2B5EF4-FFF2-40B4-BE49-F238E27FC236}">
                  <a16:creationId xmlns:a16="http://schemas.microsoft.com/office/drawing/2014/main" id="{805EB9C7-A03F-218A-B0AF-0530C6220FB8}"/>
                </a:ext>
              </a:extLst>
            </p:cNvPr>
            <p:cNvSpPr/>
            <p:nvPr/>
          </p:nvSpPr>
          <p:spPr>
            <a:xfrm>
              <a:off x="1798930" y="3998730"/>
              <a:ext cx="714516" cy="858533"/>
            </a:xfrm>
            <a:custGeom>
              <a:avLst/>
              <a:gdLst>
                <a:gd name="connsiteX0" fmla="*/ 701727 w 714516"/>
                <a:gd name="connsiteY0" fmla="*/ 708191 h 858533"/>
                <a:gd name="connsiteX1" fmla="*/ 673458 w 714516"/>
                <a:gd name="connsiteY1" fmla="*/ 740958 h 858533"/>
                <a:gd name="connsiteX2" fmla="*/ 670245 w 714516"/>
                <a:gd name="connsiteY2" fmla="*/ 768585 h 858533"/>
                <a:gd name="connsiteX3" fmla="*/ 662536 w 714516"/>
                <a:gd name="connsiteY3" fmla="*/ 804565 h 858533"/>
                <a:gd name="connsiteX4" fmla="*/ 623986 w 714516"/>
                <a:gd name="connsiteY4" fmla="*/ 854679 h 858533"/>
                <a:gd name="connsiteX5" fmla="*/ 613064 w 714516"/>
                <a:gd name="connsiteY5" fmla="*/ 858533 h 858533"/>
                <a:gd name="connsiteX6" fmla="*/ 612422 w 714516"/>
                <a:gd name="connsiteY6" fmla="*/ 855964 h 858533"/>
                <a:gd name="connsiteX7" fmla="*/ 602784 w 714516"/>
                <a:gd name="connsiteY7" fmla="*/ 847611 h 858533"/>
                <a:gd name="connsiteX8" fmla="*/ 554598 w 714516"/>
                <a:gd name="connsiteY8" fmla="*/ 830264 h 858533"/>
                <a:gd name="connsiteX9" fmla="*/ 541105 w 714516"/>
                <a:gd name="connsiteY9" fmla="*/ 819342 h 858533"/>
                <a:gd name="connsiteX10" fmla="*/ 514121 w 714516"/>
                <a:gd name="connsiteY10" fmla="*/ 818057 h 858533"/>
                <a:gd name="connsiteX11" fmla="*/ 512836 w 714516"/>
                <a:gd name="connsiteY11" fmla="*/ 818057 h 858533"/>
                <a:gd name="connsiteX12" fmla="*/ 512194 w 714516"/>
                <a:gd name="connsiteY12" fmla="*/ 818057 h 858533"/>
                <a:gd name="connsiteX13" fmla="*/ 510266 w 714516"/>
                <a:gd name="connsiteY13" fmla="*/ 818057 h 858533"/>
                <a:gd name="connsiteX14" fmla="*/ 508981 w 714516"/>
                <a:gd name="connsiteY14" fmla="*/ 818057 h 858533"/>
                <a:gd name="connsiteX15" fmla="*/ 506411 w 714516"/>
                <a:gd name="connsiteY15" fmla="*/ 818057 h 858533"/>
                <a:gd name="connsiteX16" fmla="*/ 502556 w 714516"/>
                <a:gd name="connsiteY16" fmla="*/ 818057 h 858533"/>
                <a:gd name="connsiteX17" fmla="*/ 449872 w 714516"/>
                <a:gd name="connsiteY17" fmla="*/ 814202 h 858533"/>
                <a:gd name="connsiteX18" fmla="*/ 429955 w 714516"/>
                <a:gd name="connsiteY18" fmla="*/ 796212 h 858533"/>
                <a:gd name="connsiteX19" fmla="*/ 402328 w 714516"/>
                <a:gd name="connsiteY19" fmla="*/ 766015 h 858533"/>
                <a:gd name="connsiteX20" fmla="*/ 378556 w 714516"/>
                <a:gd name="connsiteY20" fmla="*/ 760233 h 858533"/>
                <a:gd name="connsiteX21" fmla="*/ 370846 w 714516"/>
                <a:gd name="connsiteY21" fmla="*/ 770513 h 858533"/>
                <a:gd name="connsiteX22" fmla="*/ 370204 w 714516"/>
                <a:gd name="connsiteY22" fmla="*/ 769870 h 858533"/>
                <a:gd name="connsiteX23" fmla="*/ 341292 w 714516"/>
                <a:gd name="connsiteY23" fmla="*/ 730679 h 858533"/>
                <a:gd name="connsiteX24" fmla="*/ 370204 w 714516"/>
                <a:gd name="connsiteY24" fmla="*/ 703052 h 858533"/>
                <a:gd name="connsiteX25" fmla="*/ 373416 w 714516"/>
                <a:gd name="connsiteY25" fmla="*/ 678637 h 858533"/>
                <a:gd name="connsiteX26" fmla="*/ 357997 w 714516"/>
                <a:gd name="connsiteY26" fmla="*/ 653580 h 858533"/>
                <a:gd name="connsiteX27" fmla="*/ 345147 w 714516"/>
                <a:gd name="connsiteY27" fmla="*/ 593186 h 858533"/>
                <a:gd name="connsiteX28" fmla="*/ 305313 w 714516"/>
                <a:gd name="connsiteY28" fmla="*/ 576482 h 858533"/>
                <a:gd name="connsiteX29" fmla="*/ 246204 w 714516"/>
                <a:gd name="connsiteY29" fmla="*/ 555922 h 858533"/>
                <a:gd name="connsiteX30" fmla="*/ 210224 w 714516"/>
                <a:gd name="connsiteY30" fmla="*/ 576482 h 858533"/>
                <a:gd name="connsiteX31" fmla="*/ 126701 w 714516"/>
                <a:gd name="connsiteY31" fmla="*/ 595756 h 858533"/>
                <a:gd name="connsiteX32" fmla="*/ 68877 w 714516"/>
                <a:gd name="connsiteY32" fmla="*/ 589974 h 858533"/>
                <a:gd name="connsiteX33" fmla="*/ 70805 w 714516"/>
                <a:gd name="connsiteY33" fmla="*/ 580337 h 858533"/>
                <a:gd name="connsiteX34" fmla="*/ 80442 w 714516"/>
                <a:gd name="connsiteY34" fmla="*/ 554637 h 858533"/>
                <a:gd name="connsiteX35" fmla="*/ 102929 w 714516"/>
                <a:gd name="connsiteY35" fmla="*/ 525725 h 858533"/>
                <a:gd name="connsiteX36" fmla="*/ 113209 w 714516"/>
                <a:gd name="connsiteY36" fmla="*/ 511590 h 858533"/>
                <a:gd name="connsiteX37" fmla="*/ 115779 w 714516"/>
                <a:gd name="connsiteY37" fmla="*/ 493601 h 858533"/>
                <a:gd name="connsiteX38" fmla="*/ 115136 w 714516"/>
                <a:gd name="connsiteY38" fmla="*/ 480108 h 858533"/>
                <a:gd name="connsiteX39" fmla="*/ 99074 w 714516"/>
                <a:gd name="connsiteY39" fmla="*/ 476896 h 858533"/>
                <a:gd name="connsiteX40" fmla="*/ 79800 w 714516"/>
                <a:gd name="connsiteY40" fmla="*/ 468544 h 858533"/>
                <a:gd name="connsiteX41" fmla="*/ 50888 w 714516"/>
                <a:gd name="connsiteY41" fmla="*/ 455694 h 858533"/>
                <a:gd name="connsiteX42" fmla="*/ 29043 w 714516"/>
                <a:gd name="connsiteY42" fmla="*/ 431279 h 858533"/>
                <a:gd name="connsiteX43" fmla="*/ 18121 w 714516"/>
                <a:gd name="connsiteY43" fmla="*/ 414575 h 858533"/>
                <a:gd name="connsiteX44" fmla="*/ 9768 w 714516"/>
                <a:gd name="connsiteY44" fmla="*/ 390160 h 858533"/>
                <a:gd name="connsiteX45" fmla="*/ 131 w 714516"/>
                <a:gd name="connsiteY45" fmla="*/ 371528 h 858533"/>
                <a:gd name="connsiteX46" fmla="*/ 1416 w 714516"/>
                <a:gd name="connsiteY46" fmla="*/ 353539 h 858533"/>
                <a:gd name="connsiteX47" fmla="*/ 7198 w 714516"/>
                <a:gd name="connsiteY47" fmla="*/ 341331 h 858533"/>
                <a:gd name="connsiteX48" fmla="*/ 14266 w 714516"/>
                <a:gd name="connsiteY48" fmla="*/ 305352 h 858533"/>
                <a:gd name="connsiteX49" fmla="*/ 40608 w 714516"/>
                <a:gd name="connsiteY49" fmla="*/ 273870 h 858533"/>
                <a:gd name="connsiteX50" fmla="*/ 84939 w 714516"/>
                <a:gd name="connsiteY50" fmla="*/ 249456 h 858533"/>
                <a:gd name="connsiteX51" fmla="*/ 84939 w 714516"/>
                <a:gd name="connsiteY51" fmla="*/ 248813 h 858533"/>
                <a:gd name="connsiteX52" fmla="*/ 90722 w 714516"/>
                <a:gd name="connsiteY52" fmla="*/ 246886 h 858533"/>
                <a:gd name="connsiteX53" fmla="*/ 146618 w 714516"/>
                <a:gd name="connsiteY53" fmla="*/ 231466 h 858533"/>
                <a:gd name="connsiteX54" fmla="*/ 196732 w 714516"/>
                <a:gd name="connsiteY54" fmla="*/ 252668 h 858533"/>
                <a:gd name="connsiteX55" fmla="*/ 213437 w 714516"/>
                <a:gd name="connsiteY55" fmla="*/ 234036 h 858533"/>
                <a:gd name="connsiteX56" fmla="*/ 205085 w 714516"/>
                <a:gd name="connsiteY56" fmla="*/ 208336 h 858533"/>
                <a:gd name="connsiteX57" fmla="*/ 253271 w 714516"/>
                <a:gd name="connsiteY57" fmla="*/ 158222 h 858533"/>
                <a:gd name="connsiteX58" fmla="*/ 336794 w 714516"/>
                <a:gd name="connsiteY58" fmla="*/ 138948 h 858533"/>
                <a:gd name="connsiteX59" fmla="*/ 389478 w 714516"/>
                <a:gd name="connsiteY59" fmla="*/ 117746 h 858533"/>
                <a:gd name="connsiteX60" fmla="*/ 408753 w 714516"/>
                <a:gd name="connsiteY60" fmla="*/ 93331 h 858533"/>
                <a:gd name="connsiteX61" fmla="*/ 451157 w 714516"/>
                <a:gd name="connsiteY61" fmla="*/ 84979 h 858533"/>
                <a:gd name="connsiteX62" fmla="*/ 500629 w 714516"/>
                <a:gd name="connsiteY62" fmla="*/ 48357 h 858533"/>
                <a:gd name="connsiteX63" fmla="*/ 503841 w 714516"/>
                <a:gd name="connsiteY63" fmla="*/ 34222 h 858533"/>
                <a:gd name="connsiteX64" fmla="*/ 497416 w 714516"/>
                <a:gd name="connsiteY64" fmla="*/ 12378 h 858533"/>
                <a:gd name="connsiteX65" fmla="*/ 528898 w 714516"/>
                <a:gd name="connsiteY65" fmla="*/ 5310 h 858533"/>
                <a:gd name="connsiteX66" fmla="*/ 553313 w 714516"/>
                <a:gd name="connsiteY66" fmla="*/ 61849 h 858533"/>
                <a:gd name="connsiteX67" fmla="*/ 593147 w 714516"/>
                <a:gd name="connsiteY67" fmla="*/ 104896 h 858533"/>
                <a:gd name="connsiteX68" fmla="*/ 601499 w 714516"/>
                <a:gd name="connsiteY68" fmla="*/ 104253 h 858533"/>
                <a:gd name="connsiteX69" fmla="*/ 602142 w 714516"/>
                <a:gd name="connsiteY69" fmla="*/ 113248 h 858533"/>
                <a:gd name="connsiteX70" fmla="*/ 600857 w 714516"/>
                <a:gd name="connsiteY70" fmla="*/ 124813 h 858533"/>
                <a:gd name="connsiteX71" fmla="*/ 614349 w 714516"/>
                <a:gd name="connsiteY71" fmla="*/ 142803 h 858533"/>
                <a:gd name="connsiteX72" fmla="*/ 609852 w 714516"/>
                <a:gd name="connsiteY72" fmla="*/ 166575 h 858533"/>
                <a:gd name="connsiteX73" fmla="*/ 595717 w 714516"/>
                <a:gd name="connsiteY73" fmla="*/ 175570 h 858533"/>
                <a:gd name="connsiteX74" fmla="*/ 593789 w 714516"/>
                <a:gd name="connsiteY74" fmla="*/ 170430 h 858533"/>
                <a:gd name="connsiteX75" fmla="*/ 571945 w 714516"/>
                <a:gd name="connsiteY75" fmla="*/ 164647 h 858533"/>
                <a:gd name="connsiteX76" fmla="*/ 565520 w 714516"/>
                <a:gd name="connsiteY76" fmla="*/ 191632 h 858533"/>
                <a:gd name="connsiteX77" fmla="*/ 561023 w 714516"/>
                <a:gd name="connsiteY77" fmla="*/ 201269 h 858533"/>
                <a:gd name="connsiteX78" fmla="*/ 555240 w 714516"/>
                <a:gd name="connsiteY78" fmla="*/ 224399 h 858533"/>
                <a:gd name="connsiteX79" fmla="*/ 577085 w 714516"/>
                <a:gd name="connsiteY79" fmla="*/ 236606 h 858533"/>
                <a:gd name="connsiteX80" fmla="*/ 600214 w 714516"/>
                <a:gd name="connsiteY80" fmla="*/ 279653 h 858533"/>
                <a:gd name="connsiteX81" fmla="*/ 592504 w 714516"/>
                <a:gd name="connsiteY81" fmla="*/ 290575 h 858533"/>
                <a:gd name="connsiteX82" fmla="*/ 568090 w 714516"/>
                <a:gd name="connsiteY82" fmla="*/ 297000 h 858533"/>
                <a:gd name="connsiteX83" fmla="*/ 537251 w 714516"/>
                <a:gd name="connsiteY83" fmla="*/ 312419 h 858533"/>
                <a:gd name="connsiteX84" fmla="*/ 523758 w 714516"/>
                <a:gd name="connsiteY84" fmla="*/ 337476 h 858533"/>
                <a:gd name="connsiteX85" fmla="*/ 497416 w 714516"/>
                <a:gd name="connsiteY85" fmla="*/ 384378 h 858533"/>
                <a:gd name="connsiteX86" fmla="*/ 514763 w 714516"/>
                <a:gd name="connsiteY86" fmla="*/ 408150 h 858533"/>
                <a:gd name="connsiteX87" fmla="*/ 566162 w 714516"/>
                <a:gd name="connsiteY87" fmla="*/ 413932 h 858533"/>
                <a:gd name="connsiteX88" fmla="*/ 621416 w 714516"/>
                <a:gd name="connsiteY88" fmla="*/ 390160 h 858533"/>
                <a:gd name="connsiteX89" fmla="*/ 664463 w 714516"/>
                <a:gd name="connsiteY89" fmla="*/ 426782 h 858533"/>
                <a:gd name="connsiteX90" fmla="*/ 686308 w 714516"/>
                <a:gd name="connsiteY90" fmla="*/ 498098 h 858533"/>
                <a:gd name="connsiteX91" fmla="*/ 667675 w 714516"/>
                <a:gd name="connsiteY91" fmla="*/ 541787 h 858533"/>
                <a:gd name="connsiteX92" fmla="*/ 687593 w 714516"/>
                <a:gd name="connsiteY92" fmla="*/ 582906 h 858533"/>
                <a:gd name="connsiteX93" fmla="*/ 688235 w 714516"/>
                <a:gd name="connsiteY93" fmla="*/ 584834 h 858533"/>
                <a:gd name="connsiteX94" fmla="*/ 686308 w 714516"/>
                <a:gd name="connsiteY94" fmla="*/ 602181 h 858533"/>
                <a:gd name="connsiteX95" fmla="*/ 689520 w 714516"/>
                <a:gd name="connsiteY95" fmla="*/ 624026 h 858533"/>
                <a:gd name="connsiteX96" fmla="*/ 701727 w 714516"/>
                <a:gd name="connsiteY96" fmla="*/ 644585 h 858533"/>
                <a:gd name="connsiteX97" fmla="*/ 713935 w 714516"/>
                <a:gd name="connsiteY97" fmla="*/ 674140 h 858533"/>
                <a:gd name="connsiteX98" fmla="*/ 701727 w 714516"/>
                <a:gd name="connsiteY98" fmla="*/ 708191 h 85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714516" h="858533">
                  <a:moveTo>
                    <a:pt x="701727" y="708191"/>
                  </a:moveTo>
                  <a:cubicBezTo>
                    <a:pt x="697230" y="720399"/>
                    <a:pt x="682453" y="734533"/>
                    <a:pt x="673458" y="740958"/>
                  </a:cubicBezTo>
                  <a:cubicBezTo>
                    <a:pt x="664463" y="748026"/>
                    <a:pt x="670245" y="760875"/>
                    <a:pt x="670245" y="768585"/>
                  </a:cubicBezTo>
                  <a:cubicBezTo>
                    <a:pt x="670245" y="776295"/>
                    <a:pt x="665106" y="793642"/>
                    <a:pt x="662536" y="804565"/>
                  </a:cubicBezTo>
                  <a:cubicBezTo>
                    <a:pt x="659966" y="815487"/>
                    <a:pt x="631054" y="852109"/>
                    <a:pt x="623986" y="854679"/>
                  </a:cubicBezTo>
                  <a:cubicBezTo>
                    <a:pt x="622059" y="855321"/>
                    <a:pt x="617561" y="857249"/>
                    <a:pt x="613064" y="858533"/>
                  </a:cubicBezTo>
                  <a:cubicBezTo>
                    <a:pt x="613064" y="857249"/>
                    <a:pt x="612422" y="856606"/>
                    <a:pt x="612422" y="855964"/>
                  </a:cubicBezTo>
                  <a:cubicBezTo>
                    <a:pt x="611137" y="853394"/>
                    <a:pt x="606639" y="848896"/>
                    <a:pt x="602784" y="847611"/>
                  </a:cubicBezTo>
                  <a:cubicBezTo>
                    <a:pt x="598287" y="846326"/>
                    <a:pt x="559738" y="834762"/>
                    <a:pt x="554598" y="830264"/>
                  </a:cubicBezTo>
                  <a:cubicBezTo>
                    <a:pt x="549458" y="825767"/>
                    <a:pt x="548173" y="819342"/>
                    <a:pt x="541105" y="819342"/>
                  </a:cubicBezTo>
                  <a:cubicBezTo>
                    <a:pt x="534038" y="819342"/>
                    <a:pt x="516048" y="818057"/>
                    <a:pt x="514121" y="818057"/>
                  </a:cubicBezTo>
                  <a:cubicBezTo>
                    <a:pt x="514121" y="818057"/>
                    <a:pt x="513478" y="818057"/>
                    <a:pt x="512836" y="818057"/>
                  </a:cubicBezTo>
                  <a:cubicBezTo>
                    <a:pt x="512836" y="818057"/>
                    <a:pt x="512194" y="818057"/>
                    <a:pt x="512194" y="818057"/>
                  </a:cubicBezTo>
                  <a:cubicBezTo>
                    <a:pt x="511551" y="818057"/>
                    <a:pt x="510909" y="818057"/>
                    <a:pt x="510266" y="818057"/>
                  </a:cubicBezTo>
                  <a:cubicBezTo>
                    <a:pt x="509624" y="818057"/>
                    <a:pt x="509624" y="818057"/>
                    <a:pt x="508981" y="818057"/>
                  </a:cubicBezTo>
                  <a:cubicBezTo>
                    <a:pt x="508339" y="818057"/>
                    <a:pt x="507054" y="818057"/>
                    <a:pt x="506411" y="818057"/>
                  </a:cubicBezTo>
                  <a:cubicBezTo>
                    <a:pt x="505126" y="818057"/>
                    <a:pt x="503841" y="818057"/>
                    <a:pt x="502556" y="818057"/>
                  </a:cubicBezTo>
                  <a:cubicBezTo>
                    <a:pt x="485209" y="819342"/>
                    <a:pt x="454370" y="820627"/>
                    <a:pt x="449872" y="814202"/>
                  </a:cubicBezTo>
                  <a:cubicBezTo>
                    <a:pt x="443447" y="805850"/>
                    <a:pt x="434453" y="801352"/>
                    <a:pt x="429955" y="796212"/>
                  </a:cubicBezTo>
                  <a:cubicBezTo>
                    <a:pt x="425458" y="791072"/>
                    <a:pt x="406826" y="768585"/>
                    <a:pt x="402328" y="766015"/>
                  </a:cubicBezTo>
                  <a:cubicBezTo>
                    <a:pt x="398473" y="763445"/>
                    <a:pt x="382411" y="757021"/>
                    <a:pt x="378556" y="760233"/>
                  </a:cubicBezTo>
                  <a:cubicBezTo>
                    <a:pt x="374701" y="762803"/>
                    <a:pt x="374059" y="766015"/>
                    <a:pt x="370846" y="770513"/>
                  </a:cubicBezTo>
                  <a:cubicBezTo>
                    <a:pt x="370846" y="770513"/>
                    <a:pt x="370204" y="769870"/>
                    <a:pt x="370204" y="769870"/>
                  </a:cubicBezTo>
                  <a:cubicBezTo>
                    <a:pt x="354784" y="757021"/>
                    <a:pt x="343862" y="745456"/>
                    <a:pt x="341292" y="730679"/>
                  </a:cubicBezTo>
                  <a:cubicBezTo>
                    <a:pt x="338722" y="715901"/>
                    <a:pt x="364421" y="709477"/>
                    <a:pt x="370204" y="703052"/>
                  </a:cubicBezTo>
                  <a:cubicBezTo>
                    <a:pt x="376629" y="696627"/>
                    <a:pt x="376629" y="681849"/>
                    <a:pt x="373416" y="678637"/>
                  </a:cubicBezTo>
                  <a:cubicBezTo>
                    <a:pt x="370846" y="675425"/>
                    <a:pt x="361209" y="665787"/>
                    <a:pt x="357997" y="653580"/>
                  </a:cubicBezTo>
                  <a:cubicBezTo>
                    <a:pt x="354784" y="641373"/>
                    <a:pt x="349002" y="601539"/>
                    <a:pt x="345147" y="593186"/>
                  </a:cubicBezTo>
                  <a:cubicBezTo>
                    <a:pt x="341292" y="585476"/>
                    <a:pt x="322660" y="583549"/>
                    <a:pt x="305313" y="576482"/>
                  </a:cubicBezTo>
                  <a:cubicBezTo>
                    <a:pt x="287323" y="569414"/>
                    <a:pt x="269976" y="555922"/>
                    <a:pt x="246204" y="555922"/>
                  </a:cubicBezTo>
                  <a:cubicBezTo>
                    <a:pt x="222432" y="555922"/>
                    <a:pt x="227572" y="565559"/>
                    <a:pt x="210224" y="576482"/>
                  </a:cubicBezTo>
                  <a:cubicBezTo>
                    <a:pt x="192235" y="588046"/>
                    <a:pt x="140836" y="593186"/>
                    <a:pt x="126701" y="595756"/>
                  </a:cubicBezTo>
                  <a:cubicBezTo>
                    <a:pt x="117706" y="597684"/>
                    <a:pt x="88152" y="593186"/>
                    <a:pt x="68877" y="589974"/>
                  </a:cubicBezTo>
                  <a:cubicBezTo>
                    <a:pt x="68877" y="587404"/>
                    <a:pt x="69520" y="584191"/>
                    <a:pt x="70805" y="580337"/>
                  </a:cubicBezTo>
                  <a:cubicBezTo>
                    <a:pt x="75302" y="569414"/>
                    <a:pt x="77872" y="558492"/>
                    <a:pt x="80442" y="554637"/>
                  </a:cubicBezTo>
                  <a:cubicBezTo>
                    <a:pt x="83654" y="550782"/>
                    <a:pt x="96504" y="531507"/>
                    <a:pt x="102929" y="525725"/>
                  </a:cubicBezTo>
                  <a:cubicBezTo>
                    <a:pt x="109354" y="519943"/>
                    <a:pt x="112566" y="520585"/>
                    <a:pt x="113209" y="511590"/>
                  </a:cubicBezTo>
                  <a:cubicBezTo>
                    <a:pt x="113851" y="502596"/>
                    <a:pt x="113851" y="497456"/>
                    <a:pt x="115779" y="493601"/>
                  </a:cubicBezTo>
                  <a:cubicBezTo>
                    <a:pt x="117706" y="489746"/>
                    <a:pt x="117064" y="482678"/>
                    <a:pt x="115136" y="480108"/>
                  </a:cubicBezTo>
                  <a:cubicBezTo>
                    <a:pt x="113209" y="478181"/>
                    <a:pt x="102287" y="476253"/>
                    <a:pt x="99074" y="476896"/>
                  </a:cubicBezTo>
                  <a:cubicBezTo>
                    <a:pt x="95862" y="477539"/>
                    <a:pt x="85582" y="472399"/>
                    <a:pt x="79800" y="468544"/>
                  </a:cubicBezTo>
                  <a:cubicBezTo>
                    <a:pt x="73375" y="464689"/>
                    <a:pt x="57955" y="465331"/>
                    <a:pt x="50888" y="455694"/>
                  </a:cubicBezTo>
                  <a:cubicBezTo>
                    <a:pt x="43820" y="446699"/>
                    <a:pt x="32898" y="437704"/>
                    <a:pt x="29043" y="431279"/>
                  </a:cubicBezTo>
                  <a:cubicBezTo>
                    <a:pt x="25188" y="424855"/>
                    <a:pt x="18121" y="414575"/>
                    <a:pt x="18121" y="414575"/>
                  </a:cubicBezTo>
                  <a:cubicBezTo>
                    <a:pt x="18121" y="414575"/>
                    <a:pt x="14908" y="401083"/>
                    <a:pt x="9768" y="390160"/>
                  </a:cubicBezTo>
                  <a:cubicBezTo>
                    <a:pt x="5271" y="379238"/>
                    <a:pt x="131" y="374098"/>
                    <a:pt x="131" y="371528"/>
                  </a:cubicBezTo>
                  <a:cubicBezTo>
                    <a:pt x="-511" y="368958"/>
                    <a:pt x="1416" y="353539"/>
                    <a:pt x="1416" y="353539"/>
                  </a:cubicBezTo>
                  <a:cubicBezTo>
                    <a:pt x="1416" y="353539"/>
                    <a:pt x="3986" y="354181"/>
                    <a:pt x="7198" y="341331"/>
                  </a:cubicBezTo>
                  <a:cubicBezTo>
                    <a:pt x="10411" y="327839"/>
                    <a:pt x="11696" y="314347"/>
                    <a:pt x="14266" y="305352"/>
                  </a:cubicBezTo>
                  <a:cubicBezTo>
                    <a:pt x="16836" y="296357"/>
                    <a:pt x="22618" y="282865"/>
                    <a:pt x="40608" y="273870"/>
                  </a:cubicBezTo>
                  <a:cubicBezTo>
                    <a:pt x="58597" y="264875"/>
                    <a:pt x="83654" y="259093"/>
                    <a:pt x="84939" y="249456"/>
                  </a:cubicBezTo>
                  <a:cubicBezTo>
                    <a:pt x="84939" y="249456"/>
                    <a:pt x="84939" y="248813"/>
                    <a:pt x="84939" y="248813"/>
                  </a:cubicBezTo>
                  <a:cubicBezTo>
                    <a:pt x="86867" y="248813"/>
                    <a:pt x="88794" y="248170"/>
                    <a:pt x="90722" y="246886"/>
                  </a:cubicBezTo>
                  <a:cubicBezTo>
                    <a:pt x="102287" y="240461"/>
                    <a:pt x="135696" y="228254"/>
                    <a:pt x="146618" y="231466"/>
                  </a:cubicBezTo>
                  <a:cubicBezTo>
                    <a:pt x="158183" y="234036"/>
                    <a:pt x="188380" y="253953"/>
                    <a:pt x="196732" y="252668"/>
                  </a:cubicBezTo>
                  <a:cubicBezTo>
                    <a:pt x="205085" y="251383"/>
                    <a:pt x="219219" y="246886"/>
                    <a:pt x="213437" y="234036"/>
                  </a:cubicBezTo>
                  <a:cubicBezTo>
                    <a:pt x="207655" y="221186"/>
                    <a:pt x="198017" y="223756"/>
                    <a:pt x="205085" y="208336"/>
                  </a:cubicBezTo>
                  <a:cubicBezTo>
                    <a:pt x="212152" y="193559"/>
                    <a:pt x="228857" y="165290"/>
                    <a:pt x="253271" y="158222"/>
                  </a:cubicBezTo>
                  <a:cubicBezTo>
                    <a:pt x="277686" y="151155"/>
                    <a:pt x="310452" y="144088"/>
                    <a:pt x="336794" y="138948"/>
                  </a:cubicBezTo>
                  <a:cubicBezTo>
                    <a:pt x="363137" y="133165"/>
                    <a:pt x="386266" y="123528"/>
                    <a:pt x="389478" y="117746"/>
                  </a:cubicBezTo>
                  <a:cubicBezTo>
                    <a:pt x="392691" y="112606"/>
                    <a:pt x="393333" y="97186"/>
                    <a:pt x="408753" y="93331"/>
                  </a:cubicBezTo>
                  <a:cubicBezTo>
                    <a:pt x="424173" y="89476"/>
                    <a:pt x="435737" y="97186"/>
                    <a:pt x="451157" y="84979"/>
                  </a:cubicBezTo>
                  <a:cubicBezTo>
                    <a:pt x="466577" y="72772"/>
                    <a:pt x="496774" y="54782"/>
                    <a:pt x="500629" y="48357"/>
                  </a:cubicBezTo>
                  <a:cubicBezTo>
                    <a:pt x="504484" y="42575"/>
                    <a:pt x="512194" y="40647"/>
                    <a:pt x="503841" y="34222"/>
                  </a:cubicBezTo>
                  <a:cubicBezTo>
                    <a:pt x="496131" y="27797"/>
                    <a:pt x="489706" y="28440"/>
                    <a:pt x="497416" y="12378"/>
                  </a:cubicBezTo>
                  <a:cubicBezTo>
                    <a:pt x="505126" y="-3042"/>
                    <a:pt x="526328" y="-2400"/>
                    <a:pt x="528898" y="5310"/>
                  </a:cubicBezTo>
                  <a:cubicBezTo>
                    <a:pt x="532111" y="13020"/>
                    <a:pt x="539178" y="38720"/>
                    <a:pt x="553313" y="61849"/>
                  </a:cubicBezTo>
                  <a:cubicBezTo>
                    <a:pt x="568090" y="84336"/>
                    <a:pt x="584152" y="104253"/>
                    <a:pt x="593147" y="104896"/>
                  </a:cubicBezTo>
                  <a:cubicBezTo>
                    <a:pt x="595717" y="104896"/>
                    <a:pt x="598287" y="104896"/>
                    <a:pt x="601499" y="104253"/>
                  </a:cubicBezTo>
                  <a:cubicBezTo>
                    <a:pt x="602142" y="108108"/>
                    <a:pt x="602142" y="111321"/>
                    <a:pt x="602142" y="113248"/>
                  </a:cubicBezTo>
                  <a:cubicBezTo>
                    <a:pt x="602142" y="119031"/>
                    <a:pt x="599572" y="120958"/>
                    <a:pt x="600857" y="124813"/>
                  </a:cubicBezTo>
                  <a:cubicBezTo>
                    <a:pt x="602784" y="128668"/>
                    <a:pt x="614349" y="142803"/>
                    <a:pt x="614349" y="142803"/>
                  </a:cubicBezTo>
                  <a:cubicBezTo>
                    <a:pt x="614349" y="142803"/>
                    <a:pt x="612422" y="159507"/>
                    <a:pt x="609852" y="166575"/>
                  </a:cubicBezTo>
                  <a:cubicBezTo>
                    <a:pt x="607924" y="173642"/>
                    <a:pt x="601499" y="174927"/>
                    <a:pt x="595717" y="175570"/>
                  </a:cubicBezTo>
                  <a:cubicBezTo>
                    <a:pt x="589934" y="176212"/>
                    <a:pt x="593789" y="172357"/>
                    <a:pt x="593789" y="170430"/>
                  </a:cubicBezTo>
                  <a:cubicBezTo>
                    <a:pt x="593789" y="168502"/>
                    <a:pt x="575800" y="164005"/>
                    <a:pt x="571945" y="164647"/>
                  </a:cubicBezTo>
                  <a:cubicBezTo>
                    <a:pt x="568090" y="165290"/>
                    <a:pt x="566805" y="183279"/>
                    <a:pt x="565520" y="191632"/>
                  </a:cubicBezTo>
                  <a:cubicBezTo>
                    <a:pt x="564235" y="199984"/>
                    <a:pt x="563593" y="199984"/>
                    <a:pt x="561023" y="201269"/>
                  </a:cubicBezTo>
                  <a:cubicBezTo>
                    <a:pt x="559095" y="202554"/>
                    <a:pt x="554598" y="211549"/>
                    <a:pt x="555240" y="224399"/>
                  </a:cubicBezTo>
                  <a:cubicBezTo>
                    <a:pt x="555883" y="237248"/>
                    <a:pt x="568090" y="232108"/>
                    <a:pt x="577085" y="236606"/>
                  </a:cubicBezTo>
                  <a:cubicBezTo>
                    <a:pt x="586080" y="241103"/>
                    <a:pt x="595717" y="273870"/>
                    <a:pt x="600214" y="279653"/>
                  </a:cubicBezTo>
                  <a:cubicBezTo>
                    <a:pt x="604712" y="286077"/>
                    <a:pt x="602142" y="289290"/>
                    <a:pt x="592504" y="290575"/>
                  </a:cubicBezTo>
                  <a:cubicBezTo>
                    <a:pt x="582867" y="291860"/>
                    <a:pt x="575800" y="293145"/>
                    <a:pt x="568090" y="297000"/>
                  </a:cubicBezTo>
                  <a:cubicBezTo>
                    <a:pt x="560380" y="300855"/>
                    <a:pt x="543675" y="307279"/>
                    <a:pt x="537251" y="312419"/>
                  </a:cubicBezTo>
                  <a:cubicBezTo>
                    <a:pt x="530826" y="316917"/>
                    <a:pt x="532111" y="322057"/>
                    <a:pt x="523758" y="337476"/>
                  </a:cubicBezTo>
                  <a:cubicBezTo>
                    <a:pt x="515406" y="352896"/>
                    <a:pt x="501271" y="370243"/>
                    <a:pt x="497416" y="384378"/>
                  </a:cubicBezTo>
                  <a:cubicBezTo>
                    <a:pt x="493561" y="398513"/>
                    <a:pt x="509624" y="401725"/>
                    <a:pt x="514763" y="408150"/>
                  </a:cubicBezTo>
                  <a:cubicBezTo>
                    <a:pt x="519903" y="414575"/>
                    <a:pt x="546888" y="417787"/>
                    <a:pt x="566162" y="413932"/>
                  </a:cubicBezTo>
                  <a:cubicBezTo>
                    <a:pt x="585437" y="410077"/>
                    <a:pt x="610494" y="390160"/>
                    <a:pt x="621416" y="390160"/>
                  </a:cubicBezTo>
                  <a:cubicBezTo>
                    <a:pt x="632339" y="389518"/>
                    <a:pt x="651613" y="408150"/>
                    <a:pt x="664463" y="426782"/>
                  </a:cubicBezTo>
                  <a:cubicBezTo>
                    <a:pt x="677313" y="445414"/>
                    <a:pt x="686308" y="483963"/>
                    <a:pt x="686308" y="498098"/>
                  </a:cubicBezTo>
                  <a:cubicBezTo>
                    <a:pt x="686308" y="512233"/>
                    <a:pt x="670245" y="529580"/>
                    <a:pt x="667675" y="541787"/>
                  </a:cubicBezTo>
                  <a:cubicBezTo>
                    <a:pt x="665106" y="554637"/>
                    <a:pt x="685023" y="579051"/>
                    <a:pt x="687593" y="582906"/>
                  </a:cubicBezTo>
                  <a:cubicBezTo>
                    <a:pt x="688235" y="583549"/>
                    <a:pt x="688235" y="584191"/>
                    <a:pt x="688235" y="584834"/>
                  </a:cubicBezTo>
                  <a:cubicBezTo>
                    <a:pt x="689520" y="589331"/>
                    <a:pt x="686308" y="597684"/>
                    <a:pt x="686308" y="602181"/>
                  </a:cubicBezTo>
                  <a:cubicBezTo>
                    <a:pt x="686308" y="606679"/>
                    <a:pt x="686308" y="617601"/>
                    <a:pt x="689520" y="624026"/>
                  </a:cubicBezTo>
                  <a:cubicBezTo>
                    <a:pt x="692732" y="631093"/>
                    <a:pt x="696587" y="640088"/>
                    <a:pt x="701727" y="644585"/>
                  </a:cubicBezTo>
                  <a:cubicBezTo>
                    <a:pt x="706867" y="649083"/>
                    <a:pt x="710722" y="662575"/>
                    <a:pt x="713935" y="674140"/>
                  </a:cubicBezTo>
                  <a:cubicBezTo>
                    <a:pt x="717147" y="686347"/>
                    <a:pt x="706225" y="696627"/>
                    <a:pt x="701727" y="708191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1" name="Freihandform 470">
              <a:extLst>
                <a:ext uri="{FF2B5EF4-FFF2-40B4-BE49-F238E27FC236}">
                  <a16:creationId xmlns:a16="http://schemas.microsoft.com/office/drawing/2014/main" id="{96BEB804-913E-48D8-BBAB-8BE0C2095D87}"/>
                </a:ext>
              </a:extLst>
            </p:cNvPr>
            <p:cNvSpPr/>
            <p:nvPr/>
          </p:nvSpPr>
          <p:spPr>
            <a:xfrm>
              <a:off x="1798930" y="3998730"/>
              <a:ext cx="714516" cy="858533"/>
            </a:xfrm>
            <a:custGeom>
              <a:avLst/>
              <a:gdLst>
                <a:gd name="connsiteX0" fmla="*/ 701727 w 714516"/>
                <a:gd name="connsiteY0" fmla="*/ 708191 h 858533"/>
                <a:gd name="connsiteX1" fmla="*/ 673458 w 714516"/>
                <a:gd name="connsiteY1" fmla="*/ 740958 h 858533"/>
                <a:gd name="connsiteX2" fmla="*/ 670245 w 714516"/>
                <a:gd name="connsiteY2" fmla="*/ 768585 h 858533"/>
                <a:gd name="connsiteX3" fmla="*/ 662536 w 714516"/>
                <a:gd name="connsiteY3" fmla="*/ 804565 h 858533"/>
                <a:gd name="connsiteX4" fmla="*/ 623986 w 714516"/>
                <a:gd name="connsiteY4" fmla="*/ 854679 h 858533"/>
                <a:gd name="connsiteX5" fmla="*/ 613064 w 714516"/>
                <a:gd name="connsiteY5" fmla="*/ 858533 h 858533"/>
                <a:gd name="connsiteX6" fmla="*/ 612422 w 714516"/>
                <a:gd name="connsiteY6" fmla="*/ 855964 h 858533"/>
                <a:gd name="connsiteX7" fmla="*/ 602784 w 714516"/>
                <a:gd name="connsiteY7" fmla="*/ 847611 h 858533"/>
                <a:gd name="connsiteX8" fmla="*/ 554598 w 714516"/>
                <a:gd name="connsiteY8" fmla="*/ 830264 h 858533"/>
                <a:gd name="connsiteX9" fmla="*/ 541105 w 714516"/>
                <a:gd name="connsiteY9" fmla="*/ 819342 h 858533"/>
                <a:gd name="connsiteX10" fmla="*/ 514121 w 714516"/>
                <a:gd name="connsiteY10" fmla="*/ 818057 h 858533"/>
                <a:gd name="connsiteX11" fmla="*/ 512836 w 714516"/>
                <a:gd name="connsiteY11" fmla="*/ 818057 h 858533"/>
                <a:gd name="connsiteX12" fmla="*/ 512194 w 714516"/>
                <a:gd name="connsiteY12" fmla="*/ 818057 h 858533"/>
                <a:gd name="connsiteX13" fmla="*/ 510266 w 714516"/>
                <a:gd name="connsiteY13" fmla="*/ 818057 h 858533"/>
                <a:gd name="connsiteX14" fmla="*/ 508981 w 714516"/>
                <a:gd name="connsiteY14" fmla="*/ 818057 h 858533"/>
                <a:gd name="connsiteX15" fmla="*/ 506411 w 714516"/>
                <a:gd name="connsiteY15" fmla="*/ 818057 h 858533"/>
                <a:gd name="connsiteX16" fmla="*/ 502556 w 714516"/>
                <a:gd name="connsiteY16" fmla="*/ 818057 h 858533"/>
                <a:gd name="connsiteX17" fmla="*/ 449872 w 714516"/>
                <a:gd name="connsiteY17" fmla="*/ 814202 h 858533"/>
                <a:gd name="connsiteX18" fmla="*/ 429955 w 714516"/>
                <a:gd name="connsiteY18" fmla="*/ 796212 h 858533"/>
                <a:gd name="connsiteX19" fmla="*/ 402328 w 714516"/>
                <a:gd name="connsiteY19" fmla="*/ 766015 h 858533"/>
                <a:gd name="connsiteX20" fmla="*/ 378556 w 714516"/>
                <a:gd name="connsiteY20" fmla="*/ 760233 h 858533"/>
                <a:gd name="connsiteX21" fmla="*/ 370846 w 714516"/>
                <a:gd name="connsiteY21" fmla="*/ 770513 h 858533"/>
                <a:gd name="connsiteX22" fmla="*/ 370204 w 714516"/>
                <a:gd name="connsiteY22" fmla="*/ 769870 h 858533"/>
                <a:gd name="connsiteX23" fmla="*/ 341292 w 714516"/>
                <a:gd name="connsiteY23" fmla="*/ 730679 h 858533"/>
                <a:gd name="connsiteX24" fmla="*/ 370204 w 714516"/>
                <a:gd name="connsiteY24" fmla="*/ 703052 h 858533"/>
                <a:gd name="connsiteX25" fmla="*/ 373416 w 714516"/>
                <a:gd name="connsiteY25" fmla="*/ 678637 h 858533"/>
                <a:gd name="connsiteX26" fmla="*/ 357997 w 714516"/>
                <a:gd name="connsiteY26" fmla="*/ 653580 h 858533"/>
                <a:gd name="connsiteX27" fmla="*/ 345147 w 714516"/>
                <a:gd name="connsiteY27" fmla="*/ 593186 h 858533"/>
                <a:gd name="connsiteX28" fmla="*/ 305313 w 714516"/>
                <a:gd name="connsiteY28" fmla="*/ 576482 h 858533"/>
                <a:gd name="connsiteX29" fmla="*/ 246204 w 714516"/>
                <a:gd name="connsiteY29" fmla="*/ 555922 h 858533"/>
                <a:gd name="connsiteX30" fmla="*/ 210224 w 714516"/>
                <a:gd name="connsiteY30" fmla="*/ 576482 h 858533"/>
                <a:gd name="connsiteX31" fmla="*/ 126701 w 714516"/>
                <a:gd name="connsiteY31" fmla="*/ 595756 h 858533"/>
                <a:gd name="connsiteX32" fmla="*/ 68877 w 714516"/>
                <a:gd name="connsiteY32" fmla="*/ 589974 h 858533"/>
                <a:gd name="connsiteX33" fmla="*/ 70805 w 714516"/>
                <a:gd name="connsiteY33" fmla="*/ 580337 h 858533"/>
                <a:gd name="connsiteX34" fmla="*/ 80442 w 714516"/>
                <a:gd name="connsiteY34" fmla="*/ 554637 h 858533"/>
                <a:gd name="connsiteX35" fmla="*/ 102929 w 714516"/>
                <a:gd name="connsiteY35" fmla="*/ 525725 h 858533"/>
                <a:gd name="connsiteX36" fmla="*/ 113209 w 714516"/>
                <a:gd name="connsiteY36" fmla="*/ 511590 h 858533"/>
                <a:gd name="connsiteX37" fmla="*/ 115779 w 714516"/>
                <a:gd name="connsiteY37" fmla="*/ 493601 h 858533"/>
                <a:gd name="connsiteX38" fmla="*/ 115136 w 714516"/>
                <a:gd name="connsiteY38" fmla="*/ 480108 h 858533"/>
                <a:gd name="connsiteX39" fmla="*/ 99074 w 714516"/>
                <a:gd name="connsiteY39" fmla="*/ 476896 h 858533"/>
                <a:gd name="connsiteX40" fmla="*/ 79800 w 714516"/>
                <a:gd name="connsiteY40" fmla="*/ 468544 h 858533"/>
                <a:gd name="connsiteX41" fmla="*/ 50888 w 714516"/>
                <a:gd name="connsiteY41" fmla="*/ 455694 h 858533"/>
                <a:gd name="connsiteX42" fmla="*/ 29043 w 714516"/>
                <a:gd name="connsiteY42" fmla="*/ 431279 h 858533"/>
                <a:gd name="connsiteX43" fmla="*/ 18121 w 714516"/>
                <a:gd name="connsiteY43" fmla="*/ 414575 h 858533"/>
                <a:gd name="connsiteX44" fmla="*/ 9768 w 714516"/>
                <a:gd name="connsiteY44" fmla="*/ 390160 h 858533"/>
                <a:gd name="connsiteX45" fmla="*/ 131 w 714516"/>
                <a:gd name="connsiteY45" fmla="*/ 371528 h 858533"/>
                <a:gd name="connsiteX46" fmla="*/ 1416 w 714516"/>
                <a:gd name="connsiteY46" fmla="*/ 353539 h 858533"/>
                <a:gd name="connsiteX47" fmla="*/ 7198 w 714516"/>
                <a:gd name="connsiteY47" fmla="*/ 341331 h 858533"/>
                <a:gd name="connsiteX48" fmla="*/ 14266 w 714516"/>
                <a:gd name="connsiteY48" fmla="*/ 305352 h 858533"/>
                <a:gd name="connsiteX49" fmla="*/ 40608 w 714516"/>
                <a:gd name="connsiteY49" fmla="*/ 273870 h 858533"/>
                <a:gd name="connsiteX50" fmla="*/ 84939 w 714516"/>
                <a:gd name="connsiteY50" fmla="*/ 249456 h 858533"/>
                <a:gd name="connsiteX51" fmla="*/ 84939 w 714516"/>
                <a:gd name="connsiteY51" fmla="*/ 248813 h 858533"/>
                <a:gd name="connsiteX52" fmla="*/ 90722 w 714516"/>
                <a:gd name="connsiteY52" fmla="*/ 246886 h 858533"/>
                <a:gd name="connsiteX53" fmla="*/ 146618 w 714516"/>
                <a:gd name="connsiteY53" fmla="*/ 231466 h 858533"/>
                <a:gd name="connsiteX54" fmla="*/ 196732 w 714516"/>
                <a:gd name="connsiteY54" fmla="*/ 252668 h 858533"/>
                <a:gd name="connsiteX55" fmla="*/ 213437 w 714516"/>
                <a:gd name="connsiteY55" fmla="*/ 234036 h 858533"/>
                <a:gd name="connsiteX56" fmla="*/ 205085 w 714516"/>
                <a:gd name="connsiteY56" fmla="*/ 208336 h 858533"/>
                <a:gd name="connsiteX57" fmla="*/ 253271 w 714516"/>
                <a:gd name="connsiteY57" fmla="*/ 158222 h 858533"/>
                <a:gd name="connsiteX58" fmla="*/ 336794 w 714516"/>
                <a:gd name="connsiteY58" fmla="*/ 138948 h 858533"/>
                <a:gd name="connsiteX59" fmla="*/ 389478 w 714516"/>
                <a:gd name="connsiteY59" fmla="*/ 117746 h 858533"/>
                <a:gd name="connsiteX60" fmla="*/ 408753 w 714516"/>
                <a:gd name="connsiteY60" fmla="*/ 93331 h 858533"/>
                <a:gd name="connsiteX61" fmla="*/ 451157 w 714516"/>
                <a:gd name="connsiteY61" fmla="*/ 84979 h 858533"/>
                <a:gd name="connsiteX62" fmla="*/ 500629 w 714516"/>
                <a:gd name="connsiteY62" fmla="*/ 48357 h 858533"/>
                <a:gd name="connsiteX63" fmla="*/ 503841 w 714516"/>
                <a:gd name="connsiteY63" fmla="*/ 34222 h 858533"/>
                <a:gd name="connsiteX64" fmla="*/ 497416 w 714516"/>
                <a:gd name="connsiteY64" fmla="*/ 12378 h 858533"/>
                <a:gd name="connsiteX65" fmla="*/ 528898 w 714516"/>
                <a:gd name="connsiteY65" fmla="*/ 5310 h 858533"/>
                <a:gd name="connsiteX66" fmla="*/ 553313 w 714516"/>
                <a:gd name="connsiteY66" fmla="*/ 61849 h 858533"/>
                <a:gd name="connsiteX67" fmla="*/ 593147 w 714516"/>
                <a:gd name="connsiteY67" fmla="*/ 104896 h 858533"/>
                <a:gd name="connsiteX68" fmla="*/ 601499 w 714516"/>
                <a:gd name="connsiteY68" fmla="*/ 104253 h 858533"/>
                <a:gd name="connsiteX69" fmla="*/ 602142 w 714516"/>
                <a:gd name="connsiteY69" fmla="*/ 113248 h 858533"/>
                <a:gd name="connsiteX70" fmla="*/ 600857 w 714516"/>
                <a:gd name="connsiteY70" fmla="*/ 124813 h 858533"/>
                <a:gd name="connsiteX71" fmla="*/ 614349 w 714516"/>
                <a:gd name="connsiteY71" fmla="*/ 142803 h 858533"/>
                <a:gd name="connsiteX72" fmla="*/ 609852 w 714516"/>
                <a:gd name="connsiteY72" fmla="*/ 166575 h 858533"/>
                <a:gd name="connsiteX73" fmla="*/ 595717 w 714516"/>
                <a:gd name="connsiteY73" fmla="*/ 175570 h 858533"/>
                <a:gd name="connsiteX74" fmla="*/ 593789 w 714516"/>
                <a:gd name="connsiteY74" fmla="*/ 170430 h 858533"/>
                <a:gd name="connsiteX75" fmla="*/ 571945 w 714516"/>
                <a:gd name="connsiteY75" fmla="*/ 164647 h 858533"/>
                <a:gd name="connsiteX76" fmla="*/ 565520 w 714516"/>
                <a:gd name="connsiteY76" fmla="*/ 191632 h 858533"/>
                <a:gd name="connsiteX77" fmla="*/ 561023 w 714516"/>
                <a:gd name="connsiteY77" fmla="*/ 201269 h 858533"/>
                <a:gd name="connsiteX78" fmla="*/ 555240 w 714516"/>
                <a:gd name="connsiteY78" fmla="*/ 224399 h 858533"/>
                <a:gd name="connsiteX79" fmla="*/ 577085 w 714516"/>
                <a:gd name="connsiteY79" fmla="*/ 236606 h 858533"/>
                <a:gd name="connsiteX80" fmla="*/ 600214 w 714516"/>
                <a:gd name="connsiteY80" fmla="*/ 279653 h 858533"/>
                <a:gd name="connsiteX81" fmla="*/ 592504 w 714516"/>
                <a:gd name="connsiteY81" fmla="*/ 290575 h 858533"/>
                <a:gd name="connsiteX82" fmla="*/ 568090 w 714516"/>
                <a:gd name="connsiteY82" fmla="*/ 297000 h 858533"/>
                <a:gd name="connsiteX83" fmla="*/ 537251 w 714516"/>
                <a:gd name="connsiteY83" fmla="*/ 312419 h 858533"/>
                <a:gd name="connsiteX84" fmla="*/ 523758 w 714516"/>
                <a:gd name="connsiteY84" fmla="*/ 337476 h 858533"/>
                <a:gd name="connsiteX85" fmla="*/ 497416 w 714516"/>
                <a:gd name="connsiteY85" fmla="*/ 384378 h 858533"/>
                <a:gd name="connsiteX86" fmla="*/ 514763 w 714516"/>
                <a:gd name="connsiteY86" fmla="*/ 408150 h 858533"/>
                <a:gd name="connsiteX87" fmla="*/ 566162 w 714516"/>
                <a:gd name="connsiteY87" fmla="*/ 413932 h 858533"/>
                <a:gd name="connsiteX88" fmla="*/ 621416 w 714516"/>
                <a:gd name="connsiteY88" fmla="*/ 390160 h 858533"/>
                <a:gd name="connsiteX89" fmla="*/ 664463 w 714516"/>
                <a:gd name="connsiteY89" fmla="*/ 426782 h 858533"/>
                <a:gd name="connsiteX90" fmla="*/ 686308 w 714516"/>
                <a:gd name="connsiteY90" fmla="*/ 498098 h 858533"/>
                <a:gd name="connsiteX91" fmla="*/ 667675 w 714516"/>
                <a:gd name="connsiteY91" fmla="*/ 541787 h 858533"/>
                <a:gd name="connsiteX92" fmla="*/ 687593 w 714516"/>
                <a:gd name="connsiteY92" fmla="*/ 582906 h 858533"/>
                <a:gd name="connsiteX93" fmla="*/ 688235 w 714516"/>
                <a:gd name="connsiteY93" fmla="*/ 584834 h 858533"/>
                <a:gd name="connsiteX94" fmla="*/ 686308 w 714516"/>
                <a:gd name="connsiteY94" fmla="*/ 602181 h 858533"/>
                <a:gd name="connsiteX95" fmla="*/ 689520 w 714516"/>
                <a:gd name="connsiteY95" fmla="*/ 624026 h 858533"/>
                <a:gd name="connsiteX96" fmla="*/ 701727 w 714516"/>
                <a:gd name="connsiteY96" fmla="*/ 644585 h 858533"/>
                <a:gd name="connsiteX97" fmla="*/ 713935 w 714516"/>
                <a:gd name="connsiteY97" fmla="*/ 674140 h 858533"/>
                <a:gd name="connsiteX98" fmla="*/ 701727 w 714516"/>
                <a:gd name="connsiteY98" fmla="*/ 708191 h 85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714516" h="858533">
                  <a:moveTo>
                    <a:pt x="701727" y="708191"/>
                  </a:moveTo>
                  <a:cubicBezTo>
                    <a:pt x="697230" y="720399"/>
                    <a:pt x="682453" y="734533"/>
                    <a:pt x="673458" y="740958"/>
                  </a:cubicBezTo>
                  <a:cubicBezTo>
                    <a:pt x="664463" y="748026"/>
                    <a:pt x="670245" y="760875"/>
                    <a:pt x="670245" y="768585"/>
                  </a:cubicBezTo>
                  <a:cubicBezTo>
                    <a:pt x="670245" y="776295"/>
                    <a:pt x="665106" y="793642"/>
                    <a:pt x="662536" y="804565"/>
                  </a:cubicBezTo>
                  <a:cubicBezTo>
                    <a:pt x="659966" y="815487"/>
                    <a:pt x="631054" y="852109"/>
                    <a:pt x="623986" y="854679"/>
                  </a:cubicBezTo>
                  <a:cubicBezTo>
                    <a:pt x="622059" y="855321"/>
                    <a:pt x="617561" y="857249"/>
                    <a:pt x="613064" y="858533"/>
                  </a:cubicBezTo>
                  <a:cubicBezTo>
                    <a:pt x="613064" y="857249"/>
                    <a:pt x="612422" y="856606"/>
                    <a:pt x="612422" y="855964"/>
                  </a:cubicBezTo>
                  <a:cubicBezTo>
                    <a:pt x="611137" y="853394"/>
                    <a:pt x="606639" y="848896"/>
                    <a:pt x="602784" y="847611"/>
                  </a:cubicBezTo>
                  <a:cubicBezTo>
                    <a:pt x="598287" y="846326"/>
                    <a:pt x="559738" y="834762"/>
                    <a:pt x="554598" y="830264"/>
                  </a:cubicBezTo>
                  <a:cubicBezTo>
                    <a:pt x="549458" y="825767"/>
                    <a:pt x="548173" y="819342"/>
                    <a:pt x="541105" y="819342"/>
                  </a:cubicBezTo>
                  <a:cubicBezTo>
                    <a:pt x="534038" y="819342"/>
                    <a:pt x="516048" y="818057"/>
                    <a:pt x="514121" y="818057"/>
                  </a:cubicBezTo>
                  <a:cubicBezTo>
                    <a:pt x="514121" y="818057"/>
                    <a:pt x="513478" y="818057"/>
                    <a:pt x="512836" y="818057"/>
                  </a:cubicBezTo>
                  <a:cubicBezTo>
                    <a:pt x="512836" y="818057"/>
                    <a:pt x="512194" y="818057"/>
                    <a:pt x="512194" y="818057"/>
                  </a:cubicBezTo>
                  <a:cubicBezTo>
                    <a:pt x="511551" y="818057"/>
                    <a:pt x="510909" y="818057"/>
                    <a:pt x="510266" y="818057"/>
                  </a:cubicBezTo>
                  <a:cubicBezTo>
                    <a:pt x="509624" y="818057"/>
                    <a:pt x="509624" y="818057"/>
                    <a:pt x="508981" y="818057"/>
                  </a:cubicBezTo>
                  <a:cubicBezTo>
                    <a:pt x="508339" y="818057"/>
                    <a:pt x="507054" y="818057"/>
                    <a:pt x="506411" y="818057"/>
                  </a:cubicBezTo>
                  <a:cubicBezTo>
                    <a:pt x="505126" y="818057"/>
                    <a:pt x="503841" y="818057"/>
                    <a:pt x="502556" y="818057"/>
                  </a:cubicBezTo>
                  <a:cubicBezTo>
                    <a:pt x="485209" y="819342"/>
                    <a:pt x="454370" y="820627"/>
                    <a:pt x="449872" y="814202"/>
                  </a:cubicBezTo>
                  <a:cubicBezTo>
                    <a:pt x="443447" y="805850"/>
                    <a:pt x="434453" y="801352"/>
                    <a:pt x="429955" y="796212"/>
                  </a:cubicBezTo>
                  <a:cubicBezTo>
                    <a:pt x="425458" y="791072"/>
                    <a:pt x="406826" y="768585"/>
                    <a:pt x="402328" y="766015"/>
                  </a:cubicBezTo>
                  <a:cubicBezTo>
                    <a:pt x="398473" y="763445"/>
                    <a:pt x="382411" y="757021"/>
                    <a:pt x="378556" y="760233"/>
                  </a:cubicBezTo>
                  <a:cubicBezTo>
                    <a:pt x="374701" y="762803"/>
                    <a:pt x="374059" y="766015"/>
                    <a:pt x="370846" y="770513"/>
                  </a:cubicBezTo>
                  <a:cubicBezTo>
                    <a:pt x="370846" y="770513"/>
                    <a:pt x="370204" y="769870"/>
                    <a:pt x="370204" y="769870"/>
                  </a:cubicBezTo>
                  <a:cubicBezTo>
                    <a:pt x="354784" y="757021"/>
                    <a:pt x="343862" y="745456"/>
                    <a:pt x="341292" y="730679"/>
                  </a:cubicBezTo>
                  <a:cubicBezTo>
                    <a:pt x="338722" y="715901"/>
                    <a:pt x="364421" y="709477"/>
                    <a:pt x="370204" y="703052"/>
                  </a:cubicBezTo>
                  <a:cubicBezTo>
                    <a:pt x="376629" y="696627"/>
                    <a:pt x="376629" y="681849"/>
                    <a:pt x="373416" y="678637"/>
                  </a:cubicBezTo>
                  <a:cubicBezTo>
                    <a:pt x="370846" y="675425"/>
                    <a:pt x="361209" y="665787"/>
                    <a:pt x="357997" y="653580"/>
                  </a:cubicBezTo>
                  <a:cubicBezTo>
                    <a:pt x="354784" y="641373"/>
                    <a:pt x="349002" y="601539"/>
                    <a:pt x="345147" y="593186"/>
                  </a:cubicBezTo>
                  <a:cubicBezTo>
                    <a:pt x="341292" y="585476"/>
                    <a:pt x="322660" y="583549"/>
                    <a:pt x="305313" y="576482"/>
                  </a:cubicBezTo>
                  <a:cubicBezTo>
                    <a:pt x="287323" y="569414"/>
                    <a:pt x="269976" y="555922"/>
                    <a:pt x="246204" y="555922"/>
                  </a:cubicBezTo>
                  <a:cubicBezTo>
                    <a:pt x="222432" y="555922"/>
                    <a:pt x="227572" y="565559"/>
                    <a:pt x="210224" y="576482"/>
                  </a:cubicBezTo>
                  <a:cubicBezTo>
                    <a:pt x="192235" y="588046"/>
                    <a:pt x="140836" y="593186"/>
                    <a:pt x="126701" y="595756"/>
                  </a:cubicBezTo>
                  <a:cubicBezTo>
                    <a:pt x="117706" y="597684"/>
                    <a:pt x="88152" y="593186"/>
                    <a:pt x="68877" y="589974"/>
                  </a:cubicBezTo>
                  <a:cubicBezTo>
                    <a:pt x="68877" y="587404"/>
                    <a:pt x="69520" y="584191"/>
                    <a:pt x="70805" y="580337"/>
                  </a:cubicBezTo>
                  <a:cubicBezTo>
                    <a:pt x="75302" y="569414"/>
                    <a:pt x="77872" y="558492"/>
                    <a:pt x="80442" y="554637"/>
                  </a:cubicBezTo>
                  <a:cubicBezTo>
                    <a:pt x="83654" y="550782"/>
                    <a:pt x="96504" y="531507"/>
                    <a:pt x="102929" y="525725"/>
                  </a:cubicBezTo>
                  <a:cubicBezTo>
                    <a:pt x="109354" y="519943"/>
                    <a:pt x="112566" y="520585"/>
                    <a:pt x="113209" y="511590"/>
                  </a:cubicBezTo>
                  <a:cubicBezTo>
                    <a:pt x="113851" y="502596"/>
                    <a:pt x="113851" y="497456"/>
                    <a:pt x="115779" y="493601"/>
                  </a:cubicBezTo>
                  <a:cubicBezTo>
                    <a:pt x="117706" y="489746"/>
                    <a:pt x="117064" y="482678"/>
                    <a:pt x="115136" y="480108"/>
                  </a:cubicBezTo>
                  <a:cubicBezTo>
                    <a:pt x="113209" y="478181"/>
                    <a:pt x="102287" y="476253"/>
                    <a:pt x="99074" y="476896"/>
                  </a:cubicBezTo>
                  <a:cubicBezTo>
                    <a:pt x="95862" y="477539"/>
                    <a:pt x="85582" y="472399"/>
                    <a:pt x="79800" y="468544"/>
                  </a:cubicBezTo>
                  <a:cubicBezTo>
                    <a:pt x="73375" y="464689"/>
                    <a:pt x="57955" y="465331"/>
                    <a:pt x="50888" y="455694"/>
                  </a:cubicBezTo>
                  <a:cubicBezTo>
                    <a:pt x="43820" y="446699"/>
                    <a:pt x="32898" y="437704"/>
                    <a:pt x="29043" y="431279"/>
                  </a:cubicBezTo>
                  <a:cubicBezTo>
                    <a:pt x="25188" y="424855"/>
                    <a:pt x="18121" y="414575"/>
                    <a:pt x="18121" y="414575"/>
                  </a:cubicBezTo>
                  <a:cubicBezTo>
                    <a:pt x="18121" y="414575"/>
                    <a:pt x="14908" y="401083"/>
                    <a:pt x="9768" y="390160"/>
                  </a:cubicBezTo>
                  <a:cubicBezTo>
                    <a:pt x="5271" y="379238"/>
                    <a:pt x="131" y="374098"/>
                    <a:pt x="131" y="371528"/>
                  </a:cubicBezTo>
                  <a:cubicBezTo>
                    <a:pt x="-511" y="368958"/>
                    <a:pt x="1416" y="353539"/>
                    <a:pt x="1416" y="353539"/>
                  </a:cubicBezTo>
                  <a:cubicBezTo>
                    <a:pt x="1416" y="353539"/>
                    <a:pt x="3986" y="354181"/>
                    <a:pt x="7198" y="341331"/>
                  </a:cubicBezTo>
                  <a:cubicBezTo>
                    <a:pt x="10411" y="327839"/>
                    <a:pt x="11696" y="314347"/>
                    <a:pt x="14266" y="305352"/>
                  </a:cubicBezTo>
                  <a:cubicBezTo>
                    <a:pt x="16836" y="296357"/>
                    <a:pt x="22618" y="282865"/>
                    <a:pt x="40608" y="273870"/>
                  </a:cubicBezTo>
                  <a:cubicBezTo>
                    <a:pt x="58597" y="264875"/>
                    <a:pt x="83654" y="259093"/>
                    <a:pt x="84939" y="249456"/>
                  </a:cubicBezTo>
                  <a:cubicBezTo>
                    <a:pt x="84939" y="249456"/>
                    <a:pt x="84939" y="248813"/>
                    <a:pt x="84939" y="248813"/>
                  </a:cubicBezTo>
                  <a:cubicBezTo>
                    <a:pt x="86867" y="248813"/>
                    <a:pt x="88794" y="248170"/>
                    <a:pt x="90722" y="246886"/>
                  </a:cubicBezTo>
                  <a:cubicBezTo>
                    <a:pt x="102287" y="240461"/>
                    <a:pt x="135696" y="228254"/>
                    <a:pt x="146618" y="231466"/>
                  </a:cubicBezTo>
                  <a:cubicBezTo>
                    <a:pt x="158183" y="234036"/>
                    <a:pt x="188380" y="253953"/>
                    <a:pt x="196732" y="252668"/>
                  </a:cubicBezTo>
                  <a:cubicBezTo>
                    <a:pt x="205085" y="251383"/>
                    <a:pt x="219219" y="246886"/>
                    <a:pt x="213437" y="234036"/>
                  </a:cubicBezTo>
                  <a:cubicBezTo>
                    <a:pt x="207655" y="221186"/>
                    <a:pt x="198017" y="223756"/>
                    <a:pt x="205085" y="208336"/>
                  </a:cubicBezTo>
                  <a:cubicBezTo>
                    <a:pt x="212152" y="193559"/>
                    <a:pt x="228857" y="165290"/>
                    <a:pt x="253271" y="158222"/>
                  </a:cubicBezTo>
                  <a:cubicBezTo>
                    <a:pt x="277686" y="151155"/>
                    <a:pt x="310452" y="144088"/>
                    <a:pt x="336794" y="138948"/>
                  </a:cubicBezTo>
                  <a:cubicBezTo>
                    <a:pt x="363137" y="133165"/>
                    <a:pt x="386266" y="123528"/>
                    <a:pt x="389478" y="117746"/>
                  </a:cubicBezTo>
                  <a:cubicBezTo>
                    <a:pt x="392691" y="112606"/>
                    <a:pt x="393333" y="97186"/>
                    <a:pt x="408753" y="93331"/>
                  </a:cubicBezTo>
                  <a:cubicBezTo>
                    <a:pt x="424173" y="89476"/>
                    <a:pt x="435737" y="97186"/>
                    <a:pt x="451157" y="84979"/>
                  </a:cubicBezTo>
                  <a:cubicBezTo>
                    <a:pt x="466577" y="72772"/>
                    <a:pt x="496774" y="54782"/>
                    <a:pt x="500629" y="48357"/>
                  </a:cubicBezTo>
                  <a:cubicBezTo>
                    <a:pt x="504484" y="42575"/>
                    <a:pt x="512194" y="40647"/>
                    <a:pt x="503841" y="34222"/>
                  </a:cubicBezTo>
                  <a:cubicBezTo>
                    <a:pt x="496131" y="27797"/>
                    <a:pt x="489706" y="28440"/>
                    <a:pt x="497416" y="12378"/>
                  </a:cubicBezTo>
                  <a:cubicBezTo>
                    <a:pt x="505126" y="-3042"/>
                    <a:pt x="526328" y="-2400"/>
                    <a:pt x="528898" y="5310"/>
                  </a:cubicBezTo>
                  <a:cubicBezTo>
                    <a:pt x="532111" y="13020"/>
                    <a:pt x="539178" y="38720"/>
                    <a:pt x="553313" y="61849"/>
                  </a:cubicBezTo>
                  <a:cubicBezTo>
                    <a:pt x="568090" y="84336"/>
                    <a:pt x="584152" y="104253"/>
                    <a:pt x="593147" y="104896"/>
                  </a:cubicBezTo>
                  <a:cubicBezTo>
                    <a:pt x="595717" y="104896"/>
                    <a:pt x="598287" y="104896"/>
                    <a:pt x="601499" y="104253"/>
                  </a:cubicBezTo>
                  <a:cubicBezTo>
                    <a:pt x="602142" y="108108"/>
                    <a:pt x="602142" y="111321"/>
                    <a:pt x="602142" y="113248"/>
                  </a:cubicBezTo>
                  <a:cubicBezTo>
                    <a:pt x="602142" y="119031"/>
                    <a:pt x="599572" y="120958"/>
                    <a:pt x="600857" y="124813"/>
                  </a:cubicBezTo>
                  <a:cubicBezTo>
                    <a:pt x="602784" y="128668"/>
                    <a:pt x="614349" y="142803"/>
                    <a:pt x="614349" y="142803"/>
                  </a:cubicBezTo>
                  <a:cubicBezTo>
                    <a:pt x="614349" y="142803"/>
                    <a:pt x="612422" y="159507"/>
                    <a:pt x="609852" y="166575"/>
                  </a:cubicBezTo>
                  <a:cubicBezTo>
                    <a:pt x="607924" y="173642"/>
                    <a:pt x="601499" y="174927"/>
                    <a:pt x="595717" y="175570"/>
                  </a:cubicBezTo>
                  <a:cubicBezTo>
                    <a:pt x="589934" y="176212"/>
                    <a:pt x="593789" y="172357"/>
                    <a:pt x="593789" y="170430"/>
                  </a:cubicBezTo>
                  <a:cubicBezTo>
                    <a:pt x="593789" y="168502"/>
                    <a:pt x="575800" y="164005"/>
                    <a:pt x="571945" y="164647"/>
                  </a:cubicBezTo>
                  <a:cubicBezTo>
                    <a:pt x="568090" y="165290"/>
                    <a:pt x="566805" y="183279"/>
                    <a:pt x="565520" y="191632"/>
                  </a:cubicBezTo>
                  <a:cubicBezTo>
                    <a:pt x="564235" y="199984"/>
                    <a:pt x="563593" y="199984"/>
                    <a:pt x="561023" y="201269"/>
                  </a:cubicBezTo>
                  <a:cubicBezTo>
                    <a:pt x="559095" y="202554"/>
                    <a:pt x="554598" y="211549"/>
                    <a:pt x="555240" y="224399"/>
                  </a:cubicBezTo>
                  <a:cubicBezTo>
                    <a:pt x="555883" y="237248"/>
                    <a:pt x="568090" y="232108"/>
                    <a:pt x="577085" y="236606"/>
                  </a:cubicBezTo>
                  <a:cubicBezTo>
                    <a:pt x="586080" y="241103"/>
                    <a:pt x="595717" y="273870"/>
                    <a:pt x="600214" y="279653"/>
                  </a:cubicBezTo>
                  <a:cubicBezTo>
                    <a:pt x="604712" y="286077"/>
                    <a:pt x="602142" y="289290"/>
                    <a:pt x="592504" y="290575"/>
                  </a:cubicBezTo>
                  <a:cubicBezTo>
                    <a:pt x="582867" y="291860"/>
                    <a:pt x="575800" y="293145"/>
                    <a:pt x="568090" y="297000"/>
                  </a:cubicBezTo>
                  <a:cubicBezTo>
                    <a:pt x="560380" y="300855"/>
                    <a:pt x="543675" y="307279"/>
                    <a:pt x="537251" y="312419"/>
                  </a:cubicBezTo>
                  <a:cubicBezTo>
                    <a:pt x="530826" y="316917"/>
                    <a:pt x="532111" y="322057"/>
                    <a:pt x="523758" y="337476"/>
                  </a:cubicBezTo>
                  <a:cubicBezTo>
                    <a:pt x="515406" y="352896"/>
                    <a:pt x="501271" y="370243"/>
                    <a:pt x="497416" y="384378"/>
                  </a:cubicBezTo>
                  <a:cubicBezTo>
                    <a:pt x="493561" y="398513"/>
                    <a:pt x="509624" y="401725"/>
                    <a:pt x="514763" y="408150"/>
                  </a:cubicBezTo>
                  <a:cubicBezTo>
                    <a:pt x="519903" y="414575"/>
                    <a:pt x="546888" y="417787"/>
                    <a:pt x="566162" y="413932"/>
                  </a:cubicBezTo>
                  <a:cubicBezTo>
                    <a:pt x="585437" y="410077"/>
                    <a:pt x="610494" y="390160"/>
                    <a:pt x="621416" y="390160"/>
                  </a:cubicBezTo>
                  <a:cubicBezTo>
                    <a:pt x="632339" y="389518"/>
                    <a:pt x="651613" y="408150"/>
                    <a:pt x="664463" y="426782"/>
                  </a:cubicBezTo>
                  <a:cubicBezTo>
                    <a:pt x="677313" y="445414"/>
                    <a:pt x="686308" y="483963"/>
                    <a:pt x="686308" y="498098"/>
                  </a:cubicBezTo>
                  <a:cubicBezTo>
                    <a:pt x="686308" y="512233"/>
                    <a:pt x="670245" y="529580"/>
                    <a:pt x="667675" y="541787"/>
                  </a:cubicBezTo>
                  <a:cubicBezTo>
                    <a:pt x="665106" y="554637"/>
                    <a:pt x="685023" y="579051"/>
                    <a:pt x="687593" y="582906"/>
                  </a:cubicBezTo>
                  <a:cubicBezTo>
                    <a:pt x="688235" y="583549"/>
                    <a:pt x="688235" y="584191"/>
                    <a:pt x="688235" y="584834"/>
                  </a:cubicBezTo>
                  <a:cubicBezTo>
                    <a:pt x="689520" y="589331"/>
                    <a:pt x="686308" y="597684"/>
                    <a:pt x="686308" y="602181"/>
                  </a:cubicBezTo>
                  <a:cubicBezTo>
                    <a:pt x="686308" y="606679"/>
                    <a:pt x="686308" y="617601"/>
                    <a:pt x="689520" y="624026"/>
                  </a:cubicBezTo>
                  <a:cubicBezTo>
                    <a:pt x="692732" y="631093"/>
                    <a:pt x="696587" y="640088"/>
                    <a:pt x="701727" y="644585"/>
                  </a:cubicBezTo>
                  <a:cubicBezTo>
                    <a:pt x="706867" y="649083"/>
                    <a:pt x="710722" y="662575"/>
                    <a:pt x="713935" y="674140"/>
                  </a:cubicBezTo>
                  <a:cubicBezTo>
                    <a:pt x="717147" y="686347"/>
                    <a:pt x="706225" y="696627"/>
                    <a:pt x="701727" y="708191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2" name="Freihandform 471">
              <a:extLst>
                <a:ext uri="{FF2B5EF4-FFF2-40B4-BE49-F238E27FC236}">
                  <a16:creationId xmlns:a16="http://schemas.microsoft.com/office/drawing/2014/main" id="{CFC41C49-99F0-8CC4-9128-11048AF70C01}"/>
                </a:ext>
              </a:extLst>
            </p:cNvPr>
            <p:cNvSpPr/>
            <p:nvPr/>
          </p:nvSpPr>
          <p:spPr>
            <a:xfrm>
              <a:off x="2196279" y="4492117"/>
              <a:ext cx="917657" cy="984504"/>
            </a:xfrm>
            <a:custGeom>
              <a:avLst/>
              <a:gdLst>
                <a:gd name="connsiteX0" fmla="*/ 916669 w 917657"/>
                <a:gd name="connsiteY0" fmla="*/ 449313 h 984504"/>
                <a:gd name="connsiteX1" fmla="*/ 899964 w 917657"/>
                <a:gd name="connsiteY1" fmla="*/ 481437 h 984504"/>
                <a:gd name="connsiteX2" fmla="*/ 872980 w 917657"/>
                <a:gd name="connsiteY2" fmla="*/ 514204 h 984504"/>
                <a:gd name="connsiteX3" fmla="*/ 865270 w 917657"/>
                <a:gd name="connsiteY3" fmla="*/ 553396 h 984504"/>
                <a:gd name="connsiteX4" fmla="*/ 828648 w 917657"/>
                <a:gd name="connsiteY4" fmla="*/ 577810 h 984504"/>
                <a:gd name="connsiteX5" fmla="*/ 811301 w 917657"/>
                <a:gd name="connsiteY5" fmla="*/ 577810 h 984504"/>
                <a:gd name="connsiteX6" fmla="*/ 809373 w 917657"/>
                <a:gd name="connsiteY6" fmla="*/ 564318 h 984504"/>
                <a:gd name="connsiteX7" fmla="*/ 777249 w 917657"/>
                <a:gd name="connsiteY7" fmla="*/ 591303 h 984504"/>
                <a:gd name="connsiteX8" fmla="*/ 771467 w 917657"/>
                <a:gd name="connsiteY8" fmla="*/ 623427 h 984504"/>
                <a:gd name="connsiteX9" fmla="*/ 801021 w 917657"/>
                <a:gd name="connsiteY9" fmla="*/ 671613 h 984504"/>
                <a:gd name="connsiteX10" fmla="*/ 817726 w 917657"/>
                <a:gd name="connsiteY10" fmla="*/ 726225 h 984504"/>
                <a:gd name="connsiteX11" fmla="*/ 820296 w 917657"/>
                <a:gd name="connsiteY11" fmla="*/ 790474 h 984504"/>
                <a:gd name="connsiteX12" fmla="*/ 805518 w 917657"/>
                <a:gd name="connsiteY12" fmla="*/ 844442 h 984504"/>
                <a:gd name="connsiteX13" fmla="*/ 817083 w 917657"/>
                <a:gd name="connsiteY13" fmla="*/ 907406 h 984504"/>
                <a:gd name="connsiteX14" fmla="*/ 778534 w 917657"/>
                <a:gd name="connsiteY14" fmla="*/ 927966 h 984504"/>
                <a:gd name="connsiteX15" fmla="*/ 734845 w 917657"/>
                <a:gd name="connsiteY15" fmla="*/ 927966 h 984504"/>
                <a:gd name="connsiteX16" fmla="*/ 684731 w 917657"/>
                <a:gd name="connsiteY16" fmla="*/ 942743 h 984504"/>
                <a:gd name="connsiteX17" fmla="*/ 643612 w 917657"/>
                <a:gd name="connsiteY17" fmla="*/ 984505 h 984504"/>
                <a:gd name="connsiteX18" fmla="*/ 614700 w 917657"/>
                <a:gd name="connsiteY18" fmla="*/ 971012 h 984504"/>
                <a:gd name="connsiteX19" fmla="*/ 612130 w 917657"/>
                <a:gd name="connsiteY19" fmla="*/ 968443 h 984504"/>
                <a:gd name="connsiteX20" fmla="*/ 610845 w 917657"/>
                <a:gd name="connsiteY20" fmla="*/ 967158 h 984504"/>
                <a:gd name="connsiteX21" fmla="*/ 605705 w 917657"/>
                <a:gd name="connsiteY21" fmla="*/ 963303 h 984504"/>
                <a:gd name="connsiteX22" fmla="*/ 601850 w 917657"/>
                <a:gd name="connsiteY22" fmla="*/ 960733 h 984504"/>
                <a:gd name="connsiteX23" fmla="*/ 595425 w 917657"/>
                <a:gd name="connsiteY23" fmla="*/ 956878 h 984504"/>
                <a:gd name="connsiteX24" fmla="*/ 585145 w 917657"/>
                <a:gd name="connsiteY24" fmla="*/ 951095 h 984504"/>
                <a:gd name="connsiteX25" fmla="*/ 558161 w 917657"/>
                <a:gd name="connsiteY25" fmla="*/ 938246 h 984504"/>
                <a:gd name="connsiteX26" fmla="*/ 530534 w 917657"/>
                <a:gd name="connsiteY26" fmla="*/ 934391 h 984504"/>
                <a:gd name="connsiteX27" fmla="*/ 481705 w 917657"/>
                <a:gd name="connsiteY27" fmla="*/ 924111 h 984504"/>
                <a:gd name="connsiteX28" fmla="*/ 466928 w 917657"/>
                <a:gd name="connsiteY28" fmla="*/ 920898 h 984504"/>
                <a:gd name="connsiteX29" fmla="*/ 445726 w 917657"/>
                <a:gd name="connsiteY29" fmla="*/ 930536 h 984504"/>
                <a:gd name="connsiteX30" fmla="*/ 428378 w 917657"/>
                <a:gd name="connsiteY30" fmla="*/ 935676 h 984504"/>
                <a:gd name="connsiteX31" fmla="*/ 424524 w 917657"/>
                <a:gd name="connsiteY31" fmla="*/ 915759 h 984504"/>
                <a:gd name="connsiteX32" fmla="*/ 407819 w 917657"/>
                <a:gd name="connsiteY32" fmla="*/ 902909 h 984504"/>
                <a:gd name="connsiteX33" fmla="*/ 397539 w 917657"/>
                <a:gd name="connsiteY33" fmla="*/ 901624 h 984504"/>
                <a:gd name="connsiteX34" fmla="*/ 402036 w 917657"/>
                <a:gd name="connsiteY34" fmla="*/ 912546 h 984504"/>
                <a:gd name="connsiteX35" fmla="*/ 406534 w 917657"/>
                <a:gd name="connsiteY35" fmla="*/ 924754 h 984504"/>
                <a:gd name="connsiteX36" fmla="*/ 385332 w 917657"/>
                <a:gd name="connsiteY36" fmla="*/ 918971 h 984504"/>
                <a:gd name="connsiteX37" fmla="*/ 364772 w 917657"/>
                <a:gd name="connsiteY37" fmla="*/ 917044 h 984504"/>
                <a:gd name="connsiteX38" fmla="*/ 357705 w 917657"/>
                <a:gd name="connsiteY38" fmla="*/ 909334 h 984504"/>
                <a:gd name="connsiteX39" fmla="*/ 374410 w 917657"/>
                <a:gd name="connsiteY39" fmla="*/ 900339 h 984504"/>
                <a:gd name="connsiteX40" fmla="*/ 379549 w 917657"/>
                <a:gd name="connsiteY40" fmla="*/ 890701 h 984504"/>
                <a:gd name="connsiteX41" fmla="*/ 367342 w 917657"/>
                <a:gd name="connsiteY41" fmla="*/ 873997 h 984504"/>
                <a:gd name="connsiteX42" fmla="*/ 354492 w 917657"/>
                <a:gd name="connsiteY42" fmla="*/ 873354 h 984504"/>
                <a:gd name="connsiteX43" fmla="*/ 337788 w 917657"/>
                <a:gd name="connsiteY43" fmla="*/ 870142 h 984504"/>
                <a:gd name="connsiteX44" fmla="*/ 321726 w 917657"/>
                <a:gd name="connsiteY44" fmla="*/ 874639 h 984504"/>
                <a:gd name="connsiteX45" fmla="*/ 305021 w 917657"/>
                <a:gd name="connsiteY45" fmla="*/ 886204 h 984504"/>
                <a:gd name="connsiteX46" fmla="*/ 291529 w 917657"/>
                <a:gd name="connsiteY46" fmla="*/ 896484 h 984504"/>
                <a:gd name="connsiteX47" fmla="*/ 282534 w 917657"/>
                <a:gd name="connsiteY47" fmla="*/ 925396 h 984504"/>
                <a:gd name="connsiteX48" fmla="*/ 305663 w 917657"/>
                <a:gd name="connsiteY48" fmla="*/ 934391 h 984504"/>
                <a:gd name="connsiteX49" fmla="*/ 317871 w 917657"/>
                <a:gd name="connsiteY49" fmla="*/ 926681 h 984504"/>
                <a:gd name="connsiteX50" fmla="*/ 328150 w 917657"/>
                <a:gd name="connsiteY50" fmla="*/ 918971 h 984504"/>
                <a:gd name="connsiteX51" fmla="*/ 343570 w 917657"/>
                <a:gd name="connsiteY51" fmla="*/ 927323 h 984504"/>
                <a:gd name="connsiteX52" fmla="*/ 345498 w 917657"/>
                <a:gd name="connsiteY52" fmla="*/ 940816 h 984504"/>
                <a:gd name="connsiteX53" fmla="*/ 337788 w 917657"/>
                <a:gd name="connsiteY53" fmla="*/ 951738 h 984504"/>
                <a:gd name="connsiteX54" fmla="*/ 329435 w 917657"/>
                <a:gd name="connsiteY54" fmla="*/ 961375 h 984504"/>
                <a:gd name="connsiteX55" fmla="*/ 321083 w 917657"/>
                <a:gd name="connsiteY55" fmla="*/ 947241 h 984504"/>
                <a:gd name="connsiteX56" fmla="*/ 306306 w 917657"/>
                <a:gd name="connsiteY56" fmla="*/ 945313 h 984504"/>
                <a:gd name="connsiteX57" fmla="*/ 296669 w 917657"/>
                <a:gd name="connsiteY57" fmla="*/ 957520 h 984504"/>
                <a:gd name="connsiteX58" fmla="*/ 283176 w 917657"/>
                <a:gd name="connsiteY58" fmla="*/ 967800 h 984504"/>
                <a:gd name="connsiteX59" fmla="*/ 257477 w 917657"/>
                <a:gd name="connsiteY59" fmla="*/ 962660 h 984504"/>
                <a:gd name="connsiteX60" fmla="*/ 234990 w 917657"/>
                <a:gd name="connsiteY60" fmla="*/ 951738 h 984504"/>
                <a:gd name="connsiteX61" fmla="*/ 206078 w 917657"/>
                <a:gd name="connsiteY61" fmla="*/ 949810 h 984504"/>
                <a:gd name="connsiteX62" fmla="*/ 175238 w 917657"/>
                <a:gd name="connsiteY62" fmla="*/ 972297 h 984504"/>
                <a:gd name="connsiteX63" fmla="*/ 145684 w 917657"/>
                <a:gd name="connsiteY63" fmla="*/ 976153 h 984504"/>
                <a:gd name="connsiteX64" fmla="*/ 91715 w 917657"/>
                <a:gd name="connsiteY64" fmla="*/ 976153 h 984504"/>
                <a:gd name="connsiteX65" fmla="*/ 62161 w 917657"/>
                <a:gd name="connsiteY65" fmla="*/ 976795 h 984504"/>
                <a:gd name="connsiteX66" fmla="*/ 39031 w 917657"/>
                <a:gd name="connsiteY66" fmla="*/ 972297 h 984504"/>
                <a:gd name="connsiteX67" fmla="*/ 42886 w 917657"/>
                <a:gd name="connsiteY67" fmla="*/ 962660 h 984504"/>
                <a:gd name="connsiteX68" fmla="*/ 45456 w 917657"/>
                <a:gd name="connsiteY68" fmla="*/ 953023 h 984504"/>
                <a:gd name="connsiteX69" fmla="*/ 36461 w 917657"/>
                <a:gd name="connsiteY69" fmla="*/ 943385 h 984504"/>
                <a:gd name="connsiteX70" fmla="*/ 26824 w 917657"/>
                <a:gd name="connsiteY70" fmla="*/ 956878 h 984504"/>
                <a:gd name="connsiteX71" fmla="*/ 18472 w 917657"/>
                <a:gd name="connsiteY71" fmla="*/ 958805 h 984504"/>
                <a:gd name="connsiteX72" fmla="*/ 8192 w 917657"/>
                <a:gd name="connsiteY72" fmla="*/ 953023 h 984504"/>
                <a:gd name="connsiteX73" fmla="*/ 9477 w 917657"/>
                <a:gd name="connsiteY73" fmla="*/ 939531 h 984504"/>
                <a:gd name="connsiteX74" fmla="*/ 482 w 917657"/>
                <a:gd name="connsiteY74" fmla="*/ 926681 h 984504"/>
                <a:gd name="connsiteX75" fmla="*/ 482 w 917657"/>
                <a:gd name="connsiteY75" fmla="*/ 909334 h 984504"/>
                <a:gd name="connsiteX76" fmla="*/ 3694 w 917657"/>
                <a:gd name="connsiteY76" fmla="*/ 882992 h 984504"/>
                <a:gd name="connsiteX77" fmla="*/ 4979 w 917657"/>
                <a:gd name="connsiteY77" fmla="*/ 865002 h 984504"/>
                <a:gd name="connsiteX78" fmla="*/ 8192 w 917657"/>
                <a:gd name="connsiteY78" fmla="*/ 850225 h 984504"/>
                <a:gd name="connsiteX79" fmla="*/ 20399 w 917657"/>
                <a:gd name="connsiteY79" fmla="*/ 817458 h 984504"/>
                <a:gd name="connsiteX80" fmla="*/ 30036 w 917657"/>
                <a:gd name="connsiteY80" fmla="*/ 797541 h 984504"/>
                <a:gd name="connsiteX81" fmla="*/ 33249 w 917657"/>
                <a:gd name="connsiteY81" fmla="*/ 783406 h 984504"/>
                <a:gd name="connsiteX82" fmla="*/ 20399 w 917657"/>
                <a:gd name="connsiteY82" fmla="*/ 759634 h 984504"/>
                <a:gd name="connsiteX83" fmla="*/ 22326 w 917657"/>
                <a:gd name="connsiteY83" fmla="*/ 721727 h 984504"/>
                <a:gd name="connsiteX84" fmla="*/ 31964 w 917657"/>
                <a:gd name="connsiteY84" fmla="*/ 701810 h 984504"/>
                <a:gd name="connsiteX85" fmla="*/ 53808 w 917657"/>
                <a:gd name="connsiteY85" fmla="*/ 664546 h 984504"/>
                <a:gd name="connsiteX86" fmla="*/ 60233 w 917657"/>
                <a:gd name="connsiteY86" fmla="*/ 652339 h 984504"/>
                <a:gd name="connsiteX87" fmla="*/ 58948 w 917657"/>
                <a:gd name="connsiteY87" fmla="*/ 644629 h 984504"/>
                <a:gd name="connsiteX88" fmla="*/ 66658 w 917657"/>
                <a:gd name="connsiteY88" fmla="*/ 639489 h 984504"/>
                <a:gd name="connsiteX89" fmla="*/ 73083 w 917657"/>
                <a:gd name="connsiteY89" fmla="*/ 634992 h 984504"/>
                <a:gd name="connsiteX90" fmla="*/ 75653 w 917657"/>
                <a:gd name="connsiteY90" fmla="*/ 619572 h 984504"/>
                <a:gd name="connsiteX91" fmla="*/ 69228 w 917657"/>
                <a:gd name="connsiteY91" fmla="*/ 599012 h 984504"/>
                <a:gd name="connsiteX92" fmla="*/ 82720 w 917657"/>
                <a:gd name="connsiteY92" fmla="*/ 573313 h 984504"/>
                <a:gd name="connsiteX93" fmla="*/ 89788 w 917657"/>
                <a:gd name="connsiteY93" fmla="*/ 533479 h 984504"/>
                <a:gd name="connsiteX94" fmla="*/ 102637 w 917657"/>
                <a:gd name="connsiteY94" fmla="*/ 502639 h 984504"/>
                <a:gd name="connsiteX95" fmla="*/ 132192 w 917657"/>
                <a:gd name="connsiteY95" fmla="*/ 475655 h 984504"/>
                <a:gd name="connsiteX96" fmla="*/ 146969 w 917657"/>
                <a:gd name="connsiteY96" fmla="*/ 458308 h 984504"/>
                <a:gd name="connsiteX97" fmla="*/ 164316 w 917657"/>
                <a:gd name="connsiteY97" fmla="*/ 442888 h 984504"/>
                <a:gd name="connsiteX98" fmla="*/ 185518 w 917657"/>
                <a:gd name="connsiteY98" fmla="*/ 431966 h 984504"/>
                <a:gd name="connsiteX99" fmla="*/ 190658 w 917657"/>
                <a:gd name="connsiteY99" fmla="*/ 410121 h 984504"/>
                <a:gd name="connsiteX100" fmla="*/ 209933 w 917657"/>
                <a:gd name="connsiteY100" fmla="*/ 379924 h 984504"/>
                <a:gd name="connsiteX101" fmla="*/ 213145 w 917657"/>
                <a:gd name="connsiteY101" fmla="*/ 365147 h 984504"/>
                <a:gd name="connsiteX102" fmla="*/ 224068 w 917657"/>
                <a:gd name="connsiteY102" fmla="*/ 361292 h 984504"/>
                <a:gd name="connsiteX103" fmla="*/ 262617 w 917657"/>
                <a:gd name="connsiteY103" fmla="*/ 311178 h 984504"/>
                <a:gd name="connsiteX104" fmla="*/ 270327 w 917657"/>
                <a:gd name="connsiteY104" fmla="*/ 275199 h 984504"/>
                <a:gd name="connsiteX105" fmla="*/ 273539 w 917657"/>
                <a:gd name="connsiteY105" fmla="*/ 247572 h 984504"/>
                <a:gd name="connsiteX106" fmla="*/ 301808 w 917657"/>
                <a:gd name="connsiteY106" fmla="*/ 214805 h 984504"/>
                <a:gd name="connsiteX107" fmla="*/ 314016 w 917657"/>
                <a:gd name="connsiteY107" fmla="*/ 180753 h 984504"/>
                <a:gd name="connsiteX108" fmla="*/ 301808 w 917657"/>
                <a:gd name="connsiteY108" fmla="*/ 151199 h 984504"/>
                <a:gd name="connsiteX109" fmla="*/ 289601 w 917657"/>
                <a:gd name="connsiteY109" fmla="*/ 130639 h 984504"/>
                <a:gd name="connsiteX110" fmla="*/ 286389 w 917657"/>
                <a:gd name="connsiteY110" fmla="*/ 108794 h 984504"/>
                <a:gd name="connsiteX111" fmla="*/ 288316 w 917657"/>
                <a:gd name="connsiteY111" fmla="*/ 91447 h 984504"/>
                <a:gd name="connsiteX112" fmla="*/ 295384 w 917657"/>
                <a:gd name="connsiteY112" fmla="*/ 90162 h 984504"/>
                <a:gd name="connsiteX113" fmla="*/ 336503 w 917657"/>
                <a:gd name="connsiteY113" fmla="*/ 80525 h 984504"/>
                <a:gd name="connsiteX114" fmla="*/ 371840 w 917657"/>
                <a:gd name="connsiteY114" fmla="*/ 77955 h 984504"/>
                <a:gd name="connsiteX115" fmla="*/ 368627 w 917657"/>
                <a:gd name="connsiteY115" fmla="*/ 96587 h 984504"/>
                <a:gd name="connsiteX116" fmla="*/ 385974 w 917657"/>
                <a:gd name="connsiteY116" fmla="*/ 121002 h 984504"/>
                <a:gd name="connsiteX117" fmla="*/ 411031 w 917657"/>
                <a:gd name="connsiteY117" fmla="*/ 144774 h 984504"/>
                <a:gd name="connsiteX118" fmla="*/ 402036 w 917657"/>
                <a:gd name="connsiteY118" fmla="*/ 174328 h 984504"/>
                <a:gd name="connsiteX119" fmla="*/ 421311 w 917657"/>
                <a:gd name="connsiteY119" fmla="*/ 176898 h 984504"/>
                <a:gd name="connsiteX120" fmla="*/ 437373 w 917657"/>
                <a:gd name="connsiteY120" fmla="*/ 158266 h 984504"/>
                <a:gd name="connsiteX121" fmla="*/ 456005 w 917657"/>
                <a:gd name="connsiteY121" fmla="*/ 155054 h 984504"/>
                <a:gd name="connsiteX122" fmla="*/ 447011 w 917657"/>
                <a:gd name="connsiteY122" fmla="*/ 141561 h 984504"/>
                <a:gd name="connsiteX123" fmla="*/ 456005 w 917657"/>
                <a:gd name="connsiteY123" fmla="*/ 128069 h 984504"/>
                <a:gd name="connsiteX124" fmla="*/ 482347 w 917657"/>
                <a:gd name="connsiteY124" fmla="*/ 128069 h 984504"/>
                <a:gd name="connsiteX125" fmla="*/ 502907 w 917657"/>
                <a:gd name="connsiteY125" fmla="*/ 118432 h 984504"/>
                <a:gd name="connsiteX126" fmla="*/ 498410 w 917657"/>
                <a:gd name="connsiteY126" fmla="*/ 100442 h 984504"/>
                <a:gd name="connsiteX127" fmla="*/ 498410 w 917657"/>
                <a:gd name="connsiteY127" fmla="*/ 100442 h 984504"/>
                <a:gd name="connsiteX128" fmla="*/ 518969 w 917657"/>
                <a:gd name="connsiteY128" fmla="*/ 94660 h 984504"/>
                <a:gd name="connsiteX129" fmla="*/ 567156 w 917657"/>
                <a:gd name="connsiteY129" fmla="*/ 79240 h 984504"/>
                <a:gd name="connsiteX130" fmla="*/ 587715 w 917657"/>
                <a:gd name="connsiteY130" fmla="*/ 61250 h 984504"/>
                <a:gd name="connsiteX131" fmla="*/ 582575 w 917657"/>
                <a:gd name="connsiteY131" fmla="*/ 34908 h 984504"/>
                <a:gd name="connsiteX132" fmla="*/ 566513 w 917657"/>
                <a:gd name="connsiteY132" fmla="*/ 32339 h 984504"/>
                <a:gd name="connsiteX133" fmla="*/ 549809 w 917657"/>
                <a:gd name="connsiteY133" fmla="*/ 25271 h 984504"/>
                <a:gd name="connsiteX134" fmla="*/ 568441 w 917657"/>
                <a:gd name="connsiteY134" fmla="*/ 7924 h 984504"/>
                <a:gd name="connsiteX135" fmla="*/ 583860 w 917657"/>
                <a:gd name="connsiteY135" fmla="*/ 7924 h 984504"/>
                <a:gd name="connsiteX136" fmla="*/ 587073 w 917657"/>
                <a:gd name="connsiteY136" fmla="*/ 857 h 984504"/>
                <a:gd name="connsiteX137" fmla="*/ 598638 w 917657"/>
                <a:gd name="connsiteY137" fmla="*/ 857 h 984504"/>
                <a:gd name="connsiteX138" fmla="*/ 603777 w 917657"/>
                <a:gd name="connsiteY138" fmla="*/ 10494 h 984504"/>
                <a:gd name="connsiteX139" fmla="*/ 623695 w 917657"/>
                <a:gd name="connsiteY139" fmla="*/ 9851 h 984504"/>
                <a:gd name="connsiteX140" fmla="*/ 652607 w 917657"/>
                <a:gd name="connsiteY140" fmla="*/ 9209 h 984504"/>
                <a:gd name="connsiteX141" fmla="*/ 668026 w 917657"/>
                <a:gd name="connsiteY141" fmla="*/ 31053 h 984504"/>
                <a:gd name="connsiteX142" fmla="*/ 691156 w 917657"/>
                <a:gd name="connsiteY142" fmla="*/ 29126 h 984504"/>
                <a:gd name="connsiteX143" fmla="*/ 709145 w 917657"/>
                <a:gd name="connsiteY143" fmla="*/ 40691 h 984504"/>
                <a:gd name="connsiteX144" fmla="*/ 741270 w 917657"/>
                <a:gd name="connsiteY144" fmla="*/ 101727 h 984504"/>
                <a:gd name="connsiteX145" fmla="*/ 743840 w 917657"/>
                <a:gd name="connsiteY145" fmla="*/ 135779 h 984504"/>
                <a:gd name="connsiteX146" fmla="*/ 775322 w 917657"/>
                <a:gd name="connsiteY146" fmla="*/ 138991 h 984504"/>
                <a:gd name="connsiteX147" fmla="*/ 778534 w 917657"/>
                <a:gd name="connsiteY147" fmla="*/ 115219 h 984504"/>
                <a:gd name="connsiteX148" fmla="*/ 789456 w 917657"/>
                <a:gd name="connsiteY148" fmla="*/ 103655 h 984504"/>
                <a:gd name="connsiteX149" fmla="*/ 806161 w 917657"/>
                <a:gd name="connsiteY149" fmla="*/ 126784 h 984504"/>
                <a:gd name="connsiteX150" fmla="*/ 806161 w 917657"/>
                <a:gd name="connsiteY150" fmla="*/ 167261 h 984504"/>
                <a:gd name="connsiteX151" fmla="*/ 795239 w 917657"/>
                <a:gd name="connsiteY151" fmla="*/ 196815 h 984504"/>
                <a:gd name="connsiteX152" fmla="*/ 803591 w 917657"/>
                <a:gd name="connsiteY152" fmla="*/ 241147 h 984504"/>
                <a:gd name="connsiteX153" fmla="*/ 848565 w 917657"/>
                <a:gd name="connsiteY153" fmla="*/ 312463 h 984504"/>
                <a:gd name="connsiteX154" fmla="*/ 867840 w 917657"/>
                <a:gd name="connsiteY154" fmla="*/ 330453 h 984504"/>
                <a:gd name="connsiteX155" fmla="*/ 890969 w 917657"/>
                <a:gd name="connsiteY155" fmla="*/ 351655 h 984504"/>
                <a:gd name="connsiteX156" fmla="*/ 911529 w 917657"/>
                <a:gd name="connsiteY156" fmla="*/ 380567 h 984504"/>
                <a:gd name="connsiteX157" fmla="*/ 907674 w 917657"/>
                <a:gd name="connsiteY157" fmla="*/ 422328 h 984504"/>
                <a:gd name="connsiteX158" fmla="*/ 916669 w 917657"/>
                <a:gd name="connsiteY158" fmla="*/ 449313 h 98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917657" h="984504">
                  <a:moveTo>
                    <a:pt x="916669" y="449313"/>
                  </a:moveTo>
                  <a:cubicBezTo>
                    <a:pt x="913456" y="466017"/>
                    <a:pt x="905746" y="473727"/>
                    <a:pt x="899964" y="481437"/>
                  </a:cubicBezTo>
                  <a:cubicBezTo>
                    <a:pt x="894182" y="488505"/>
                    <a:pt x="875550" y="501354"/>
                    <a:pt x="872980" y="514204"/>
                  </a:cubicBezTo>
                  <a:cubicBezTo>
                    <a:pt x="871052" y="527054"/>
                    <a:pt x="883259" y="539904"/>
                    <a:pt x="865270" y="553396"/>
                  </a:cubicBezTo>
                  <a:cubicBezTo>
                    <a:pt x="847280" y="566888"/>
                    <a:pt x="839570" y="572028"/>
                    <a:pt x="828648" y="577810"/>
                  </a:cubicBezTo>
                  <a:cubicBezTo>
                    <a:pt x="817726" y="583593"/>
                    <a:pt x="811943" y="584235"/>
                    <a:pt x="811301" y="577810"/>
                  </a:cubicBezTo>
                  <a:cubicBezTo>
                    <a:pt x="810658" y="571385"/>
                    <a:pt x="817083" y="563676"/>
                    <a:pt x="809373" y="564318"/>
                  </a:cubicBezTo>
                  <a:cubicBezTo>
                    <a:pt x="802306" y="564961"/>
                    <a:pt x="781747" y="582308"/>
                    <a:pt x="777249" y="591303"/>
                  </a:cubicBezTo>
                  <a:cubicBezTo>
                    <a:pt x="772752" y="600940"/>
                    <a:pt x="761829" y="610577"/>
                    <a:pt x="771467" y="623427"/>
                  </a:cubicBezTo>
                  <a:cubicBezTo>
                    <a:pt x="781747" y="636277"/>
                    <a:pt x="795239" y="647199"/>
                    <a:pt x="801021" y="671613"/>
                  </a:cubicBezTo>
                  <a:cubicBezTo>
                    <a:pt x="806803" y="695386"/>
                    <a:pt x="813871" y="703738"/>
                    <a:pt x="817726" y="726225"/>
                  </a:cubicBezTo>
                  <a:cubicBezTo>
                    <a:pt x="821581" y="748712"/>
                    <a:pt x="826078" y="770556"/>
                    <a:pt x="820296" y="790474"/>
                  </a:cubicBezTo>
                  <a:cubicBezTo>
                    <a:pt x="814513" y="810391"/>
                    <a:pt x="793311" y="826453"/>
                    <a:pt x="805518" y="844442"/>
                  </a:cubicBezTo>
                  <a:cubicBezTo>
                    <a:pt x="817726" y="862432"/>
                    <a:pt x="821581" y="897769"/>
                    <a:pt x="817083" y="907406"/>
                  </a:cubicBezTo>
                  <a:cubicBezTo>
                    <a:pt x="812586" y="917044"/>
                    <a:pt x="801664" y="923469"/>
                    <a:pt x="778534" y="927966"/>
                  </a:cubicBezTo>
                  <a:cubicBezTo>
                    <a:pt x="755405" y="931821"/>
                    <a:pt x="753477" y="930536"/>
                    <a:pt x="734845" y="927966"/>
                  </a:cubicBezTo>
                  <a:cubicBezTo>
                    <a:pt x="715570" y="925396"/>
                    <a:pt x="698223" y="930536"/>
                    <a:pt x="684731" y="942743"/>
                  </a:cubicBezTo>
                  <a:cubicBezTo>
                    <a:pt x="671239" y="954950"/>
                    <a:pt x="641042" y="960733"/>
                    <a:pt x="643612" y="984505"/>
                  </a:cubicBezTo>
                  <a:cubicBezTo>
                    <a:pt x="630762" y="981292"/>
                    <a:pt x="619840" y="976795"/>
                    <a:pt x="614700" y="971012"/>
                  </a:cubicBezTo>
                  <a:cubicBezTo>
                    <a:pt x="614057" y="970370"/>
                    <a:pt x="612772" y="969728"/>
                    <a:pt x="612130" y="968443"/>
                  </a:cubicBezTo>
                  <a:cubicBezTo>
                    <a:pt x="611487" y="967800"/>
                    <a:pt x="610845" y="967800"/>
                    <a:pt x="610845" y="967158"/>
                  </a:cubicBezTo>
                  <a:cubicBezTo>
                    <a:pt x="608917" y="965873"/>
                    <a:pt x="607632" y="964587"/>
                    <a:pt x="605705" y="963303"/>
                  </a:cubicBezTo>
                  <a:cubicBezTo>
                    <a:pt x="604420" y="962660"/>
                    <a:pt x="603135" y="961375"/>
                    <a:pt x="601850" y="960733"/>
                  </a:cubicBezTo>
                  <a:cubicBezTo>
                    <a:pt x="599923" y="959448"/>
                    <a:pt x="597353" y="958163"/>
                    <a:pt x="595425" y="956878"/>
                  </a:cubicBezTo>
                  <a:cubicBezTo>
                    <a:pt x="592213" y="954950"/>
                    <a:pt x="588358" y="953023"/>
                    <a:pt x="585145" y="951095"/>
                  </a:cubicBezTo>
                  <a:cubicBezTo>
                    <a:pt x="574866" y="944671"/>
                    <a:pt x="558803" y="938246"/>
                    <a:pt x="558161" y="938246"/>
                  </a:cubicBezTo>
                  <a:cubicBezTo>
                    <a:pt x="557518" y="938246"/>
                    <a:pt x="544669" y="937603"/>
                    <a:pt x="530534" y="934391"/>
                  </a:cubicBezTo>
                  <a:cubicBezTo>
                    <a:pt x="515757" y="931178"/>
                    <a:pt x="486845" y="926681"/>
                    <a:pt x="481705" y="924111"/>
                  </a:cubicBezTo>
                  <a:cubicBezTo>
                    <a:pt x="477207" y="921541"/>
                    <a:pt x="472068" y="918329"/>
                    <a:pt x="466928" y="920898"/>
                  </a:cubicBezTo>
                  <a:cubicBezTo>
                    <a:pt x="461788" y="922826"/>
                    <a:pt x="450223" y="926681"/>
                    <a:pt x="445726" y="930536"/>
                  </a:cubicBezTo>
                  <a:cubicBezTo>
                    <a:pt x="441228" y="934391"/>
                    <a:pt x="430306" y="942100"/>
                    <a:pt x="428378" y="935676"/>
                  </a:cubicBezTo>
                  <a:cubicBezTo>
                    <a:pt x="426451" y="929251"/>
                    <a:pt x="426451" y="917686"/>
                    <a:pt x="424524" y="915759"/>
                  </a:cubicBezTo>
                  <a:cubicBezTo>
                    <a:pt x="423239" y="913831"/>
                    <a:pt x="411674" y="904836"/>
                    <a:pt x="407819" y="902909"/>
                  </a:cubicBezTo>
                  <a:cubicBezTo>
                    <a:pt x="403964" y="900981"/>
                    <a:pt x="399467" y="897769"/>
                    <a:pt x="397539" y="901624"/>
                  </a:cubicBezTo>
                  <a:cubicBezTo>
                    <a:pt x="395612" y="904836"/>
                    <a:pt x="396897" y="906764"/>
                    <a:pt x="402036" y="912546"/>
                  </a:cubicBezTo>
                  <a:cubicBezTo>
                    <a:pt x="406534" y="918329"/>
                    <a:pt x="409104" y="924754"/>
                    <a:pt x="406534" y="924754"/>
                  </a:cubicBezTo>
                  <a:cubicBezTo>
                    <a:pt x="403964" y="924754"/>
                    <a:pt x="393684" y="920256"/>
                    <a:pt x="385332" y="918971"/>
                  </a:cubicBezTo>
                  <a:cubicBezTo>
                    <a:pt x="377622" y="917686"/>
                    <a:pt x="367985" y="917686"/>
                    <a:pt x="364772" y="917044"/>
                  </a:cubicBezTo>
                  <a:cubicBezTo>
                    <a:pt x="361560" y="916401"/>
                    <a:pt x="349353" y="915759"/>
                    <a:pt x="357705" y="909334"/>
                  </a:cubicBezTo>
                  <a:cubicBezTo>
                    <a:pt x="366057" y="902909"/>
                    <a:pt x="371197" y="902909"/>
                    <a:pt x="374410" y="900339"/>
                  </a:cubicBezTo>
                  <a:cubicBezTo>
                    <a:pt x="378264" y="897769"/>
                    <a:pt x="387259" y="900981"/>
                    <a:pt x="379549" y="890701"/>
                  </a:cubicBezTo>
                  <a:cubicBezTo>
                    <a:pt x="371840" y="880422"/>
                    <a:pt x="371197" y="875924"/>
                    <a:pt x="367342" y="873997"/>
                  </a:cubicBezTo>
                  <a:cubicBezTo>
                    <a:pt x="363487" y="872712"/>
                    <a:pt x="360917" y="873997"/>
                    <a:pt x="354492" y="873354"/>
                  </a:cubicBezTo>
                  <a:cubicBezTo>
                    <a:pt x="347425" y="872712"/>
                    <a:pt x="342285" y="870142"/>
                    <a:pt x="337788" y="870142"/>
                  </a:cubicBezTo>
                  <a:cubicBezTo>
                    <a:pt x="333290" y="870142"/>
                    <a:pt x="326865" y="870142"/>
                    <a:pt x="321726" y="874639"/>
                  </a:cubicBezTo>
                  <a:cubicBezTo>
                    <a:pt x="316586" y="879137"/>
                    <a:pt x="310161" y="881707"/>
                    <a:pt x="305021" y="886204"/>
                  </a:cubicBezTo>
                  <a:cubicBezTo>
                    <a:pt x="299239" y="890059"/>
                    <a:pt x="295384" y="888774"/>
                    <a:pt x="291529" y="896484"/>
                  </a:cubicBezTo>
                  <a:cubicBezTo>
                    <a:pt x="287674" y="903551"/>
                    <a:pt x="269684" y="918971"/>
                    <a:pt x="282534" y="925396"/>
                  </a:cubicBezTo>
                  <a:cubicBezTo>
                    <a:pt x="295384" y="931821"/>
                    <a:pt x="299881" y="935033"/>
                    <a:pt x="305663" y="934391"/>
                  </a:cubicBezTo>
                  <a:cubicBezTo>
                    <a:pt x="310803" y="933748"/>
                    <a:pt x="314658" y="931178"/>
                    <a:pt x="317871" y="926681"/>
                  </a:cubicBezTo>
                  <a:cubicBezTo>
                    <a:pt x="321083" y="922183"/>
                    <a:pt x="324295" y="918971"/>
                    <a:pt x="328150" y="918971"/>
                  </a:cubicBezTo>
                  <a:cubicBezTo>
                    <a:pt x="332005" y="918971"/>
                    <a:pt x="340358" y="923469"/>
                    <a:pt x="343570" y="927323"/>
                  </a:cubicBezTo>
                  <a:cubicBezTo>
                    <a:pt x="346783" y="931178"/>
                    <a:pt x="349353" y="936961"/>
                    <a:pt x="345498" y="940816"/>
                  </a:cubicBezTo>
                  <a:cubicBezTo>
                    <a:pt x="342285" y="945313"/>
                    <a:pt x="341643" y="943385"/>
                    <a:pt x="337788" y="951738"/>
                  </a:cubicBezTo>
                  <a:cubicBezTo>
                    <a:pt x="334575" y="960090"/>
                    <a:pt x="333290" y="968443"/>
                    <a:pt x="329435" y="961375"/>
                  </a:cubicBezTo>
                  <a:cubicBezTo>
                    <a:pt x="325581" y="954950"/>
                    <a:pt x="325581" y="949810"/>
                    <a:pt x="321083" y="947241"/>
                  </a:cubicBezTo>
                  <a:cubicBezTo>
                    <a:pt x="316586" y="944671"/>
                    <a:pt x="310161" y="940816"/>
                    <a:pt x="306306" y="945313"/>
                  </a:cubicBezTo>
                  <a:cubicBezTo>
                    <a:pt x="301808" y="949810"/>
                    <a:pt x="297311" y="956235"/>
                    <a:pt x="296669" y="957520"/>
                  </a:cubicBezTo>
                  <a:cubicBezTo>
                    <a:pt x="296026" y="958805"/>
                    <a:pt x="292814" y="967800"/>
                    <a:pt x="283176" y="967800"/>
                  </a:cubicBezTo>
                  <a:cubicBezTo>
                    <a:pt x="273539" y="968443"/>
                    <a:pt x="264544" y="966515"/>
                    <a:pt x="257477" y="962660"/>
                  </a:cubicBezTo>
                  <a:cubicBezTo>
                    <a:pt x="250409" y="958805"/>
                    <a:pt x="242700" y="954308"/>
                    <a:pt x="234990" y="951738"/>
                  </a:cubicBezTo>
                  <a:cubicBezTo>
                    <a:pt x="227280" y="949168"/>
                    <a:pt x="217000" y="942100"/>
                    <a:pt x="206078" y="949810"/>
                  </a:cubicBezTo>
                  <a:cubicBezTo>
                    <a:pt x="195798" y="957520"/>
                    <a:pt x="188088" y="968443"/>
                    <a:pt x="175238" y="972297"/>
                  </a:cubicBezTo>
                  <a:cubicBezTo>
                    <a:pt x="162389" y="976153"/>
                    <a:pt x="150181" y="977437"/>
                    <a:pt x="145684" y="976153"/>
                  </a:cubicBezTo>
                  <a:cubicBezTo>
                    <a:pt x="141829" y="974868"/>
                    <a:pt x="104565" y="976153"/>
                    <a:pt x="91715" y="976153"/>
                  </a:cubicBezTo>
                  <a:cubicBezTo>
                    <a:pt x="79508" y="976153"/>
                    <a:pt x="72440" y="976153"/>
                    <a:pt x="62161" y="976795"/>
                  </a:cubicBezTo>
                  <a:cubicBezTo>
                    <a:pt x="51881" y="978080"/>
                    <a:pt x="39031" y="974225"/>
                    <a:pt x="39031" y="972297"/>
                  </a:cubicBezTo>
                  <a:cubicBezTo>
                    <a:pt x="38389" y="970370"/>
                    <a:pt x="41601" y="965873"/>
                    <a:pt x="42886" y="962660"/>
                  </a:cubicBezTo>
                  <a:cubicBezTo>
                    <a:pt x="44171" y="958805"/>
                    <a:pt x="48668" y="959448"/>
                    <a:pt x="45456" y="953023"/>
                  </a:cubicBezTo>
                  <a:cubicBezTo>
                    <a:pt x="42244" y="946598"/>
                    <a:pt x="39674" y="940816"/>
                    <a:pt x="36461" y="943385"/>
                  </a:cubicBezTo>
                  <a:cubicBezTo>
                    <a:pt x="33249" y="945956"/>
                    <a:pt x="29394" y="955593"/>
                    <a:pt x="26824" y="956878"/>
                  </a:cubicBezTo>
                  <a:cubicBezTo>
                    <a:pt x="24254" y="958163"/>
                    <a:pt x="21041" y="959448"/>
                    <a:pt x="18472" y="958805"/>
                  </a:cubicBezTo>
                  <a:cubicBezTo>
                    <a:pt x="15259" y="958163"/>
                    <a:pt x="6907" y="958805"/>
                    <a:pt x="8192" y="953023"/>
                  </a:cubicBezTo>
                  <a:cubicBezTo>
                    <a:pt x="8834" y="947241"/>
                    <a:pt x="13332" y="945313"/>
                    <a:pt x="9477" y="939531"/>
                  </a:cubicBezTo>
                  <a:cubicBezTo>
                    <a:pt x="5622" y="933748"/>
                    <a:pt x="1124" y="927323"/>
                    <a:pt x="482" y="926681"/>
                  </a:cubicBezTo>
                  <a:cubicBezTo>
                    <a:pt x="-161" y="926038"/>
                    <a:pt x="-161" y="924111"/>
                    <a:pt x="482" y="909334"/>
                  </a:cubicBezTo>
                  <a:cubicBezTo>
                    <a:pt x="1124" y="895199"/>
                    <a:pt x="2409" y="891344"/>
                    <a:pt x="3694" y="882992"/>
                  </a:cubicBezTo>
                  <a:cubicBezTo>
                    <a:pt x="4979" y="874639"/>
                    <a:pt x="4979" y="866287"/>
                    <a:pt x="4979" y="865002"/>
                  </a:cubicBezTo>
                  <a:cubicBezTo>
                    <a:pt x="4979" y="863717"/>
                    <a:pt x="3694" y="865002"/>
                    <a:pt x="8192" y="850225"/>
                  </a:cubicBezTo>
                  <a:cubicBezTo>
                    <a:pt x="12047" y="835448"/>
                    <a:pt x="19114" y="823883"/>
                    <a:pt x="20399" y="817458"/>
                  </a:cubicBezTo>
                  <a:cubicBezTo>
                    <a:pt x="21684" y="811033"/>
                    <a:pt x="25539" y="804608"/>
                    <a:pt x="30036" y="797541"/>
                  </a:cubicBezTo>
                  <a:cubicBezTo>
                    <a:pt x="34534" y="790474"/>
                    <a:pt x="37746" y="793043"/>
                    <a:pt x="33249" y="783406"/>
                  </a:cubicBezTo>
                  <a:cubicBezTo>
                    <a:pt x="29394" y="773769"/>
                    <a:pt x="21041" y="782121"/>
                    <a:pt x="20399" y="759634"/>
                  </a:cubicBezTo>
                  <a:cubicBezTo>
                    <a:pt x="19114" y="737147"/>
                    <a:pt x="18472" y="731365"/>
                    <a:pt x="22326" y="721727"/>
                  </a:cubicBezTo>
                  <a:cubicBezTo>
                    <a:pt x="26181" y="712090"/>
                    <a:pt x="24896" y="708878"/>
                    <a:pt x="31964" y="701810"/>
                  </a:cubicBezTo>
                  <a:cubicBezTo>
                    <a:pt x="39031" y="694743"/>
                    <a:pt x="49953" y="670328"/>
                    <a:pt x="53808" y="664546"/>
                  </a:cubicBezTo>
                  <a:cubicBezTo>
                    <a:pt x="57663" y="658764"/>
                    <a:pt x="61518" y="656836"/>
                    <a:pt x="60233" y="652339"/>
                  </a:cubicBezTo>
                  <a:cubicBezTo>
                    <a:pt x="58948" y="648484"/>
                    <a:pt x="57021" y="647199"/>
                    <a:pt x="58948" y="644629"/>
                  </a:cubicBezTo>
                  <a:cubicBezTo>
                    <a:pt x="60876" y="642059"/>
                    <a:pt x="64088" y="642059"/>
                    <a:pt x="66658" y="639489"/>
                  </a:cubicBezTo>
                  <a:cubicBezTo>
                    <a:pt x="69228" y="637562"/>
                    <a:pt x="71156" y="639489"/>
                    <a:pt x="73083" y="634992"/>
                  </a:cubicBezTo>
                  <a:cubicBezTo>
                    <a:pt x="75010" y="629852"/>
                    <a:pt x="75653" y="621500"/>
                    <a:pt x="75653" y="619572"/>
                  </a:cubicBezTo>
                  <a:cubicBezTo>
                    <a:pt x="75653" y="617645"/>
                    <a:pt x="61518" y="614432"/>
                    <a:pt x="69228" y="599012"/>
                  </a:cubicBezTo>
                  <a:cubicBezTo>
                    <a:pt x="76938" y="583593"/>
                    <a:pt x="79508" y="585520"/>
                    <a:pt x="82720" y="573313"/>
                  </a:cubicBezTo>
                  <a:cubicBezTo>
                    <a:pt x="85933" y="561106"/>
                    <a:pt x="87860" y="543759"/>
                    <a:pt x="89788" y="533479"/>
                  </a:cubicBezTo>
                  <a:cubicBezTo>
                    <a:pt x="92358" y="523199"/>
                    <a:pt x="94928" y="509064"/>
                    <a:pt x="102637" y="502639"/>
                  </a:cubicBezTo>
                  <a:cubicBezTo>
                    <a:pt x="110347" y="495572"/>
                    <a:pt x="132192" y="475655"/>
                    <a:pt x="132192" y="475655"/>
                  </a:cubicBezTo>
                  <a:cubicBezTo>
                    <a:pt x="132192" y="475655"/>
                    <a:pt x="136047" y="467945"/>
                    <a:pt x="146969" y="458308"/>
                  </a:cubicBezTo>
                  <a:cubicBezTo>
                    <a:pt x="157891" y="448670"/>
                    <a:pt x="157249" y="445458"/>
                    <a:pt x="164316" y="442888"/>
                  </a:cubicBezTo>
                  <a:cubicBezTo>
                    <a:pt x="171384" y="439675"/>
                    <a:pt x="184233" y="437106"/>
                    <a:pt x="185518" y="431966"/>
                  </a:cubicBezTo>
                  <a:cubicBezTo>
                    <a:pt x="186161" y="426826"/>
                    <a:pt x="188731" y="413976"/>
                    <a:pt x="190658" y="410121"/>
                  </a:cubicBezTo>
                  <a:cubicBezTo>
                    <a:pt x="192586" y="406266"/>
                    <a:pt x="206078" y="387634"/>
                    <a:pt x="209933" y="379924"/>
                  </a:cubicBezTo>
                  <a:cubicBezTo>
                    <a:pt x="213145" y="374142"/>
                    <a:pt x="213788" y="368359"/>
                    <a:pt x="213145" y="365147"/>
                  </a:cubicBezTo>
                  <a:cubicBezTo>
                    <a:pt x="217643" y="363220"/>
                    <a:pt x="221497" y="361934"/>
                    <a:pt x="224068" y="361292"/>
                  </a:cubicBezTo>
                  <a:cubicBezTo>
                    <a:pt x="231135" y="358722"/>
                    <a:pt x="259404" y="322100"/>
                    <a:pt x="262617" y="311178"/>
                  </a:cubicBezTo>
                  <a:cubicBezTo>
                    <a:pt x="265187" y="300256"/>
                    <a:pt x="270327" y="282909"/>
                    <a:pt x="270327" y="275199"/>
                  </a:cubicBezTo>
                  <a:cubicBezTo>
                    <a:pt x="270327" y="267489"/>
                    <a:pt x="264544" y="254639"/>
                    <a:pt x="273539" y="247572"/>
                  </a:cubicBezTo>
                  <a:cubicBezTo>
                    <a:pt x="282534" y="240504"/>
                    <a:pt x="297311" y="226370"/>
                    <a:pt x="301808" y="214805"/>
                  </a:cubicBezTo>
                  <a:cubicBezTo>
                    <a:pt x="306306" y="202598"/>
                    <a:pt x="317228" y="192318"/>
                    <a:pt x="314016" y="180753"/>
                  </a:cubicBezTo>
                  <a:cubicBezTo>
                    <a:pt x="310803" y="169188"/>
                    <a:pt x="306948" y="155696"/>
                    <a:pt x="301808" y="151199"/>
                  </a:cubicBezTo>
                  <a:cubicBezTo>
                    <a:pt x="296669" y="146701"/>
                    <a:pt x="292814" y="137064"/>
                    <a:pt x="289601" y="130639"/>
                  </a:cubicBezTo>
                  <a:cubicBezTo>
                    <a:pt x="286389" y="123572"/>
                    <a:pt x="286389" y="113292"/>
                    <a:pt x="286389" y="108794"/>
                  </a:cubicBezTo>
                  <a:cubicBezTo>
                    <a:pt x="286389" y="104940"/>
                    <a:pt x="289601" y="96587"/>
                    <a:pt x="288316" y="91447"/>
                  </a:cubicBezTo>
                  <a:cubicBezTo>
                    <a:pt x="290886" y="90805"/>
                    <a:pt x="293456" y="90805"/>
                    <a:pt x="295384" y="90162"/>
                  </a:cubicBezTo>
                  <a:cubicBezTo>
                    <a:pt x="306306" y="88877"/>
                    <a:pt x="326865" y="84380"/>
                    <a:pt x="336503" y="80525"/>
                  </a:cubicBezTo>
                  <a:cubicBezTo>
                    <a:pt x="346783" y="76670"/>
                    <a:pt x="370555" y="73458"/>
                    <a:pt x="371840" y="77955"/>
                  </a:cubicBezTo>
                  <a:cubicBezTo>
                    <a:pt x="373125" y="82452"/>
                    <a:pt x="365415" y="85023"/>
                    <a:pt x="368627" y="96587"/>
                  </a:cubicBezTo>
                  <a:cubicBezTo>
                    <a:pt x="371197" y="108152"/>
                    <a:pt x="375052" y="115862"/>
                    <a:pt x="385974" y="121002"/>
                  </a:cubicBezTo>
                  <a:cubicBezTo>
                    <a:pt x="396897" y="126142"/>
                    <a:pt x="414244" y="136422"/>
                    <a:pt x="411031" y="144774"/>
                  </a:cubicBezTo>
                  <a:cubicBezTo>
                    <a:pt x="407819" y="153126"/>
                    <a:pt x="396254" y="169188"/>
                    <a:pt x="402036" y="174328"/>
                  </a:cubicBezTo>
                  <a:cubicBezTo>
                    <a:pt x="407819" y="179468"/>
                    <a:pt x="413601" y="182681"/>
                    <a:pt x="421311" y="176898"/>
                  </a:cubicBezTo>
                  <a:cubicBezTo>
                    <a:pt x="429021" y="171116"/>
                    <a:pt x="429021" y="159551"/>
                    <a:pt x="437373" y="158266"/>
                  </a:cubicBezTo>
                  <a:cubicBezTo>
                    <a:pt x="445726" y="156981"/>
                    <a:pt x="456005" y="155054"/>
                    <a:pt x="456005" y="155054"/>
                  </a:cubicBezTo>
                  <a:cubicBezTo>
                    <a:pt x="456005" y="155054"/>
                    <a:pt x="447653" y="144131"/>
                    <a:pt x="447011" y="141561"/>
                  </a:cubicBezTo>
                  <a:cubicBezTo>
                    <a:pt x="446368" y="138991"/>
                    <a:pt x="449580" y="127427"/>
                    <a:pt x="456005" y="128069"/>
                  </a:cubicBezTo>
                  <a:cubicBezTo>
                    <a:pt x="462430" y="128712"/>
                    <a:pt x="472710" y="129354"/>
                    <a:pt x="482347" y="128069"/>
                  </a:cubicBezTo>
                  <a:cubicBezTo>
                    <a:pt x="491985" y="126784"/>
                    <a:pt x="502907" y="124857"/>
                    <a:pt x="502907" y="118432"/>
                  </a:cubicBezTo>
                  <a:cubicBezTo>
                    <a:pt x="502907" y="112007"/>
                    <a:pt x="495840" y="103012"/>
                    <a:pt x="498410" y="100442"/>
                  </a:cubicBezTo>
                  <a:cubicBezTo>
                    <a:pt x="498410" y="100442"/>
                    <a:pt x="498410" y="100442"/>
                    <a:pt x="498410" y="100442"/>
                  </a:cubicBezTo>
                  <a:cubicBezTo>
                    <a:pt x="501622" y="97230"/>
                    <a:pt x="510617" y="94017"/>
                    <a:pt x="518969" y="94660"/>
                  </a:cubicBezTo>
                  <a:cubicBezTo>
                    <a:pt x="527964" y="95302"/>
                    <a:pt x="561373" y="83095"/>
                    <a:pt x="567156" y="79240"/>
                  </a:cubicBezTo>
                  <a:cubicBezTo>
                    <a:pt x="573581" y="75385"/>
                    <a:pt x="587715" y="70245"/>
                    <a:pt x="587715" y="61250"/>
                  </a:cubicBezTo>
                  <a:cubicBezTo>
                    <a:pt x="587715" y="52256"/>
                    <a:pt x="584503" y="34908"/>
                    <a:pt x="582575" y="34908"/>
                  </a:cubicBezTo>
                  <a:cubicBezTo>
                    <a:pt x="580648" y="34266"/>
                    <a:pt x="574866" y="31696"/>
                    <a:pt x="566513" y="32339"/>
                  </a:cubicBezTo>
                  <a:cubicBezTo>
                    <a:pt x="558161" y="32981"/>
                    <a:pt x="547881" y="30411"/>
                    <a:pt x="549809" y="25271"/>
                  </a:cubicBezTo>
                  <a:cubicBezTo>
                    <a:pt x="551736" y="20131"/>
                    <a:pt x="567156" y="7924"/>
                    <a:pt x="568441" y="7924"/>
                  </a:cubicBezTo>
                  <a:cubicBezTo>
                    <a:pt x="570368" y="7924"/>
                    <a:pt x="582575" y="6639"/>
                    <a:pt x="583860" y="7924"/>
                  </a:cubicBezTo>
                  <a:cubicBezTo>
                    <a:pt x="585788" y="9209"/>
                    <a:pt x="582575" y="3427"/>
                    <a:pt x="587073" y="857"/>
                  </a:cubicBezTo>
                  <a:cubicBezTo>
                    <a:pt x="591570" y="-1071"/>
                    <a:pt x="597995" y="857"/>
                    <a:pt x="598638" y="857"/>
                  </a:cubicBezTo>
                  <a:cubicBezTo>
                    <a:pt x="599280" y="857"/>
                    <a:pt x="595425" y="7924"/>
                    <a:pt x="603777" y="10494"/>
                  </a:cubicBezTo>
                  <a:cubicBezTo>
                    <a:pt x="612130" y="12421"/>
                    <a:pt x="619840" y="9851"/>
                    <a:pt x="623695" y="9851"/>
                  </a:cubicBezTo>
                  <a:cubicBezTo>
                    <a:pt x="627550" y="9851"/>
                    <a:pt x="648109" y="4069"/>
                    <a:pt x="652607" y="9209"/>
                  </a:cubicBezTo>
                  <a:cubicBezTo>
                    <a:pt x="657104" y="14349"/>
                    <a:pt x="662244" y="31053"/>
                    <a:pt x="668026" y="31053"/>
                  </a:cubicBezTo>
                  <a:cubicBezTo>
                    <a:pt x="674451" y="31053"/>
                    <a:pt x="682803" y="24629"/>
                    <a:pt x="691156" y="29126"/>
                  </a:cubicBezTo>
                  <a:cubicBezTo>
                    <a:pt x="699508" y="33624"/>
                    <a:pt x="706575" y="34908"/>
                    <a:pt x="709145" y="40691"/>
                  </a:cubicBezTo>
                  <a:cubicBezTo>
                    <a:pt x="711073" y="46473"/>
                    <a:pt x="740627" y="96587"/>
                    <a:pt x="741270" y="101727"/>
                  </a:cubicBezTo>
                  <a:cubicBezTo>
                    <a:pt x="742555" y="106867"/>
                    <a:pt x="734845" y="127427"/>
                    <a:pt x="743840" y="135779"/>
                  </a:cubicBezTo>
                  <a:cubicBezTo>
                    <a:pt x="753477" y="144131"/>
                    <a:pt x="773394" y="148629"/>
                    <a:pt x="775322" y="138991"/>
                  </a:cubicBezTo>
                  <a:cubicBezTo>
                    <a:pt x="777249" y="129354"/>
                    <a:pt x="778534" y="121002"/>
                    <a:pt x="778534" y="115219"/>
                  </a:cubicBezTo>
                  <a:cubicBezTo>
                    <a:pt x="778534" y="109437"/>
                    <a:pt x="783031" y="101085"/>
                    <a:pt x="789456" y="103655"/>
                  </a:cubicBezTo>
                  <a:cubicBezTo>
                    <a:pt x="795881" y="106225"/>
                    <a:pt x="804234" y="116504"/>
                    <a:pt x="806161" y="126784"/>
                  </a:cubicBezTo>
                  <a:cubicBezTo>
                    <a:pt x="808089" y="137064"/>
                    <a:pt x="809373" y="155696"/>
                    <a:pt x="806161" y="167261"/>
                  </a:cubicBezTo>
                  <a:cubicBezTo>
                    <a:pt x="802949" y="179468"/>
                    <a:pt x="795239" y="186536"/>
                    <a:pt x="795239" y="196815"/>
                  </a:cubicBezTo>
                  <a:cubicBezTo>
                    <a:pt x="794596" y="206453"/>
                    <a:pt x="803591" y="241147"/>
                    <a:pt x="803591" y="241147"/>
                  </a:cubicBezTo>
                  <a:cubicBezTo>
                    <a:pt x="803591" y="241147"/>
                    <a:pt x="844068" y="300898"/>
                    <a:pt x="848565" y="312463"/>
                  </a:cubicBezTo>
                  <a:cubicBezTo>
                    <a:pt x="853063" y="324670"/>
                    <a:pt x="863342" y="329168"/>
                    <a:pt x="867840" y="330453"/>
                  </a:cubicBezTo>
                  <a:cubicBezTo>
                    <a:pt x="872337" y="331738"/>
                    <a:pt x="885187" y="339447"/>
                    <a:pt x="890969" y="351655"/>
                  </a:cubicBezTo>
                  <a:cubicBezTo>
                    <a:pt x="896752" y="363862"/>
                    <a:pt x="911529" y="372214"/>
                    <a:pt x="911529" y="380567"/>
                  </a:cubicBezTo>
                  <a:cubicBezTo>
                    <a:pt x="911529" y="388919"/>
                    <a:pt x="908959" y="417188"/>
                    <a:pt x="907674" y="422328"/>
                  </a:cubicBezTo>
                  <a:cubicBezTo>
                    <a:pt x="912171" y="428111"/>
                    <a:pt x="920524" y="432608"/>
                    <a:pt x="916669" y="449313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3" name="Freihandform 472">
              <a:extLst>
                <a:ext uri="{FF2B5EF4-FFF2-40B4-BE49-F238E27FC236}">
                  <a16:creationId xmlns:a16="http://schemas.microsoft.com/office/drawing/2014/main" id="{D4CCED64-D6DE-8FA1-EE1F-567B4E043DB0}"/>
                </a:ext>
              </a:extLst>
            </p:cNvPr>
            <p:cNvSpPr/>
            <p:nvPr/>
          </p:nvSpPr>
          <p:spPr>
            <a:xfrm>
              <a:off x="2196279" y="4492117"/>
              <a:ext cx="917657" cy="984504"/>
            </a:xfrm>
            <a:custGeom>
              <a:avLst/>
              <a:gdLst>
                <a:gd name="connsiteX0" fmla="*/ 916669 w 917657"/>
                <a:gd name="connsiteY0" fmla="*/ 449313 h 984504"/>
                <a:gd name="connsiteX1" fmla="*/ 899964 w 917657"/>
                <a:gd name="connsiteY1" fmla="*/ 481437 h 984504"/>
                <a:gd name="connsiteX2" fmla="*/ 872980 w 917657"/>
                <a:gd name="connsiteY2" fmla="*/ 514204 h 984504"/>
                <a:gd name="connsiteX3" fmla="*/ 865270 w 917657"/>
                <a:gd name="connsiteY3" fmla="*/ 553396 h 984504"/>
                <a:gd name="connsiteX4" fmla="*/ 828648 w 917657"/>
                <a:gd name="connsiteY4" fmla="*/ 577810 h 984504"/>
                <a:gd name="connsiteX5" fmla="*/ 811301 w 917657"/>
                <a:gd name="connsiteY5" fmla="*/ 577810 h 984504"/>
                <a:gd name="connsiteX6" fmla="*/ 809373 w 917657"/>
                <a:gd name="connsiteY6" fmla="*/ 564318 h 984504"/>
                <a:gd name="connsiteX7" fmla="*/ 777249 w 917657"/>
                <a:gd name="connsiteY7" fmla="*/ 591303 h 984504"/>
                <a:gd name="connsiteX8" fmla="*/ 771467 w 917657"/>
                <a:gd name="connsiteY8" fmla="*/ 623427 h 984504"/>
                <a:gd name="connsiteX9" fmla="*/ 801021 w 917657"/>
                <a:gd name="connsiteY9" fmla="*/ 671613 h 984504"/>
                <a:gd name="connsiteX10" fmla="*/ 817726 w 917657"/>
                <a:gd name="connsiteY10" fmla="*/ 726225 h 984504"/>
                <a:gd name="connsiteX11" fmla="*/ 820296 w 917657"/>
                <a:gd name="connsiteY11" fmla="*/ 790474 h 984504"/>
                <a:gd name="connsiteX12" fmla="*/ 805518 w 917657"/>
                <a:gd name="connsiteY12" fmla="*/ 844442 h 984504"/>
                <a:gd name="connsiteX13" fmla="*/ 817083 w 917657"/>
                <a:gd name="connsiteY13" fmla="*/ 907406 h 984504"/>
                <a:gd name="connsiteX14" fmla="*/ 778534 w 917657"/>
                <a:gd name="connsiteY14" fmla="*/ 927966 h 984504"/>
                <a:gd name="connsiteX15" fmla="*/ 734845 w 917657"/>
                <a:gd name="connsiteY15" fmla="*/ 927966 h 984504"/>
                <a:gd name="connsiteX16" fmla="*/ 684731 w 917657"/>
                <a:gd name="connsiteY16" fmla="*/ 942743 h 984504"/>
                <a:gd name="connsiteX17" fmla="*/ 643612 w 917657"/>
                <a:gd name="connsiteY17" fmla="*/ 984505 h 984504"/>
                <a:gd name="connsiteX18" fmla="*/ 614700 w 917657"/>
                <a:gd name="connsiteY18" fmla="*/ 971012 h 984504"/>
                <a:gd name="connsiteX19" fmla="*/ 612130 w 917657"/>
                <a:gd name="connsiteY19" fmla="*/ 968443 h 984504"/>
                <a:gd name="connsiteX20" fmla="*/ 610845 w 917657"/>
                <a:gd name="connsiteY20" fmla="*/ 967158 h 984504"/>
                <a:gd name="connsiteX21" fmla="*/ 605705 w 917657"/>
                <a:gd name="connsiteY21" fmla="*/ 963303 h 984504"/>
                <a:gd name="connsiteX22" fmla="*/ 601850 w 917657"/>
                <a:gd name="connsiteY22" fmla="*/ 960733 h 984504"/>
                <a:gd name="connsiteX23" fmla="*/ 595425 w 917657"/>
                <a:gd name="connsiteY23" fmla="*/ 956878 h 984504"/>
                <a:gd name="connsiteX24" fmla="*/ 585145 w 917657"/>
                <a:gd name="connsiteY24" fmla="*/ 951095 h 984504"/>
                <a:gd name="connsiteX25" fmla="*/ 558161 w 917657"/>
                <a:gd name="connsiteY25" fmla="*/ 938246 h 984504"/>
                <a:gd name="connsiteX26" fmla="*/ 530534 w 917657"/>
                <a:gd name="connsiteY26" fmla="*/ 934391 h 984504"/>
                <a:gd name="connsiteX27" fmla="*/ 481705 w 917657"/>
                <a:gd name="connsiteY27" fmla="*/ 924111 h 984504"/>
                <a:gd name="connsiteX28" fmla="*/ 466928 w 917657"/>
                <a:gd name="connsiteY28" fmla="*/ 920898 h 984504"/>
                <a:gd name="connsiteX29" fmla="*/ 445726 w 917657"/>
                <a:gd name="connsiteY29" fmla="*/ 930536 h 984504"/>
                <a:gd name="connsiteX30" fmla="*/ 428378 w 917657"/>
                <a:gd name="connsiteY30" fmla="*/ 935676 h 984504"/>
                <a:gd name="connsiteX31" fmla="*/ 424524 w 917657"/>
                <a:gd name="connsiteY31" fmla="*/ 915759 h 984504"/>
                <a:gd name="connsiteX32" fmla="*/ 407819 w 917657"/>
                <a:gd name="connsiteY32" fmla="*/ 902909 h 984504"/>
                <a:gd name="connsiteX33" fmla="*/ 397539 w 917657"/>
                <a:gd name="connsiteY33" fmla="*/ 901624 h 984504"/>
                <a:gd name="connsiteX34" fmla="*/ 402036 w 917657"/>
                <a:gd name="connsiteY34" fmla="*/ 912546 h 984504"/>
                <a:gd name="connsiteX35" fmla="*/ 406534 w 917657"/>
                <a:gd name="connsiteY35" fmla="*/ 924754 h 984504"/>
                <a:gd name="connsiteX36" fmla="*/ 385332 w 917657"/>
                <a:gd name="connsiteY36" fmla="*/ 918971 h 984504"/>
                <a:gd name="connsiteX37" fmla="*/ 364772 w 917657"/>
                <a:gd name="connsiteY37" fmla="*/ 917044 h 984504"/>
                <a:gd name="connsiteX38" fmla="*/ 357705 w 917657"/>
                <a:gd name="connsiteY38" fmla="*/ 909334 h 984504"/>
                <a:gd name="connsiteX39" fmla="*/ 374410 w 917657"/>
                <a:gd name="connsiteY39" fmla="*/ 900339 h 984504"/>
                <a:gd name="connsiteX40" fmla="*/ 379549 w 917657"/>
                <a:gd name="connsiteY40" fmla="*/ 890701 h 984504"/>
                <a:gd name="connsiteX41" fmla="*/ 367342 w 917657"/>
                <a:gd name="connsiteY41" fmla="*/ 873997 h 984504"/>
                <a:gd name="connsiteX42" fmla="*/ 354492 w 917657"/>
                <a:gd name="connsiteY42" fmla="*/ 873354 h 984504"/>
                <a:gd name="connsiteX43" fmla="*/ 337788 w 917657"/>
                <a:gd name="connsiteY43" fmla="*/ 870142 h 984504"/>
                <a:gd name="connsiteX44" fmla="*/ 321726 w 917657"/>
                <a:gd name="connsiteY44" fmla="*/ 874639 h 984504"/>
                <a:gd name="connsiteX45" fmla="*/ 305021 w 917657"/>
                <a:gd name="connsiteY45" fmla="*/ 886204 h 984504"/>
                <a:gd name="connsiteX46" fmla="*/ 291529 w 917657"/>
                <a:gd name="connsiteY46" fmla="*/ 896484 h 984504"/>
                <a:gd name="connsiteX47" fmla="*/ 282534 w 917657"/>
                <a:gd name="connsiteY47" fmla="*/ 925396 h 984504"/>
                <a:gd name="connsiteX48" fmla="*/ 305663 w 917657"/>
                <a:gd name="connsiteY48" fmla="*/ 934391 h 984504"/>
                <a:gd name="connsiteX49" fmla="*/ 317871 w 917657"/>
                <a:gd name="connsiteY49" fmla="*/ 926681 h 984504"/>
                <a:gd name="connsiteX50" fmla="*/ 328150 w 917657"/>
                <a:gd name="connsiteY50" fmla="*/ 918971 h 984504"/>
                <a:gd name="connsiteX51" fmla="*/ 343570 w 917657"/>
                <a:gd name="connsiteY51" fmla="*/ 927323 h 984504"/>
                <a:gd name="connsiteX52" fmla="*/ 345498 w 917657"/>
                <a:gd name="connsiteY52" fmla="*/ 940816 h 984504"/>
                <a:gd name="connsiteX53" fmla="*/ 337788 w 917657"/>
                <a:gd name="connsiteY53" fmla="*/ 951738 h 984504"/>
                <a:gd name="connsiteX54" fmla="*/ 329435 w 917657"/>
                <a:gd name="connsiteY54" fmla="*/ 961375 h 984504"/>
                <a:gd name="connsiteX55" fmla="*/ 321083 w 917657"/>
                <a:gd name="connsiteY55" fmla="*/ 947241 h 984504"/>
                <a:gd name="connsiteX56" fmla="*/ 306306 w 917657"/>
                <a:gd name="connsiteY56" fmla="*/ 945313 h 984504"/>
                <a:gd name="connsiteX57" fmla="*/ 296669 w 917657"/>
                <a:gd name="connsiteY57" fmla="*/ 957520 h 984504"/>
                <a:gd name="connsiteX58" fmla="*/ 283176 w 917657"/>
                <a:gd name="connsiteY58" fmla="*/ 967800 h 984504"/>
                <a:gd name="connsiteX59" fmla="*/ 257477 w 917657"/>
                <a:gd name="connsiteY59" fmla="*/ 962660 h 984504"/>
                <a:gd name="connsiteX60" fmla="*/ 234990 w 917657"/>
                <a:gd name="connsiteY60" fmla="*/ 951738 h 984504"/>
                <a:gd name="connsiteX61" fmla="*/ 206078 w 917657"/>
                <a:gd name="connsiteY61" fmla="*/ 949810 h 984504"/>
                <a:gd name="connsiteX62" fmla="*/ 175238 w 917657"/>
                <a:gd name="connsiteY62" fmla="*/ 972297 h 984504"/>
                <a:gd name="connsiteX63" fmla="*/ 145684 w 917657"/>
                <a:gd name="connsiteY63" fmla="*/ 976153 h 984504"/>
                <a:gd name="connsiteX64" fmla="*/ 91715 w 917657"/>
                <a:gd name="connsiteY64" fmla="*/ 976153 h 984504"/>
                <a:gd name="connsiteX65" fmla="*/ 62161 w 917657"/>
                <a:gd name="connsiteY65" fmla="*/ 976795 h 984504"/>
                <a:gd name="connsiteX66" fmla="*/ 39031 w 917657"/>
                <a:gd name="connsiteY66" fmla="*/ 972297 h 984504"/>
                <a:gd name="connsiteX67" fmla="*/ 42886 w 917657"/>
                <a:gd name="connsiteY67" fmla="*/ 962660 h 984504"/>
                <a:gd name="connsiteX68" fmla="*/ 45456 w 917657"/>
                <a:gd name="connsiteY68" fmla="*/ 953023 h 984504"/>
                <a:gd name="connsiteX69" fmla="*/ 36461 w 917657"/>
                <a:gd name="connsiteY69" fmla="*/ 943385 h 984504"/>
                <a:gd name="connsiteX70" fmla="*/ 26824 w 917657"/>
                <a:gd name="connsiteY70" fmla="*/ 956878 h 984504"/>
                <a:gd name="connsiteX71" fmla="*/ 18472 w 917657"/>
                <a:gd name="connsiteY71" fmla="*/ 958805 h 984504"/>
                <a:gd name="connsiteX72" fmla="*/ 8192 w 917657"/>
                <a:gd name="connsiteY72" fmla="*/ 953023 h 984504"/>
                <a:gd name="connsiteX73" fmla="*/ 9477 w 917657"/>
                <a:gd name="connsiteY73" fmla="*/ 939531 h 984504"/>
                <a:gd name="connsiteX74" fmla="*/ 482 w 917657"/>
                <a:gd name="connsiteY74" fmla="*/ 926681 h 984504"/>
                <a:gd name="connsiteX75" fmla="*/ 482 w 917657"/>
                <a:gd name="connsiteY75" fmla="*/ 909334 h 984504"/>
                <a:gd name="connsiteX76" fmla="*/ 3694 w 917657"/>
                <a:gd name="connsiteY76" fmla="*/ 882992 h 984504"/>
                <a:gd name="connsiteX77" fmla="*/ 4979 w 917657"/>
                <a:gd name="connsiteY77" fmla="*/ 865002 h 984504"/>
                <a:gd name="connsiteX78" fmla="*/ 8192 w 917657"/>
                <a:gd name="connsiteY78" fmla="*/ 850225 h 984504"/>
                <a:gd name="connsiteX79" fmla="*/ 20399 w 917657"/>
                <a:gd name="connsiteY79" fmla="*/ 817458 h 984504"/>
                <a:gd name="connsiteX80" fmla="*/ 30036 w 917657"/>
                <a:gd name="connsiteY80" fmla="*/ 797541 h 984504"/>
                <a:gd name="connsiteX81" fmla="*/ 33249 w 917657"/>
                <a:gd name="connsiteY81" fmla="*/ 783406 h 984504"/>
                <a:gd name="connsiteX82" fmla="*/ 20399 w 917657"/>
                <a:gd name="connsiteY82" fmla="*/ 759634 h 984504"/>
                <a:gd name="connsiteX83" fmla="*/ 22326 w 917657"/>
                <a:gd name="connsiteY83" fmla="*/ 721727 h 984504"/>
                <a:gd name="connsiteX84" fmla="*/ 31964 w 917657"/>
                <a:gd name="connsiteY84" fmla="*/ 701810 h 984504"/>
                <a:gd name="connsiteX85" fmla="*/ 53808 w 917657"/>
                <a:gd name="connsiteY85" fmla="*/ 664546 h 984504"/>
                <a:gd name="connsiteX86" fmla="*/ 60233 w 917657"/>
                <a:gd name="connsiteY86" fmla="*/ 652339 h 984504"/>
                <a:gd name="connsiteX87" fmla="*/ 58948 w 917657"/>
                <a:gd name="connsiteY87" fmla="*/ 644629 h 984504"/>
                <a:gd name="connsiteX88" fmla="*/ 66658 w 917657"/>
                <a:gd name="connsiteY88" fmla="*/ 639489 h 984504"/>
                <a:gd name="connsiteX89" fmla="*/ 73083 w 917657"/>
                <a:gd name="connsiteY89" fmla="*/ 634992 h 984504"/>
                <a:gd name="connsiteX90" fmla="*/ 75653 w 917657"/>
                <a:gd name="connsiteY90" fmla="*/ 619572 h 984504"/>
                <a:gd name="connsiteX91" fmla="*/ 69228 w 917657"/>
                <a:gd name="connsiteY91" fmla="*/ 599012 h 984504"/>
                <a:gd name="connsiteX92" fmla="*/ 82720 w 917657"/>
                <a:gd name="connsiteY92" fmla="*/ 573313 h 984504"/>
                <a:gd name="connsiteX93" fmla="*/ 89788 w 917657"/>
                <a:gd name="connsiteY93" fmla="*/ 533479 h 984504"/>
                <a:gd name="connsiteX94" fmla="*/ 102637 w 917657"/>
                <a:gd name="connsiteY94" fmla="*/ 502639 h 984504"/>
                <a:gd name="connsiteX95" fmla="*/ 132192 w 917657"/>
                <a:gd name="connsiteY95" fmla="*/ 475655 h 984504"/>
                <a:gd name="connsiteX96" fmla="*/ 146969 w 917657"/>
                <a:gd name="connsiteY96" fmla="*/ 458308 h 984504"/>
                <a:gd name="connsiteX97" fmla="*/ 164316 w 917657"/>
                <a:gd name="connsiteY97" fmla="*/ 442888 h 984504"/>
                <a:gd name="connsiteX98" fmla="*/ 185518 w 917657"/>
                <a:gd name="connsiteY98" fmla="*/ 431966 h 984504"/>
                <a:gd name="connsiteX99" fmla="*/ 190658 w 917657"/>
                <a:gd name="connsiteY99" fmla="*/ 410121 h 984504"/>
                <a:gd name="connsiteX100" fmla="*/ 209933 w 917657"/>
                <a:gd name="connsiteY100" fmla="*/ 379924 h 984504"/>
                <a:gd name="connsiteX101" fmla="*/ 213145 w 917657"/>
                <a:gd name="connsiteY101" fmla="*/ 365147 h 984504"/>
                <a:gd name="connsiteX102" fmla="*/ 224068 w 917657"/>
                <a:gd name="connsiteY102" fmla="*/ 361292 h 984504"/>
                <a:gd name="connsiteX103" fmla="*/ 262617 w 917657"/>
                <a:gd name="connsiteY103" fmla="*/ 311178 h 984504"/>
                <a:gd name="connsiteX104" fmla="*/ 270327 w 917657"/>
                <a:gd name="connsiteY104" fmla="*/ 275199 h 984504"/>
                <a:gd name="connsiteX105" fmla="*/ 273539 w 917657"/>
                <a:gd name="connsiteY105" fmla="*/ 247572 h 984504"/>
                <a:gd name="connsiteX106" fmla="*/ 301808 w 917657"/>
                <a:gd name="connsiteY106" fmla="*/ 214805 h 984504"/>
                <a:gd name="connsiteX107" fmla="*/ 314016 w 917657"/>
                <a:gd name="connsiteY107" fmla="*/ 180753 h 984504"/>
                <a:gd name="connsiteX108" fmla="*/ 301808 w 917657"/>
                <a:gd name="connsiteY108" fmla="*/ 151199 h 984504"/>
                <a:gd name="connsiteX109" fmla="*/ 289601 w 917657"/>
                <a:gd name="connsiteY109" fmla="*/ 130639 h 984504"/>
                <a:gd name="connsiteX110" fmla="*/ 286389 w 917657"/>
                <a:gd name="connsiteY110" fmla="*/ 108794 h 984504"/>
                <a:gd name="connsiteX111" fmla="*/ 288316 w 917657"/>
                <a:gd name="connsiteY111" fmla="*/ 91447 h 984504"/>
                <a:gd name="connsiteX112" fmla="*/ 295384 w 917657"/>
                <a:gd name="connsiteY112" fmla="*/ 90162 h 984504"/>
                <a:gd name="connsiteX113" fmla="*/ 336503 w 917657"/>
                <a:gd name="connsiteY113" fmla="*/ 80525 h 984504"/>
                <a:gd name="connsiteX114" fmla="*/ 371840 w 917657"/>
                <a:gd name="connsiteY114" fmla="*/ 77955 h 984504"/>
                <a:gd name="connsiteX115" fmla="*/ 368627 w 917657"/>
                <a:gd name="connsiteY115" fmla="*/ 96587 h 984504"/>
                <a:gd name="connsiteX116" fmla="*/ 385974 w 917657"/>
                <a:gd name="connsiteY116" fmla="*/ 121002 h 984504"/>
                <a:gd name="connsiteX117" fmla="*/ 411031 w 917657"/>
                <a:gd name="connsiteY117" fmla="*/ 144774 h 984504"/>
                <a:gd name="connsiteX118" fmla="*/ 402036 w 917657"/>
                <a:gd name="connsiteY118" fmla="*/ 174328 h 984504"/>
                <a:gd name="connsiteX119" fmla="*/ 421311 w 917657"/>
                <a:gd name="connsiteY119" fmla="*/ 176898 h 984504"/>
                <a:gd name="connsiteX120" fmla="*/ 437373 w 917657"/>
                <a:gd name="connsiteY120" fmla="*/ 158266 h 984504"/>
                <a:gd name="connsiteX121" fmla="*/ 456005 w 917657"/>
                <a:gd name="connsiteY121" fmla="*/ 155054 h 984504"/>
                <a:gd name="connsiteX122" fmla="*/ 447011 w 917657"/>
                <a:gd name="connsiteY122" fmla="*/ 141561 h 984504"/>
                <a:gd name="connsiteX123" fmla="*/ 456005 w 917657"/>
                <a:gd name="connsiteY123" fmla="*/ 128069 h 984504"/>
                <a:gd name="connsiteX124" fmla="*/ 482347 w 917657"/>
                <a:gd name="connsiteY124" fmla="*/ 128069 h 984504"/>
                <a:gd name="connsiteX125" fmla="*/ 502907 w 917657"/>
                <a:gd name="connsiteY125" fmla="*/ 118432 h 984504"/>
                <a:gd name="connsiteX126" fmla="*/ 498410 w 917657"/>
                <a:gd name="connsiteY126" fmla="*/ 100442 h 984504"/>
                <a:gd name="connsiteX127" fmla="*/ 498410 w 917657"/>
                <a:gd name="connsiteY127" fmla="*/ 100442 h 984504"/>
                <a:gd name="connsiteX128" fmla="*/ 518969 w 917657"/>
                <a:gd name="connsiteY128" fmla="*/ 94660 h 984504"/>
                <a:gd name="connsiteX129" fmla="*/ 567156 w 917657"/>
                <a:gd name="connsiteY129" fmla="*/ 79240 h 984504"/>
                <a:gd name="connsiteX130" fmla="*/ 587715 w 917657"/>
                <a:gd name="connsiteY130" fmla="*/ 61250 h 984504"/>
                <a:gd name="connsiteX131" fmla="*/ 582575 w 917657"/>
                <a:gd name="connsiteY131" fmla="*/ 34908 h 984504"/>
                <a:gd name="connsiteX132" fmla="*/ 566513 w 917657"/>
                <a:gd name="connsiteY132" fmla="*/ 32339 h 984504"/>
                <a:gd name="connsiteX133" fmla="*/ 549809 w 917657"/>
                <a:gd name="connsiteY133" fmla="*/ 25271 h 984504"/>
                <a:gd name="connsiteX134" fmla="*/ 568441 w 917657"/>
                <a:gd name="connsiteY134" fmla="*/ 7924 h 984504"/>
                <a:gd name="connsiteX135" fmla="*/ 583860 w 917657"/>
                <a:gd name="connsiteY135" fmla="*/ 7924 h 984504"/>
                <a:gd name="connsiteX136" fmla="*/ 587073 w 917657"/>
                <a:gd name="connsiteY136" fmla="*/ 857 h 984504"/>
                <a:gd name="connsiteX137" fmla="*/ 598638 w 917657"/>
                <a:gd name="connsiteY137" fmla="*/ 857 h 984504"/>
                <a:gd name="connsiteX138" fmla="*/ 603777 w 917657"/>
                <a:gd name="connsiteY138" fmla="*/ 10494 h 984504"/>
                <a:gd name="connsiteX139" fmla="*/ 623695 w 917657"/>
                <a:gd name="connsiteY139" fmla="*/ 9851 h 984504"/>
                <a:gd name="connsiteX140" fmla="*/ 652607 w 917657"/>
                <a:gd name="connsiteY140" fmla="*/ 9209 h 984504"/>
                <a:gd name="connsiteX141" fmla="*/ 668026 w 917657"/>
                <a:gd name="connsiteY141" fmla="*/ 31053 h 984504"/>
                <a:gd name="connsiteX142" fmla="*/ 691156 w 917657"/>
                <a:gd name="connsiteY142" fmla="*/ 29126 h 984504"/>
                <a:gd name="connsiteX143" fmla="*/ 709145 w 917657"/>
                <a:gd name="connsiteY143" fmla="*/ 40691 h 984504"/>
                <a:gd name="connsiteX144" fmla="*/ 741270 w 917657"/>
                <a:gd name="connsiteY144" fmla="*/ 101727 h 984504"/>
                <a:gd name="connsiteX145" fmla="*/ 743840 w 917657"/>
                <a:gd name="connsiteY145" fmla="*/ 135779 h 984504"/>
                <a:gd name="connsiteX146" fmla="*/ 775322 w 917657"/>
                <a:gd name="connsiteY146" fmla="*/ 138991 h 984504"/>
                <a:gd name="connsiteX147" fmla="*/ 778534 w 917657"/>
                <a:gd name="connsiteY147" fmla="*/ 115219 h 984504"/>
                <a:gd name="connsiteX148" fmla="*/ 789456 w 917657"/>
                <a:gd name="connsiteY148" fmla="*/ 103655 h 984504"/>
                <a:gd name="connsiteX149" fmla="*/ 806161 w 917657"/>
                <a:gd name="connsiteY149" fmla="*/ 126784 h 984504"/>
                <a:gd name="connsiteX150" fmla="*/ 806161 w 917657"/>
                <a:gd name="connsiteY150" fmla="*/ 167261 h 984504"/>
                <a:gd name="connsiteX151" fmla="*/ 795239 w 917657"/>
                <a:gd name="connsiteY151" fmla="*/ 196815 h 984504"/>
                <a:gd name="connsiteX152" fmla="*/ 803591 w 917657"/>
                <a:gd name="connsiteY152" fmla="*/ 241147 h 984504"/>
                <a:gd name="connsiteX153" fmla="*/ 848565 w 917657"/>
                <a:gd name="connsiteY153" fmla="*/ 312463 h 984504"/>
                <a:gd name="connsiteX154" fmla="*/ 867840 w 917657"/>
                <a:gd name="connsiteY154" fmla="*/ 330453 h 984504"/>
                <a:gd name="connsiteX155" fmla="*/ 890969 w 917657"/>
                <a:gd name="connsiteY155" fmla="*/ 351655 h 984504"/>
                <a:gd name="connsiteX156" fmla="*/ 911529 w 917657"/>
                <a:gd name="connsiteY156" fmla="*/ 380567 h 984504"/>
                <a:gd name="connsiteX157" fmla="*/ 907674 w 917657"/>
                <a:gd name="connsiteY157" fmla="*/ 422328 h 984504"/>
                <a:gd name="connsiteX158" fmla="*/ 916669 w 917657"/>
                <a:gd name="connsiteY158" fmla="*/ 449313 h 98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917657" h="984504">
                  <a:moveTo>
                    <a:pt x="916669" y="449313"/>
                  </a:moveTo>
                  <a:cubicBezTo>
                    <a:pt x="913456" y="466017"/>
                    <a:pt x="905746" y="473727"/>
                    <a:pt x="899964" y="481437"/>
                  </a:cubicBezTo>
                  <a:cubicBezTo>
                    <a:pt x="894182" y="488505"/>
                    <a:pt x="875550" y="501354"/>
                    <a:pt x="872980" y="514204"/>
                  </a:cubicBezTo>
                  <a:cubicBezTo>
                    <a:pt x="871052" y="527054"/>
                    <a:pt x="883259" y="539904"/>
                    <a:pt x="865270" y="553396"/>
                  </a:cubicBezTo>
                  <a:cubicBezTo>
                    <a:pt x="847280" y="566888"/>
                    <a:pt x="839570" y="572028"/>
                    <a:pt x="828648" y="577810"/>
                  </a:cubicBezTo>
                  <a:cubicBezTo>
                    <a:pt x="817726" y="583593"/>
                    <a:pt x="811943" y="584235"/>
                    <a:pt x="811301" y="577810"/>
                  </a:cubicBezTo>
                  <a:cubicBezTo>
                    <a:pt x="810658" y="571385"/>
                    <a:pt x="817083" y="563676"/>
                    <a:pt x="809373" y="564318"/>
                  </a:cubicBezTo>
                  <a:cubicBezTo>
                    <a:pt x="802306" y="564961"/>
                    <a:pt x="781747" y="582308"/>
                    <a:pt x="777249" y="591303"/>
                  </a:cubicBezTo>
                  <a:cubicBezTo>
                    <a:pt x="772752" y="600940"/>
                    <a:pt x="761829" y="610577"/>
                    <a:pt x="771467" y="623427"/>
                  </a:cubicBezTo>
                  <a:cubicBezTo>
                    <a:pt x="781747" y="636277"/>
                    <a:pt x="795239" y="647199"/>
                    <a:pt x="801021" y="671613"/>
                  </a:cubicBezTo>
                  <a:cubicBezTo>
                    <a:pt x="806803" y="695386"/>
                    <a:pt x="813871" y="703738"/>
                    <a:pt x="817726" y="726225"/>
                  </a:cubicBezTo>
                  <a:cubicBezTo>
                    <a:pt x="821581" y="748712"/>
                    <a:pt x="826078" y="770556"/>
                    <a:pt x="820296" y="790474"/>
                  </a:cubicBezTo>
                  <a:cubicBezTo>
                    <a:pt x="814513" y="810391"/>
                    <a:pt x="793311" y="826453"/>
                    <a:pt x="805518" y="844442"/>
                  </a:cubicBezTo>
                  <a:cubicBezTo>
                    <a:pt x="817726" y="862432"/>
                    <a:pt x="821581" y="897769"/>
                    <a:pt x="817083" y="907406"/>
                  </a:cubicBezTo>
                  <a:cubicBezTo>
                    <a:pt x="812586" y="917044"/>
                    <a:pt x="801664" y="923469"/>
                    <a:pt x="778534" y="927966"/>
                  </a:cubicBezTo>
                  <a:cubicBezTo>
                    <a:pt x="755405" y="931821"/>
                    <a:pt x="753477" y="930536"/>
                    <a:pt x="734845" y="927966"/>
                  </a:cubicBezTo>
                  <a:cubicBezTo>
                    <a:pt x="715570" y="925396"/>
                    <a:pt x="698223" y="930536"/>
                    <a:pt x="684731" y="942743"/>
                  </a:cubicBezTo>
                  <a:cubicBezTo>
                    <a:pt x="671239" y="954950"/>
                    <a:pt x="641042" y="960733"/>
                    <a:pt x="643612" y="984505"/>
                  </a:cubicBezTo>
                  <a:cubicBezTo>
                    <a:pt x="630762" y="981292"/>
                    <a:pt x="619840" y="976795"/>
                    <a:pt x="614700" y="971012"/>
                  </a:cubicBezTo>
                  <a:cubicBezTo>
                    <a:pt x="614057" y="970370"/>
                    <a:pt x="612772" y="969728"/>
                    <a:pt x="612130" y="968443"/>
                  </a:cubicBezTo>
                  <a:cubicBezTo>
                    <a:pt x="611487" y="967800"/>
                    <a:pt x="610845" y="967800"/>
                    <a:pt x="610845" y="967158"/>
                  </a:cubicBezTo>
                  <a:cubicBezTo>
                    <a:pt x="608917" y="965873"/>
                    <a:pt x="607632" y="964587"/>
                    <a:pt x="605705" y="963303"/>
                  </a:cubicBezTo>
                  <a:cubicBezTo>
                    <a:pt x="604420" y="962660"/>
                    <a:pt x="603135" y="961375"/>
                    <a:pt x="601850" y="960733"/>
                  </a:cubicBezTo>
                  <a:cubicBezTo>
                    <a:pt x="599923" y="959448"/>
                    <a:pt x="597353" y="958163"/>
                    <a:pt x="595425" y="956878"/>
                  </a:cubicBezTo>
                  <a:cubicBezTo>
                    <a:pt x="592213" y="954950"/>
                    <a:pt x="588358" y="953023"/>
                    <a:pt x="585145" y="951095"/>
                  </a:cubicBezTo>
                  <a:cubicBezTo>
                    <a:pt x="574866" y="944671"/>
                    <a:pt x="558803" y="938246"/>
                    <a:pt x="558161" y="938246"/>
                  </a:cubicBezTo>
                  <a:cubicBezTo>
                    <a:pt x="557518" y="938246"/>
                    <a:pt x="544669" y="937603"/>
                    <a:pt x="530534" y="934391"/>
                  </a:cubicBezTo>
                  <a:cubicBezTo>
                    <a:pt x="515757" y="931178"/>
                    <a:pt x="486845" y="926681"/>
                    <a:pt x="481705" y="924111"/>
                  </a:cubicBezTo>
                  <a:cubicBezTo>
                    <a:pt x="477207" y="921541"/>
                    <a:pt x="472068" y="918329"/>
                    <a:pt x="466928" y="920898"/>
                  </a:cubicBezTo>
                  <a:cubicBezTo>
                    <a:pt x="461788" y="922826"/>
                    <a:pt x="450223" y="926681"/>
                    <a:pt x="445726" y="930536"/>
                  </a:cubicBezTo>
                  <a:cubicBezTo>
                    <a:pt x="441228" y="934391"/>
                    <a:pt x="430306" y="942100"/>
                    <a:pt x="428378" y="935676"/>
                  </a:cubicBezTo>
                  <a:cubicBezTo>
                    <a:pt x="426451" y="929251"/>
                    <a:pt x="426451" y="917686"/>
                    <a:pt x="424524" y="915759"/>
                  </a:cubicBezTo>
                  <a:cubicBezTo>
                    <a:pt x="423239" y="913831"/>
                    <a:pt x="411674" y="904836"/>
                    <a:pt x="407819" y="902909"/>
                  </a:cubicBezTo>
                  <a:cubicBezTo>
                    <a:pt x="403964" y="900981"/>
                    <a:pt x="399467" y="897769"/>
                    <a:pt x="397539" y="901624"/>
                  </a:cubicBezTo>
                  <a:cubicBezTo>
                    <a:pt x="395612" y="904836"/>
                    <a:pt x="396897" y="906764"/>
                    <a:pt x="402036" y="912546"/>
                  </a:cubicBezTo>
                  <a:cubicBezTo>
                    <a:pt x="406534" y="918329"/>
                    <a:pt x="409104" y="924754"/>
                    <a:pt x="406534" y="924754"/>
                  </a:cubicBezTo>
                  <a:cubicBezTo>
                    <a:pt x="403964" y="924754"/>
                    <a:pt x="393684" y="920256"/>
                    <a:pt x="385332" y="918971"/>
                  </a:cubicBezTo>
                  <a:cubicBezTo>
                    <a:pt x="377622" y="917686"/>
                    <a:pt x="367985" y="917686"/>
                    <a:pt x="364772" y="917044"/>
                  </a:cubicBezTo>
                  <a:cubicBezTo>
                    <a:pt x="361560" y="916401"/>
                    <a:pt x="349353" y="915759"/>
                    <a:pt x="357705" y="909334"/>
                  </a:cubicBezTo>
                  <a:cubicBezTo>
                    <a:pt x="366057" y="902909"/>
                    <a:pt x="371197" y="902909"/>
                    <a:pt x="374410" y="900339"/>
                  </a:cubicBezTo>
                  <a:cubicBezTo>
                    <a:pt x="378264" y="897769"/>
                    <a:pt x="387259" y="900981"/>
                    <a:pt x="379549" y="890701"/>
                  </a:cubicBezTo>
                  <a:cubicBezTo>
                    <a:pt x="371840" y="880422"/>
                    <a:pt x="371197" y="875924"/>
                    <a:pt x="367342" y="873997"/>
                  </a:cubicBezTo>
                  <a:cubicBezTo>
                    <a:pt x="363487" y="872712"/>
                    <a:pt x="360917" y="873997"/>
                    <a:pt x="354492" y="873354"/>
                  </a:cubicBezTo>
                  <a:cubicBezTo>
                    <a:pt x="347425" y="872712"/>
                    <a:pt x="342285" y="870142"/>
                    <a:pt x="337788" y="870142"/>
                  </a:cubicBezTo>
                  <a:cubicBezTo>
                    <a:pt x="333290" y="870142"/>
                    <a:pt x="326865" y="870142"/>
                    <a:pt x="321726" y="874639"/>
                  </a:cubicBezTo>
                  <a:cubicBezTo>
                    <a:pt x="316586" y="879137"/>
                    <a:pt x="310161" y="881707"/>
                    <a:pt x="305021" y="886204"/>
                  </a:cubicBezTo>
                  <a:cubicBezTo>
                    <a:pt x="299239" y="890059"/>
                    <a:pt x="295384" y="888774"/>
                    <a:pt x="291529" y="896484"/>
                  </a:cubicBezTo>
                  <a:cubicBezTo>
                    <a:pt x="287674" y="903551"/>
                    <a:pt x="269684" y="918971"/>
                    <a:pt x="282534" y="925396"/>
                  </a:cubicBezTo>
                  <a:cubicBezTo>
                    <a:pt x="295384" y="931821"/>
                    <a:pt x="299881" y="935033"/>
                    <a:pt x="305663" y="934391"/>
                  </a:cubicBezTo>
                  <a:cubicBezTo>
                    <a:pt x="310803" y="933748"/>
                    <a:pt x="314658" y="931178"/>
                    <a:pt x="317871" y="926681"/>
                  </a:cubicBezTo>
                  <a:cubicBezTo>
                    <a:pt x="321083" y="922183"/>
                    <a:pt x="324295" y="918971"/>
                    <a:pt x="328150" y="918971"/>
                  </a:cubicBezTo>
                  <a:cubicBezTo>
                    <a:pt x="332005" y="918971"/>
                    <a:pt x="340358" y="923469"/>
                    <a:pt x="343570" y="927323"/>
                  </a:cubicBezTo>
                  <a:cubicBezTo>
                    <a:pt x="346783" y="931178"/>
                    <a:pt x="349353" y="936961"/>
                    <a:pt x="345498" y="940816"/>
                  </a:cubicBezTo>
                  <a:cubicBezTo>
                    <a:pt x="342285" y="945313"/>
                    <a:pt x="341643" y="943385"/>
                    <a:pt x="337788" y="951738"/>
                  </a:cubicBezTo>
                  <a:cubicBezTo>
                    <a:pt x="334575" y="960090"/>
                    <a:pt x="333290" y="968443"/>
                    <a:pt x="329435" y="961375"/>
                  </a:cubicBezTo>
                  <a:cubicBezTo>
                    <a:pt x="325581" y="954950"/>
                    <a:pt x="325581" y="949810"/>
                    <a:pt x="321083" y="947241"/>
                  </a:cubicBezTo>
                  <a:cubicBezTo>
                    <a:pt x="316586" y="944671"/>
                    <a:pt x="310161" y="940816"/>
                    <a:pt x="306306" y="945313"/>
                  </a:cubicBezTo>
                  <a:cubicBezTo>
                    <a:pt x="301808" y="949810"/>
                    <a:pt x="297311" y="956235"/>
                    <a:pt x="296669" y="957520"/>
                  </a:cubicBezTo>
                  <a:cubicBezTo>
                    <a:pt x="296026" y="958805"/>
                    <a:pt x="292814" y="967800"/>
                    <a:pt x="283176" y="967800"/>
                  </a:cubicBezTo>
                  <a:cubicBezTo>
                    <a:pt x="273539" y="968443"/>
                    <a:pt x="264544" y="966515"/>
                    <a:pt x="257477" y="962660"/>
                  </a:cubicBezTo>
                  <a:cubicBezTo>
                    <a:pt x="250409" y="958805"/>
                    <a:pt x="242700" y="954308"/>
                    <a:pt x="234990" y="951738"/>
                  </a:cubicBezTo>
                  <a:cubicBezTo>
                    <a:pt x="227280" y="949168"/>
                    <a:pt x="217000" y="942100"/>
                    <a:pt x="206078" y="949810"/>
                  </a:cubicBezTo>
                  <a:cubicBezTo>
                    <a:pt x="195798" y="957520"/>
                    <a:pt x="188088" y="968443"/>
                    <a:pt x="175238" y="972297"/>
                  </a:cubicBezTo>
                  <a:cubicBezTo>
                    <a:pt x="162389" y="976153"/>
                    <a:pt x="150181" y="977437"/>
                    <a:pt x="145684" y="976153"/>
                  </a:cubicBezTo>
                  <a:cubicBezTo>
                    <a:pt x="141829" y="974868"/>
                    <a:pt x="104565" y="976153"/>
                    <a:pt x="91715" y="976153"/>
                  </a:cubicBezTo>
                  <a:cubicBezTo>
                    <a:pt x="79508" y="976153"/>
                    <a:pt x="72440" y="976153"/>
                    <a:pt x="62161" y="976795"/>
                  </a:cubicBezTo>
                  <a:cubicBezTo>
                    <a:pt x="51881" y="978080"/>
                    <a:pt x="39031" y="974225"/>
                    <a:pt x="39031" y="972297"/>
                  </a:cubicBezTo>
                  <a:cubicBezTo>
                    <a:pt x="38389" y="970370"/>
                    <a:pt x="41601" y="965873"/>
                    <a:pt x="42886" y="962660"/>
                  </a:cubicBezTo>
                  <a:cubicBezTo>
                    <a:pt x="44171" y="958805"/>
                    <a:pt x="48668" y="959448"/>
                    <a:pt x="45456" y="953023"/>
                  </a:cubicBezTo>
                  <a:cubicBezTo>
                    <a:pt x="42244" y="946598"/>
                    <a:pt x="39674" y="940816"/>
                    <a:pt x="36461" y="943385"/>
                  </a:cubicBezTo>
                  <a:cubicBezTo>
                    <a:pt x="33249" y="945956"/>
                    <a:pt x="29394" y="955593"/>
                    <a:pt x="26824" y="956878"/>
                  </a:cubicBezTo>
                  <a:cubicBezTo>
                    <a:pt x="24254" y="958163"/>
                    <a:pt x="21041" y="959448"/>
                    <a:pt x="18472" y="958805"/>
                  </a:cubicBezTo>
                  <a:cubicBezTo>
                    <a:pt x="15259" y="958163"/>
                    <a:pt x="6907" y="958805"/>
                    <a:pt x="8192" y="953023"/>
                  </a:cubicBezTo>
                  <a:cubicBezTo>
                    <a:pt x="8834" y="947241"/>
                    <a:pt x="13332" y="945313"/>
                    <a:pt x="9477" y="939531"/>
                  </a:cubicBezTo>
                  <a:cubicBezTo>
                    <a:pt x="5622" y="933748"/>
                    <a:pt x="1124" y="927323"/>
                    <a:pt x="482" y="926681"/>
                  </a:cubicBezTo>
                  <a:cubicBezTo>
                    <a:pt x="-161" y="926038"/>
                    <a:pt x="-161" y="924111"/>
                    <a:pt x="482" y="909334"/>
                  </a:cubicBezTo>
                  <a:cubicBezTo>
                    <a:pt x="1124" y="895199"/>
                    <a:pt x="2409" y="891344"/>
                    <a:pt x="3694" y="882992"/>
                  </a:cubicBezTo>
                  <a:cubicBezTo>
                    <a:pt x="4979" y="874639"/>
                    <a:pt x="4979" y="866287"/>
                    <a:pt x="4979" y="865002"/>
                  </a:cubicBezTo>
                  <a:cubicBezTo>
                    <a:pt x="4979" y="863717"/>
                    <a:pt x="3694" y="865002"/>
                    <a:pt x="8192" y="850225"/>
                  </a:cubicBezTo>
                  <a:cubicBezTo>
                    <a:pt x="12047" y="835448"/>
                    <a:pt x="19114" y="823883"/>
                    <a:pt x="20399" y="817458"/>
                  </a:cubicBezTo>
                  <a:cubicBezTo>
                    <a:pt x="21684" y="811033"/>
                    <a:pt x="25539" y="804608"/>
                    <a:pt x="30036" y="797541"/>
                  </a:cubicBezTo>
                  <a:cubicBezTo>
                    <a:pt x="34534" y="790474"/>
                    <a:pt x="37746" y="793043"/>
                    <a:pt x="33249" y="783406"/>
                  </a:cubicBezTo>
                  <a:cubicBezTo>
                    <a:pt x="29394" y="773769"/>
                    <a:pt x="21041" y="782121"/>
                    <a:pt x="20399" y="759634"/>
                  </a:cubicBezTo>
                  <a:cubicBezTo>
                    <a:pt x="19114" y="737147"/>
                    <a:pt x="18472" y="731365"/>
                    <a:pt x="22326" y="721727"/>
                  </a:cubicBezTo>
                  <a:cubicBezTo>
                    <a:pt x="26181" y="712090"/>
                    <a:pt x="24896" y="708878"/>
                    <a:pt x="31964" y="701810"/>
                  </a:cubicBezTo>
                  <a:cubicBezTo>
                    <a:pt x="39031" y="694743"/>
                    <a:pt x="49953" y="670328"/>
                    <a:pt x="53808" y="664546"/>
                  </a:cubicBezTo>
                  <a:cubicBezTo>
                    <a:pt x="57663" y="658764"/>
                    <a:pt x="61518" y="656836"/>
                    <a:pt x="60233" y="652339"/>
                  </a:cubicBezTo>
                  <a:cubicBezTo>
                    <a:pt x="58948" y="648484"/>
                    <a:pt x="57021" y="647199"/>
                    <a:pt x="58948" y="644629"/>
                  </a:cubicBezTo>
                  <a:cubicBezTo>
                    <a:pt x="60876" y="642059"/>
                    <a:pt x="64088" y="642059"/>
                    <a:pt x="66658" y="639489"/>
                  </a:cubicBezTo>
                  <a:cubicBezTo>
                    <a:pt x="69228" y="637562"/>
                    <a:pt x="71156" y="639489"/>
                    <a:pt x="73083" y="634992"/>
                  </a:cubicBezTo>
                  <a:cubicBezTo>
                    <a:pt x="75010" y="629852"/>
                    <a:pt x="75653" y="621500"/>
                    <a:pt x="75653" y="619572"/>
                  </a:cubicBezTo>
                  <a:cubicBezTo>
                    <a:pt x="75653" y="617645"/>
                    <a:pt x="61518" y="614432"/>
                    <a:pt x="69228" y="599012"/>
                  </a:cubicBezTo>
                  <a:cubicBezTo>
                    <a:pt x="76938" y="583593"/>
                    <a:pt x="79508" y="585520"/>
                    <a:pt x="82720" y="573313"/>
                  </a:cubicBezTo>
                  <a:cubicBezTo>
                    <a:pt x="85933" y="561106"/>
                    <a:pt x="87860" y="543759"/>
                    <a:pt x="89788" y="533479"/>
                  </a:cubicBezTo>
                  <a:cubicBezTo>
                    <a:pt x="92358" y="523199"/>
                    <a:pt x="94928" y="509064"/>
                    <a:pt x="102637" y="502639"/>
                  </a:cubicBezTo>
                  <a:cubicBezTo>
                    <a:pt x="110347" y="495572"/>
                    <a:pt x="132192" y="475655"/>
                    <a:pt x="132192" y="475655"/>
                  </a:cubicBezTo>
                  <a:cubicBezTo>
                    <a:pt x="132192" y="475655"/>
                    <a:pt x="136047" y="467945"/>
                    <a:pt x="146969" y="458308"/>
                  </a:cubicBezTo>
                  <a:cubicBezTo>
                    <a:pt x="157891" y="448670"/>
                    <a:pt x="157249" y="445458"/>
                    <a:pt x="164316" y="442888"/>
                  </a:cubicBezTo>
                  <a:cubicBezTo>
                    <a:pt x="171384" y="439675"/>
                    <a:pt x="184233" y="437106"/>
                    <a:pt x="185518" y="431966"/>
                  </a:cubicBezTo>
                  <a:cubicBezTo>
                    <a:pt x="186161" y="426826"/>
                    <a:pt x="188731" y="413976"/>
                    <a:pt x="190658" y="410121"/>
                  </a:cubicBezTo>
                  <a:cubicBezTo>
                    <a:pt x="192586" y="406266"/>
                    <a:pt x="206078" y="387634"/>
                    <a:pt x="209933" y="379924"/>
                  </a:cubicBezTo>
                  <a:cubicBezTo>
                    <a:pt x="213145" y="374142"/>
                    <a:pt x="213788" y="368359"/>
                    <a:pt x="213145" y="365147"/>
                  </a:cubicBezTo>
                  <a:cubicBezTo>
                    <a:pt x="217643" y="363220"/>
                    <a:pt x="221497" y="361934"/>
                    <a:pt x="224068" y="361292"/>
                  </a:cubicBezTo>
                  <a:cubicBezTo>
                    <a:pt x="231135" y="358722"/>
                    <a:pt x="259404" y="322100"/>
                    <a:pt x="262617" y="311178"/>
                  </a:cubicBezTo>
                  <a:cubicBezTo>
                    <a:pt x="265187" y="300256"/>
                    <a:pt x="270327" y="282909"/>
                    <a:pt x="270327" y="275199"/>
                  </a:cubicBezTo>
                  <a:cubicBezTo>
                    <a:pt x="270327" y="267489"/>
                    <a:pt x="264544" y="254639"/>
                    <a:pt x="273539" y="247572"/>
                  </a:cubicBezTo>
                  <a:cubicBezTo>
                    <a:pt x="282534" y="240504"/>
                    <a:pt x="297311" y="226370"/>
                    <a:pt x="301808" y="214805"/>
                  </a:cubicBezTo>
                  <a:cubicBezTo>
                    <a:pt x="306306" y="202598"/>
                    <a:pt x="317228" y="192318"/>
                    <a:pt x="314016" y="180753"/>
                  </a:cubicBezTo>
                  <a:cubicBezTo>
                    <a:pt x="310803" y="169188"/>
                    <a:pt x="306948" y="155696"/>
                    <a:pt x="301808" y="151199"/>
                  </a:cubicBezTo>
                  <a:cubicBezTo>
                    <a:pt x="296669" y="146701"/>
                    <a:pt x="292814" y="137064"/>
                    <a:pt x="289601" y="130639"/>
                  </a:cubicBezTo>
                  <a:cubicBezTo>
                    <a:pt x="286389" y="123572"/>
                    <a:pt x="286389" y="113292"/>
                    <a:pt x="286389" y="108794"/>
                  </a:cubicBezTo>
                  <a:cubicBezTo>
                    <a:pt x="286389" y="104940"/>
                    <a:pt x="289601" y="96587"/>
                    <a:pt x="288316" y="91447"/>
                  </a:cubicBezTo>
                  <a:cubicBezTo>
                    <a:pt x="290886" y="90805"/>
                    <a:pt x="293456" y="90805"/>
                    <a:pt x="295384" y="90162"/>
                  </a:cubicBezTo>
                  <a:cubicBezTo>
                    <a:pt x="306306" y="88877"/>
                    <a:pt x="326865" y="84380"/>
                    <a:pt x="336503" y="80525"/>
                  </a:cubicBezTo>
                  <a:cubicBezTo>
                    <a:pt x="346783" y="76670"/>
                    <a:pt x="370555" y="73458"/>
                    <a:pt x="371840" y="77955"/>
                  </a:cubicBezTo>
                  <a:cubicBezTo>
                    <a:pt x="373125" y="82452"/>
                    <a:pt x="365415" y="85023"/>
                    <a:pt x="368627" y="96587"/>
                  </a:cubicBezTo>
                  <a:cubicBezTo>
                    <a:pt x="371197" y="108152"/>
                    <a:pt x="375052" y="115862"/>
                    <a:pt x="385974" y="121002"/>
                  </a:cubicBezTo>
                  <a:cubicBezTo>
                    <a:pt x="396897" y="126142"/>
                    <a:pt x="414244" y="136422"/>
                    <a:pt x="411031" y="144774"/>
                  </a:cubicBezTo>
                  <a:cubicBezTo>
                    <a:pt x="407819" y="153126"/>
                    <a:pt x="396254" y="169188"/>
                    <a:pt x="402036" y="174328"/>
                  </a:cubicBezTo>
                  <a:cubicBezTo>
                    <a:pt x="407819" y="179468"/>
                    <a:pt x="413601" y="182681"/>
                    <a:pt x="421311" y="176898"/>
                  </a:cubicBezTo>
                  <a:cubicBezTo>
                    <a:pt x="429021" y="171116"/>
                    <a:pt x="429021" y="159551"/>
                    <a:pt x="437373" y="158266"/>
                  </a:cubicBezTo>
                  <a:cubicBezTo>
                    <a:pt x="445726" y="156981"/>
                    <a:pt x="456005" y="155054"/>
                    <a:pt x="456005" y="155054"/>
                  </a:cubicBezTo>
                  <a:cubicBezTo>
                    <a:pt x="456005" y="155054"/>
                    <a:pt x="447653" y="144131"/>
                    <a:pt x="447011" y="141561"/>
                  </a:cubicBezTo>
                  <a:cubicBezTo>
                    <a:pt x="446368" y="138991"/>
                    <a:pt x="449580" y="127427"/>
                    <a:pt x="456005" y="128069"/>
                  </a:cubicBezTo>
                  <a:cubicBezTo>
                    <a:pt x="462430" y="128712"/>
                    <a:pt x="472710" y="129354"/>
                    <a:pt x="482347" y="128069"/>
                  </a:cubicBezTo>
                  <a:cubicBezTo>
                    <a:pt x="491985" y="126784"/>
                    <a:pt x="502907" y="124857"/>
                    <a:pt x="502907" y="118432"/>
                  </a:cubicBezTo>
                  <a:cubicBezTo>
                    <a:pt x="502907" y="112007"/>
                    <a:pt x="495840" y="103012"/>
                    <a:pt x="498410" y="100442"/>
                  </a:cubicBezTo>
                  <a:cubicBezTo>
                    <a:pt x="498410" y="100442"/>
                    <a:pt x="498410" y="100442"/>
                    <a:pt x="498410" y="100442"/>
                  </a:cubicBezTo>
                  <a:cubicBezTo>
                    <a:pt x="501622" y="97230"/>
                    <a:pt x="510617" y="94017"/>
                    <a:pt x="518969" y="94660"/>
                  </a:cubicBezTo>
                  <a:cubicBezTo>
                    <a:pt x="527964" y="95302"/>
                    <a:pt x="561373" y="83095"/>
                    <a:pt x="567156" y="79240"/>
                  </a:cubicBezTo>
                  <a:cubicBezTo>
                    <a:pt x="573581" y="75385"/>
                    <a:pt x="587715" y="70245"/>
                    <a:pt x="587715" y="61250"/>
                  </a:cubicBezTo>
                  <a:cubicBezTo>
                    <a:pt x="587715" y="52256"/>
                    <a:pt x="584503" y="34908"/>
                    <a:pt x="582575" y="34908"/>
                  </a:cubicBezTo>
                  <a:cubicBezTo>
                    <a:pt x="580648" y="34266"/>
                    <a:pt x="574866" y="31696"/>
                    <a:pt x="566513" y="32339"/>
                  </a:cubicBezTo>
                  <a:cubicBezTo>
                    <a:pt x="558161" y="32981"/>
                    <a:pt x="547881" y="30411"/>
                    <a:pt x="549809" y="25271"/>
                  </a:cubicBezTo>
                  <a:cubicBezTo>
                    <a:pt x="551736" y="20131"/>
                    <a:pt x="567156" y="7924"/>
                    <a:pt x="568441" y="7924"/>
                  </a:cubicBezTo>
                  <a:cubicBezTo>
                    <a:pt x="570368" y="7924"/>
                    <a:pt x="582575" y="6639"/>
                    <a:pt x="583860" y="7924"/>
                  </a:cubicBezTo>
                  <a:cubicBezTo>
                    <a:pt x="585788" y="9209"/>
                    <a:pt x="582575" y="3427"/>
                    <a:pt x="587073" y="857"/>
                  </a:cubicBezTo>
                  <a:cubicBezTo>
                    <a:pt x="591570" y="-1071"/>
                    <a:pt x="597995" y="857"/>
                    <a:pt x="598638" y="857"/>
                  </a:cubicBezTo>
                  <a:cubicBezTo>
                    <a:pt x="599280" y="857"/>
                    <a:pt x="595425" y="7924"/>
                    <a:pt x="603777" y="10494"/>
                  </a:cubicBezTo>
                  <a:cubicBezTo>
                    <a:pt x="612130" y="12421"/>
                    <a:pt x="619840" y="9851"/>
                    <a:pt x="623695" y="9851"/>
                  </a:cubicBezTo>
                  <a:cubicBezTo>
                    <a:pt x="627550" y="9851"/>
                    <a:pt x="648109" y="4069"/>
                    <a:pt x="652607" y="9209"/>
                  </a:cubicBezTo>
                  <a:cubicBezTo>
                    <a:pt x="657104" y="14349"/>
                    <a:pt x="662244" y="31053"/>
                    <a:pt x="668026" y="31053"/>
                  </a:cubicBezTo>
                  <a:cubicBezTo>
                    <a:pt x="674451" y="31053"/>
                    <a:pt x="682803" y="24629"/>
                    <a:pt x="691156" y="29126"/>
                  </a:cubicBezTo>
                  <a:cubicBezTo>
                    <a:pt x="699508" y="33624"/>
                    <a:pt x="706575" y="34908"/>
                    <a:pt x="709145" y="40691"/>
                  </a:cubicBezTo>
                  <a:cubicBezTo>
                    <a:pt x="711073" y="46473"/>
                    <a:pt x="740627" y="96587"/>
                    <a:pt x="741270" y="101727"/>
                  </a:cubicBezTo>
                  <a:cubicBezTo>
                    <a:pt x="742555" y="106867"/>
                    <a:pt x="734845" y="127427"/>
                    <a:pt x="743840" y="135779"/>
                  </a:cubicBezTo>
                  <a:cubicBezTo>
                    <a:pt x="753477" y="144131"/>
                    <a:pt x="773394" y="148629"/>
                    <a:pt x="775322" y="138991"/>
                  </a:cubicBezTo>
                  <a:cubicBezTo>
                    <a:pt x="777249" y="129354"/>
                    <a:pt x="778534" y="121002"/>
                    <a:pt x="778534" y="115219"/>
                  </a:cubicBezTo>
                  <a:cubicBezTo>
                    <a:pt x="778534" y="109437"/>
                    <a:pt x="783031" y="101085"/>
                    <a:pt x="789456" y="103655"/>
                  </a:cubicBezTo>
                  <a:cubicBezTo>
                    <a:pt x="795881" y="106225"/>
                    <a:pt x="804234" y="116504"/>
                    <a:pt x="806161" y="126784"/>
                  </a:cubicBezTo>
                  <a:cubicBezTo>
                    <a:pt x="808089" y="137064"/>
                    <a:pt x="809373" y="155696"/>
                    <a:pt x="806161" y="167261"/>
                  </a:cubicBezTo>
                  <a:cubicBezTo>
                    <a:pt x="802949" y="179468"/>
                    <a:pt x="795239" y="186536"/>
                    <a:pt x="795239" y="196815"/>
                  </a:cubicBezTo>
                  <a:cubicBezTo>
                    <a:pt x="794596" y="206453"/>
                    <a:pt x="803591" y="241147"/>
                    <a:pt x="803591" y="241147"/>
                  </a:cubicBezTo>
                  <a:cubicBezTo>
                    <a:pt x="803591" y="241147"/>
                    <a:pt x="844068" y="300898"/>
                    <a:pt x="848565" y="312463"/>
                  </a:cubicBezTo>
                  <a:cubicBezTo>
                    <a:pt x="853063" y="324670"/>
                    <a:pt x="863342" y="329168"/>
                    <a:pt x="867840" y="330453"/>
                  </a:cubicBezTo>
                  <a:cubicBezTo>
                    <a:pt x="872337" y="331738"/>
                    <a:pt x="885187" y="339447"/>
                    <a:pt x="890969" y="351655"/>
                  </a:cubicBezTo>
                  <a:cubicBezTo>
                    <a:pt x="896752" y="363862"/>
                    <a:pt x="911529" y="372214"/>
                    <a:pt x="911529" y="380567"/>
                  </a:cubicBezTo>
                  <a:cubicBezTo>
                    <a:pt x="911529" y="388919"/>
                    <a:pt x="908959" y="417188"/>
                    <a:pt x="907674" y="422328"/>
                  </a:cubicBezTo>
                  <a:cubicBezTo>
                    <a:pt x="912171" y="428111"/>
                    <a:pt x="920524" y="432608"/>
                    <a:pt x="916669" y="449313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474" name="Gerade Verbindung 473">
            <a:extLst>
              <a:ext uri="{FF2B5EF4-FFF2-40B4-BE49-F238E27FC236}">
                <a16:creationId xmlns:a16="http://schemas.microsoft.com/office/drawing/2014/main" id="{849A1B7D-AAB5-E182-EED3-6E1E226633F6}"/>
              </a:ext>
            </a:extLst>
          </p:cNvPr>
          <p:cNvCxnSpPr>
            <a:cxnSpLocks/>
            <a:endCxn id="477" idx="1"/>
          </p:cNvCxnSpPr>
          <p:nvPr/>
        </p:nvCxnSpPr>
        <p:spPr>
          <a:xfrm flipH="1">
            <a:off x="5207991" y="1384300"/>
            <a:ext cx="1178146" cy="2121168"/>
          </a:xfrm>
          <a:prstGeom prst="line">
            <a:avLst/>
          </a:prstGeom>
          <a:ln w="63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5" name="Gerade Verbindung 474">
            <a:extLst>
              <a:ext uri="{FF2B5EF4-FFF2-40B4-BE49-F238E27FC236}">
                <a16:creationId xmlns:a16="http://schemas.microsoft.com/office/drawing/2014/main" id="{99283E3D-D5A5-0456-EB98-78E1E0ED3746}"/>
              </a:ext>
            </a:extLst>
          </p:cNvPr>
          <p:cNvCxnSpPr>
            <a:cxnSpLocks/>
            <a:endCxn id="477" idx="2"/>
          </p:cNvCxnSpPr>
          <p:nvPr/>
        </p:nvCxnSpPr>
        <p:spPr>
          <a:xfrm flipH="1" flipV="1">
            <a:off x="5207991" y="3649468"/>
            <a:ext cx="1178146" cy="2681482"/>
          </a:xfrm>
          <a:prstGeom prst="line">
            <a:avLst/>
          </a:prstGeom>
          <a:ln w="63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6" name="Gruppieren 475">
            <a:extLst>
              <a:ext uri="{FF2B5EF4-FFF2-40B4-BE49-F238E27FC236}">
                <a16:creationId xmlns:a16="http://schemas.microsoft.com/office/drawing/2014/main" id="{0C28AD6B-352E-8750-5055-0D9EBD24E2CB}"/>
              </a:ext>
            </a:extLst>
          </p:cNvPr>
          <p:cNvGrpSpPr/>
          <p:nvPr/>
        </p:nvGrpSpPr>
        <p:grpSpPr>
          <a:xfrm>
            <a:off x="5063991" y="3505468"/>
            <a:ext cx="144000" cy="144000"/>
            <a:chOff x="5036780" y="3691554"/>
            <a:chExt cx="913170" cy="913174"/>
          </a:xfrm>
        </p:grpSpPr>
        <p:sp>
          <p:nvSpPr>
            <p:cNvPr id="477" name="Freihandform 476">
              <a:extLst>
                <a:ext uri="{FF2B5EF4-FFF2-40B4-BE49-F238E27FC236}">
                  <a16:creationId xmlns:a16="http://schemas.microsoft.com/office/drawing/2014/main" id="{0A305368-A599-7C84-AE4C-4B4E3F010AB1}"/>
                </a:ext>
              </a:extLst>
            </p:cNvPr>
            <p:cNvSpPr/>
            <p:nvPr/>
          </p:nvSpPr>
          <p:spPr>
            <a:xfrm>
              <a:off x="5036780" y="3691554"/>
              <a:ext cx="913170" cy="913174"/>
            </a:xfrm>
            <a:custGeom>
              <a:avLst/>
              <a:gdLst>
                <a:gd name="connsiteX0" fmla="*/ 0 w 853225"/>
                <a:gd name="connsiteY0" fmla="*/ 0 h 557440"/>
                <a:gd name="connsiteX1" fmla="*/ 853225 w 853225"/>
                <a:gd name="connsiteY1" fmla="*/ 0 h 557440"/>
                <a:gd name="connsiteX2" fmla="*/ 853225 w 853225"/>
                <a:gd name="connsiteY2" fmla="*/ 557441 h 557440"/>
                <a:gd name="connsiteX3" fmla="*/ 0 w 853225"/>
                <a:gd name="connsiteY3" fmla="*/ 557441 h 557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3225" h="557440">
                  <a:moveTo>
                    <a:pt x="0" y="0"/>
                  </a:moveTo>
                  <a:lnTo>
                    <a:pt x="853225" y="0"/>
                  </a:lnTo>
                  <a:lnTo>
                    <a:pt x="853225" y="557441"/>
                  </a:lnTo>
                  <a:lnTo>
                    <a:pt x="0" y="557441"/>
                  </a:lnTo>
                  <a:close/>
                </a:path>
              </a:pathLst>
            </a:custGeom>
            <a:solidFill>
              <a:srgbClr val="005A8B"/>
            </a:solidFill>
            <a:ln w="94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9" name="Freihandform 478">
              <a:extLst>
                <a:ext uri="{FF2B5EF4-FFF2-40B4-BE49-F238E27FC236}">
                  <a16:creationId xmlns:a16="http://schemas.microsoft.com/office/drawing/2014/main" id="{13DE8B80-7B7A-E2BA-C611-76CDFEE10B52}"/>
                </a:ext>
              </a:extLst>
            </p:cNvPr>
            <p:cNvSpPr/>
            <p:nvPr/>
          </p:nvSpPr>
          <p:spPr>
            <a:xfrm>
              <a:off x="5351164" y="3996458"/>
              <a:ext cx="284407" cy="303367"/>
            </a:xfrm>
            <a:custGeom>
              <a:avLst/>
              <a:gdLst>
                <a:gd name="connsiteX0" fmla="*/ 284408 w 284408"/>
                <a:gd name="connsiteY0" fmla="*/ 141256 h 303369"/>
                <a:gd name="connsiteX1" fmla="*/ 281564 w 284408"/>
                <a:gd name="connsiteY1" fmla="*/ 133672 h 303369"/>
                <a:gd name="connsiteX2" fmla="*/ 277772 w 284408"/>
                <a:gd name="connsiteY2" fmla="*/ 129880 h 303369"/>
                <a:gd name="connsiteX3" fmla="*/ 273032 w 284408"/>
                <a:gd name="connsiteY3" fmla="*/ 128932 h 303369"/>
                <a:gd name="connsiteX4" fmla="*/ 166853 w 284408"/>
                <a:gd name="connsiteY4" fmla="*/ 128932 h 303369"/>
                <a:gd name="connsiteX5" fmla="*/ 166853 w 284408"/>
                <a:gd name="connsiteY5" fmla="*/ 11376 h 303369"/>
                <a:gd name="connsiteX6" fmla="*/ 165905 w 284408"/>
                <a:gd name="connsiteY6" fmla="*/ 6636 h 303369"/>
                <a:gd name="connsiteX7" fmla="*/ 162113 w 284408"/>
                <a:gd name="connsiteY7" fmla="*/ 2844 h 303369"/>
                <a:gd name="connsiteX8" fmla="*/ 154529 w 284408"/>
                <a:gd name="connsiteY8" fmla="*/ 948 h 303369"/>
                <a:gd name="connsiteX9" fmla="*/ 143152 w 284408"/>
                <a:gd name="connsiteY9" fmla="*/ 0 h 303369"/>
                <a:gd name="connsiteX10" fmla="*/ 131776 w 284408"/>
                <a:gd name="connsiteY10" fmla="*/ 948 h 303369"/>
                <a:gd name="connsiteX11" fmla="*/ 124192 w 284408"/>
                <a:gd name="connsiteY11" fmla="*/ 2844 h 303369"/>
                <a:gd name="connsiteX12" fmla="*/ 120400 w 284408"/>
                <a:gd name="connsiteY12" fmla="*/ 6636 h 303369"/>
                <a:gd name="connsiteX13" fmla="*/ 119452 w 284408"/>
                <a:gd name="connsiteY13" fmla="*/ 11376 h 303369"/>
                <a:gd name="connsiteX14" fmla="*/ 119452 w 284408"/>
                <a:gd name="connsiteY14" fmla="*/ 128932 h 303369"/>
                <a:gd name="connsiteX15" fmla="*/ 12324 w 284408"/>
                <a:gd name="connsiteY15" fmla="*/ 128932 h 303369"/>
                <a:gd name="connsiteX16" fmla="*/ 7584 w 284408"/>
                <a:gd name="connsiteY16" fmla="*/ 129880 h 303369"/>
                <a:gd name="connsiteX17" fmla="*/ 3792 w 284408"/>
                <a:gd name="connsiteY17" fmla="*/ 133672 h 303369"/>
                <a:gd name="connsiteX18" fmla="*/ 948 w 284408"/>
                <a:gd name="connsiteY18" fmla="*/ 141256 h 303369"/>
                <a:gd name="connsiteX19" fmla="*/ 0 w 284408"/>
                <a:gd name="connsiteY19" fmla="*/ 151685 h 303369"/>
                <a:gd name="connsiteX20" fmla="*/ 948 w 284408"/>
                <a:gd name="connsiteY20" fmla="*/ 162113 h 303369"/>
                <a:gd name="connsiteX21" fmla="*/ 3792 w 284408"/>
                <a:gd name="connsiteY21" fmla="*/ 169697 h 303369"/>
                <a:gd name="connsiteX22" fmla="*/ 7584 w 284408"/>
                <a:gd name="connsiteY22" fmla="*/ 173489 h 303369"/>
                <a:gd name="connsiteX23" fmla="*/ 12324 w 284408"/>
                <a:gd name="connsiteY23" fmla="*/ 174437 h 303369"/>
                <a:gd name="connsiteX24" fmla="*/ 118504 w 284408"/>
                <a:gd name="connsiteY24" fmla="*/ 174437 h 303369"/>
                <a:gd name="connsiteX25" fmla="*/ 118504 w 284408"/>
                <a:gd name="connsiteY25" fmla="*/ 292941 h 303369"/>
                <a:gd name="connsiteX26" fmla="*/ 119452 w 284408"/>
                <a:gd name="connsiteY26" fmla="*/ 297681 h 303369"/>
                <a:gd name="connsiteX27" fmla="*/ 123244 w 284408"/>
                <a:gd name="connsiteY27" fmla="*/ 300525 h 303369"/>
                <a:gd name="connsiteX28" fmla="*/ 130828 w 284408"/>
                <a:gd name="connsiteY28" fmla="*/ 302421 h 303369"/>
                <a:gd name="connsiteX29" fmla="*/ 142204 w 284408"/>
                <a:gd name="connsiteY29" fmla="*/ 303369 h 303369"/>
                <a:gd name="connsiteX30" fmla="*/ 153581 w 284408"/>
                <a:gd name="connsiteY30" fmla="*/ 302421 h 303369"/>
                <a:gd name="connsiteX31" fmla="*/ 161165 w 284408"/>
                <a:gd name="connsiteY31" fmla="*/ 300525 h 303369"/>
                <a:gd name="connsiteX32" fmla="*/ 164957 w 284408"/>
                <a:gd name="connsiteY32" fmla="*/ 297681 h 303369"/>
                <a:gd name="connsiteX33" fmla="*/ 165905 w 284408"/>
                <a:gd name="connsiteY33" fmla="*/ 292941 h 303369"/>
                <a:gd name="connsiteX34" fmla="*/ 165905 w 284408"/>
                <a:gd name="connsiteY34" fmla="*/ 175385 h 303369"/>
                <a:gd name="connsiteX35" fmla="*/ 272084 w 284408"/>
                <a:gd name="connsiteY35" fmla="*/ 175385 h 303369"/>
                <a:gd name="connsiteX36" fmla="*/ 276824 w 284408"/>
                <a:gd name="connsiteY36" fmla="*/ 174437 h 303369"/>
                <a:gd name="connsiteX37" fmla="*/ 280616 w 284408"/>
                <a:gd name="connsiteY37" fmla="*/ 170645 h 303369"/>
                <a:gd name="connsiteX38" fmla="*/ 283460 w 284408"/>
                <a:gd name="connsiteY38" fmla="*/ 163061 h 303369"/>
                <a:gd name="connsiteX39" fmla="*/ 284408 w 284408"/>
                <a:gd name="connsiteY39" fmla="*/ 152633 h 303369"/>
                <a:gd name="connsiteX40" fmla="*/ 284408 w 284408"/>
                <a:gd name="connsiteY40" fmla="*/ 141256 h 30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84408" h="303369">
                  <a:moveTo>
                    <a:pt x="284408" y="141256"/>
                  </a:moveTo>
                  <a:cubicBezTo>
                    <a:pt x="283460" y="138412"/>
                    <a:pt x="283460" y="135568"/>
                    <a:pt x="281564" y="133672"/>
                  </a:cubicBezTo>
                  <a:cubicBezTo>
                    <a:pt x="279668" y="131776"/>
                    <a:pt x="278720" y="129880"/>
                    <a:pt x="277772" y="129880"/>
                  </a:cubicBezTo>
                  <a:cubicBezTo>
                    <a:pt x="276824" y="128932"/>
                    <a:pt x="274928" y="128932"/>
                    <a:pt x="273032" y="128932"/>
                  </a:cubicBezTo>
                  <a:lnTo>
                    <a:pt x="166853" y="128932"/>
                  </a:lnTo>
                  <a:lnTo>
                    <a:pt x="166853" y="11376"/>
                  </a:lnTo>
                  <a:cubicBezTo>
                    <a:pt x="166853" y="9480"/>
                    <a:pt x="166853" y="8532"/>
                    <a:pt x="165905" y="6636"/>
                  </a:cubicBezTo>
                  <a:cubicBezTo>
                    <a:pt x="164957" y="5688"/>
                    <a:pt x="164009" y="3792"/>
                    <a:pt x="162113" y="2844"/>
                  </a:cubicBezTo>
                  <a:cubicBezTo>
                    <a:pt x="160217" y="1896"/>
                    <a:pt x="158321" y="948"/>
                    <a:pt x="154529" y="948"/>
                  </a:cubicBezTo>
                  <a:cubicBezTo>
                    <a:pt x="151685" y="0"/>
                    <a:pt x="147892" y="0"/>
                    <a:pt x="143152" y="0"/>
                  </a:cubicBezTo>
                  <a:cubicBezTo>
                    <a:pt x="138412" y="0"/>
                    <a:pt x="135568" y="0"/>
                    <a:pt x="131776" y="948"/>
                  </a:cubicBezTo>
                  <a:cubicBezTo>
                    <a:pt x="128932" y="1896"/>
                    <a:pt x="126088" y="1896"/>
                    <a:pt x="124192" y="2844"/>
                  </a:cubicBezTo>
                  <a:cubicBezTo>
                    <a:pt x="122296" y="3792"/>
                    <a:pt x="121348" y="4740"/>
                    <a:pt x="120400" y="6636"/>
                  </a:cubicBezTo>
                  <a:cubicBezTo>
                    <a:pt x="119452" y="7584"/>
                    <a:pt x="119452" y="9480"/>
                    <a:pt x="119452" y="11376"/>
                  </a:cubicBezTo>
                  <a:lnTo>
                    <a:pt x="119452" y="128932"/>
                  </a:lnTo>
                  <a:lnTo>
                    <a:pt x="12324" y="128932"/>
                  </a:lnTo>
                  <a:cubicBezTo>
                    <a:pt x="10428" y="128932"/>
                    <a:pt x="9480" y="128932"/>
                    <a:pt x="7584" y="129880"/>
                  </a:cubicBezTo>
                  <a:cubicBezTo>
                    <a:pt x="6636" y="130828"/>
                    <a:pt x="4740" y="131776"/>
                    <a:pt x="3792" y="133672"/>
                  </a:cubicBezTo>
                  <a:cubicBezTo>
                    <a:pt x="2844" y="135568"/>
                    <a:pt x="1896" y="138412"/>
                    <a:pt x="948" y="141256"/>
                  </a:cubicBezTo>
                  <a:cubicBezTo>
                    <a:pt x="0" y="144100"/>
                    <a:pt x="0" y="147892"/>
                    <a:pt x="0" y="151685"/>
                  </a:cubicBezTo>
                  <a:cubicBezTo>
                    <a:pt x="0" y="155477"/>
                    <a:pt x="0" y="159269"/>
                    <a:pt x="948" y="162113"/>
                  </a:cubicBezTo>
                  <a:cubicBezTo>
                    <a:pt x="1896" y="164957"/>
                    <a:pt x="2844" y="167801"/>
                    <a:pt x="3792" y="169697"/>
                  </a:cubicBezTo>
                  <a:cubicBezTo>
                    <a:pt x="4740" y="171593"/>
                    <a:pt x="5688" y="173489"/>
                    <a:pt x="7584" y="173489"/>
                  </a:cubicBezTo>
                  <a:cubicBezTo>
                    <a:pt x="8532" y="174437"/>
                    <a:pt x="10428" y="174437"/>
                    <a:pt x="12324" y="174437"/>
                  </a:cubicBezTo>
                  <a:lnTo>
                    <a:pt x="118504" y="174437"/>
                  </a:lnTo>
                  <a:lnTo>
                    <a:pt x="118504" y="292941"/>
                  </a:lnTo>
                  <a:cubicBezTo>
                    <a:pt x="118504" y="294837"/>
                    <a:pt x="118504" y="295785"/>
                    <a:pt x="119452" y="297681"/>
                  </a:cubicBezTo>
                  <a:cubicBezTo>
                    <a:pt x="120400" y="298629"/>
                    <a:pt x="121348" y="299577"/>
                    <a:pt x="123244" y="300525"/>
                  </a:cubicBezTo>
                  <a:cubicBezTo>
                    <a:pt x="125140" y="301473"/>
                    <a:pt x="127984" y="302421"/>
                    <a:pt x="130828" y="302421"/>
                  </a:cubicBezTo>
                  <a:cubicBezTo>
                    <a:pt x="133672" y="303369"/>
                    <a:pt x="137464" y="303369"/>
                    <a:pt x="142204" y="303369"/>
                  </a:cubicBezTo>
                  <a:cubicBezTo>
                    <a:pt x="146944" y="303369"/>
                    <a:pt x="150737" y="303369"/>
                    <a:pt x="153581" y="302421"/>
                  </a:cubicBezTo>
                  <a:cubicBezTo>
                    <a:pt x="156425" y="301473"/>
                    <a:pt x="159269" y="301473"/>
                    <a:pt x="161165" y="300525"/>
                  </a:cubicBezTo>
                  <a:cubicBezTo>
                    <a:pt x="163061" y="299577"/>
                    <a:pt x="164009" y="298629"/>
                    <a:pt x="164957" y="297681"/>
                  </a:cubicBezTo>
                  <a:cubicBezTo>
                    <a:pt x="165905" y="296733"/>
                    <a:pt x="165905" y="294837"/>
                    <a:pt x="165905" y="292941"/>
                  </a:cubicBezTo>
                  <a:lnTo>
                    <a:pt x="165905" y="175385"/>
                  </a:lnTo>
                  <a:lnTo>
                    <a:pt x="272084" y="175385"/>
                  </a:lnTo>
                  <a:cubicBezTo>
                    <a:pt x="273980" y="175385"/>
                    <a:pt x="275876" y="175385"/>
                    <a:pt x="276824" y="174437"/>
                  </a:cubicBezTo>
                  <a:cubicBezTo>
                    <a:pt x="278720" y="173489"/>
                    <a:pt x="279668" y="172541"/>
                    <a:pt x="280616" y="170645"/>
                  </a:cubicBezTo>
                  <a:cubicBezTo>
                    <a:pt x="281564" y="168749"/>
                    <a:pt x="282512" y="165905"/>
                    <a:pt x="283460" y="163061"/>
                  </a:cubicBezTo>
                  <a:cubicBezTo>
                    <a:pt x="284408" y="160217"/>
                    <a:pt x="284408" y="156425"/>
                    <a:pt x="284408" y="152633"/>
                  </a:cubicBezTo>
                  <a:cubicBezTo>
                    <a:pt x="284408" y="147892"/>
                    <a:pt x="284408" y="144100"/>
                    <a:pt x="284408" y="141256"/>
                  </a:cubicBezTo>
                </a:path>
              </a:pathLst>
            </a:custGeom>
            <a:solidFill>
              <a:srgbClr val="FFFFFF"/>
            </a:solidFill>
            <a:ln w="94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80" name="Fußzeilenplatzhalter 3">
            <a:extLst>
              <a:ext uri="{FF2B5EF4-FFF2-40B4-BE49-F238E27FC236}">
                <a16:creationId xmlns:a16="http://schemas.microsoft.com/office/drawing/2014/main" id="{DFEBC3E8-2EED-2D6D-054B-1E97E78CB3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</p:spPr>
        <p:txBody>
          <a:bodyPr/>
          <a:lstStyle/>
          <a:p>
            <a:r>
              <a:rPr lang="de-DE" dirty="0"/>
              <a:t>„Energie braucht Netze“ - Netzwerkveranstaltung 24. April 2026 in Görlitz</a:t>
            </a:r>
          </a:p>
        </p:txBody>
      </p:sp>
    </p:spTree>
    <p:extLst>
      <p:ext uri="{BB962C8B-B14F-4D97-AF65-F5344CB8AC3E}">
        <p14:creationId xmlns:p14="http://schemas.microsoft.com/office/powerpoint/2010/main" val="21214026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F35AE2-7730-ED6D-C188-5E6B1B0AC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FL im Industriepark Schwarze Pump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9E7E84E-7C6F-CCAA-5F71-4751A84BE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4A7843F-EC96-684F-3AF9-A3D9F29B71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„Energie braucht Netze“ - Netzwerkveranstaltung 24. April 2026 in Görlitz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11A9629-AA20-A76B-0E98-CB22CBFBD22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3.05.2023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4357D2E9-6CB1-58B6-9378-A938E181564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>
                <a:ea typeface="Calibri"/>
                <a:cs typeface="Calibri"/>
              </a:rPr>
              <a:t>Green Fuels Lausitz – Grünes Methanol aus der Lausitz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2BD0852-F981-5F6A-E617-99E6180EE7CB}"/>
              </a:ext>
            </a:extLst>
          </p:cNvPr>
          <p:cNvGrpSpPr/>
          <p:nvPr/>
        </p:nvGrpSpPr>
        <p:grpSpPr>
          <a:xfrm>
            <a:off x="576000" y="2797542"/>
            <a:ext cx="1057786" cy="1335813"/>
            <a:chOff x="1747895" y="2204823"/>
            <a:chExt cx="2680224" cy="3384690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9" name="Freihandform 4">
              <a:extLst>
                <a:ext uri="{FF2B5EF4-FFF2-40B4-BE49-F238E27FC236}">
                  <a16:creationId xmlns:a16="http://schemas.microsoft.com/office/drawing/2014/main" id="{843292E1-7D6C-7385-BFBD-E028F3B73D37}"/>
                </a:ext>
              </a:extLst>
            </p:cNvPr>
            <p:cNvSpPr/>
            <p:nvPr/>
          </p:nvSpPr>
          <p:spPr>
            <a:xfrm>
              <a:off x="2863663" y="2789724"/>
              <a:ext cx="163191" cy="129084"/>
            </a:xfrm>
            <a:custGeom>
              <a:avLst/>
              <a:gdLst>
                <a:gd name="connsiteX0" fmla="*/ 163192 w 163191"/>
                <a:gd name="connsiteY0" fmla="*/ 122088 h 129084"/>
                <a:gd name="connsiteX1" fmla="*/ 148415 w 163191"/>
                <a:gd name="connsiteY1" fmla="*/ 124016 h 129084"/>
                <a:gd name="connsiteX2" fmla="*/ 120788 w 163191"/>
                <a:gd name="connsiteY2" fmla="*/ 122088 h 129084"/>
                <a:gd name="connsiteX3" fmla="*/ 98943 w 163191"/>
                <a:gd name="connsiteY3" fmla="*/ 121446 h 129084"/>
                <a:gd name="connsiteX4" fmla="*/ 76456 w 163191"/>
                <a:gd name="connsiteY4" fmla="*/ 124016 h 129084"/>
                <a:gd name="connsiteX5" fmla="*/ 68746 w 163191"/>
                <a:gd name="connsiteY5" fmla="*/ 127228 h 129084"/>
                <a:gd name="connsiteX6" fmla="*/ 37907 w 163191"/>
                <a:gd name="connsiteY6" fmla="*/ 123373 h 129084"/>
                <a:gd name="connsiteX7" fmla="*/ 16062 w 163191"/>
                <a:gd name="connsiteY7" fmla="*/ 101529 h 129084"/>
                <a:gd name="connsiteX8" fmla="*/ 3855 w 163191"/>
                <a:gd name="connsiteY8" fmla="*/ 81612 h 129084"/>
                <a:gd name="connsiteX9" fmla="*/ 642 w 163191"/>
                <a:gd name="connsiteY9" fmla="*/ 72617 h 129084"/>
                <a:gd name="connsiteX10" fmla="*/ 25057 w 163191"/>
                <a:gd name="connsiteY10" fmla="*/ 77757 h 129084"/>
                <a:gd name="connsiteX11" fmla="*/ 23772 w 163191"/>
                <a:gd name="connsiteY11" fmla="*/ 70047 h 129084"/>
                <a:gd name="connsiteX12" fmla="*/ 14135 w 163191"/>
                <a:gd name="connsiteY12" fmla="*/ 65549 h 129084"/>
                <a:gd name="connsiteX13" fmla="*/ 0 w 163191"/>
                <a:gd name="connsiteY13" fmla="*/ 65549 h 129084"/>
                <a:gd name="connsiteX14" fmla="*/ 3212 w 163191"/>
                <a:gd name="connsiteY14" fmla="*/ 51415 h 129084"/>
                <a:gd name="connsiteX15" fmla="*/ 11565 w 163191"/>
                <a:gd name="connsiteY15" fmla="*/ 34710 h 129084"/>
                <a:gd name="connsiteX16" fmla="*/ 30197 w 163191"/>
                <a:gd name="connsiteY16" fmla="*/ 42420 h 129084"/>
                <a:gd name="connsiteX17" fmla="*/ 62964 w 163191"/>
                <a:gd name="connsiteY17" fmla="*/ 27643 h 129084"/>
                <a:gd name="connsiteX18" fmla="*/ 102156 w 163191"/>
                <a:gd name="connsiteY18" fmla="*/ 16 h 129084"/>
                <a:gd name="connsiteX19" fmla="*/ 136207 w 163191"/>
                <a:gd name="connsiteY19" fmla="*/ 30213 h 129084"/>
                <a:gd name="connsiteX20" fmla="*/ 128497 w 163191"/>
                <a:gd name="connsiteY20" fmla="*/ 56555 h 129084"/>
                <a:gd name="connsiteX21" fmla="*/ 144560 w 163191"/>
                <a:gd name="connsiteY21" fmla="*/ 93176 h 129084"/>
                <a:gd name="connsiteX22" fmla="*/ 158694 w 163191"/>
                <a:gd name="connsiteY22" fmla="*/ 116948 h 129084"/>
                <a:gd name="connsiteX23" fmla="*/ 163192 w 163191"/>
                <a:gd name="connsiteY23" fmla="*/ 122088 h 12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3191" h="129084">
                  <a:moveTo>
                    <a:pt x="163192" y="122088"/>
                  </a:moveTo>
                  <a:cubicBezTo>
                    <a:pt x="158694" y="123373"/>
                    <a:pt x="153555" y="124016"/>
                    <a:pt x="148415" y="124016"/>
                  </a:cubicBezTo>
                  <a:cubicBezTo>
                    <a:pt x="139420" y="124016"/>
                    <a:pt x="129782" y="122731"/>
                    <a:pt x="120788" y="122088"/>
                  </a:cubicBezTo>
                  <a:cubicBezTo>
                    <a:pt x="113720" y="121446"/>
                    <a:pt x="106010" y="121446"/>
                    <a:pt x="98943" y="121446"/>
                  </a:cubicBezTo>
                  <a:cubicBezTo>
                    <a:pt x="91233" y="121446"/>
                    <a:pt x="83523" y="121446"/>
                    <a:pt x="76456" y="124016"/>
                  </a:cubicBezTo>
                  <a:cubicBezTo>
                    <a:pt x="73886" y="125301"/>
                    <a:pt x="71316" y="126586"/>
                    <a:pt x="68746" y="127228"/>
                  </a:cubicBezTo>
                  <a:cubicBezTo>
                    <a:pt x="59109" y="131083"/>
                    <a:pt x="46902" y="128513"/>
                    <a:pt x="37907" y="123373"/>
                  </a:cubicBezTo>
                  <a:cubicBezTo>
                    <a:pt x="28912" y="118233"/>
                    <a:pt x="21845" y="109881"/>
                    <a:pt x="16062" y="101529"/>
                  </a:cubicBezTo>
                  <a:cubicBezTo>
                    <a:pt x="11565" y="95104"/>
                    <a:pt x="6425" y="88679"/>
                    <a:pt x="3855" y="81612"/>
                  </a:cubicBezTo>
                  <a:cubicBezTo>
                    <a:pt x="2570" y="79042"/>
                    <a:pt x="1927" y="75829"/>
                    <a:pt x="642" y="72617"/>
                  </a:cubicBezTo>
                  <a:cubicBezTo>
                    <a:pt x="10922" y="73902"/>
                    <a:pt x="25057" y="77757"/>
                    <a:pt x="25057" y="77757"/>
                  </a:cubicBezTo>
                  <a:cubicBezTo>
                    <a:pt x="25057" y="77757"/>
                    <a:pt x="24415" y="70689"/>
                    <a:pt x="23772" y="70047"/>
                  </a:cubicBezTo>
                  <a:cubicBezTo>
                    <a:pt x="23129" y="69404"/>
                    <a:pt x="23129" y="65549"/>
                    <a:pt x="14135" y="65549"/>
                  </a:cubicBezTo>
                  <a:cubicBezTo>
                    <a:pt x="10280" y="65549"/>
                    <a:pt x="5140" y="65549"/>
                    <a:pt x="0" y="65549"/>
                  </a:cubicBezTo>
                  <a:cubicBezTo>
                    <a:pt x="642" y="61052"/>
                    <a:pt x="1285" y="53985"/>
                    <a:pt x="3212" y="51415"/>
                  </a:cubicBezTo>
                  <a:cubicBezTo>
                    <a:pt x="5782" y="47560"/>
                    <a:pt x="9637" y="34068"/>
                    <a:pt x="11565" y="34710"/>
                  </a:cubicBezTo>
                  <a:cubicBezTo>
                    <a:pt x="13492" y="35352"/>
                    <a:pt x="24415" y="43062"/>
                    <a:pt x="30197" y="42420"/>
                  </a:cubicBezTo>
                  <a:cubicBezTo>
                    <a:pt x="35979" y="41777"/>
                    <a:pt x="43689" y="43062"/>
                    <a:pt x="62964" y="27643"/>
                  </a:cubicBezTo>
                  <a:cubicBezTo>
                    <a:pt x="82238" y="12223"/>
                    <a:pt x="83523" y="658"/>
                    <a:pt x="102156" y="16"/>
                  </a:cubicBezTo>
                  <a:cubicBezTo>
                    <a:pt x="120788" y="-627"/>
                    <a:pt x="136207" y="18648"/>
                    <a:pt x="136207" y="30213"/>
                  </a:cubicBezTo>
                  <a:cubicBezTo>
                    <a:pt x="136850" y="42420"/>
                    <a:pt x="128497" y="49487"/>
                    <a:pt x="128497" y="56555"/>
                  </a:cubicBezTo>
                  <a:cubicBezTo>
                    <a:pt x="128497" y="63622"/>
                    <a:pt x="139420" y="86751"/>
                    <a:pt x="144560" y="93176"/>
                  </a:cubicBezTo>
                  <a:cubicBezTo>
                    <a:pt x="149057" y="99601"/>
                    <a:pt x="150984" y="106669"/>
                    <a:pt x="158694" y="116948"/>
                  </a:cubicBezTo>
                  <a:cubicBezTo>
                    <a:pt x="159979" y="118876"/>
                    <a:pt x="161264" y="120161"/>
                    <a:pt x="163192" y="122088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 5">
              <a:extLst>
                <a:ext uri="{FF2B5EF4-FFF2-40B4-BE49-F238E27FC236}">
                  <a16:creationId xmlns:a16="http://schemas.microsoft.com/office/drawing/2014/main" id="{1079BD89-17CE-99A2-1688-0CA9C44CAF13}"/>
                </a:ext>
              </a:extLst>
            </p:cNvPr>
            <p:cNvSpPr/>
            <p:nvPr/>
          </p:nvSpPr>
          <p:spPr>
            <a:xfrm>
              <a:off x="2863663" y="2789724"/>
              <a:ext cx="163191" cy="129084"/>
            </a:xfrm>
            <a:custGeom>
              <a:avLst/>
              <a:gdLst>
                <a:gd name="connsiteX0" fmla="*/ 163192 w 163191"/>
                <a:gd name="connsiteY0" fmla="*/ 122088 h 129084"/>
                <a:gd name="connsiteX1" fmla="*/ 148415 w 163191"/>
                <a:gd name="connsiteY1" fmla="*/ 124016 h 129084"/>
                <a:gd name="connsiteX2" fmla="*/ 120788 w 163191"/>
                <a:gd name="connsiteY2" fmla="*/ 122088 h 129084"/>
                <a:gd name="connsiteX3" fmla="*/ 98943 w 163191"/>
                <a:gd name="connsiteY3" fmla="*/ 121446 h 129084"/>
                <a:gd name="connsiteX4" fmla="*/ 76456 w 163191"/>
                <a:gd name="connsiteY4" fmla="*/ 124016 h 129084"/>
                <a:gd name="connsiteX5" fmla="*/ 68746 w 163191"/>
                <a:gd name="connsiteY5" fmla="*/ 127228 h 129084"/>
                <a:gd name="connsiteX6" fmla="*/ 37907 w 163191"/>
                <a:gd name="connsiteY6" fmla="*/ 123373 h 129084"/>
                <a:gd name="connsiteX7" fmla="*/ 16062 w 163191"/>
                <a:gd name="connsiteY7" fmla="*/ 101529 h 129084"/>
                <a:gd name="connsiteX8" fmla="*/ 3855 w 163191"/>
                <a:gd name="connsiteY8" fmla="*/ 81612 h 129084"/>
                <a:gd name="connsiteX9" fmla="*/ 642 w 163191"/>
                <a:gd name="connsiteY9" fmla="*/ 72617 h 129084"/>
                <a:gd name="connsiteX10" fmla="*/ 25057 w 163191"/>
                <a:gd name="connsiteY10" fmla="*/ 77757 h 129084"/>
                <a:gd name="connsiteX11" fmla="*/ 23772 w 163191"/>
                <a:gd name="connsiteY11" fmla="*/ 70047 h 129084"/>
                <a:gd name="connsiteX12" fmla="*/ 14135 w 163191"/>
                <a:gd name="connsiteY12" fmla="*/ 65549 h 129084"/>
                <a:gd name="connsiteX13" fmla="*/ 0 w 163191"/>
                <a:gd name="connsiteY13" fmla="*/ 65549 h 129084"/>
                <a:gd name="connsiteX14" fmla="*/ 3212 w 163191"/>
                <a:gd name="connsiteY14" fmla="*/ 51415 h 129084"/>
                <a:gd name="connsiteX15" fmla="*/ 11565 w 163191"/>
                <a:gd name="connsiteY15" fmla="*/ 34710 h 129084"/>
                <a:gd name="connsiteX16" fmla="*/ 30197 w 163191"/>
                <a:gd name="connsiteY16" fmla="*/ 42420 h 129084"/>
                <a:gd name="connsiteX17" fmla="*/ 62964 w 163191"/>
                <a:gd name="connsiteY17" fmla="*/ 27643 h 129084"/>
                <a:gd name="connsiteX18" fmla="*/ 102156 w 163191"/>
                <a:gd name="connsiteY18" fmla="*/ 16 h 129084"/>
                <a:gd name="connsiteX19" fmla="*/ 136207 w 163191"/>
                <a:gd name="connsiteY19" fmla="*/ 30213 h 129084"/>
                <a:gd name="connsiteX20" fmla="*/ 128497 w 163191"/>
                <a:gd name="connsiteY20" fmla="*/ 56555 h 129084"/>
                <a:gd name="connsiteX21" fmla="*/ 144560 w 163191"/>
                <a:gd name="connsiteY21" fmla="*/ 93176 h 129084"/>
                <a:gd name="connsiteX22" fmla="*/ 158694 w 163191"/>
                <a:gd name="connsiteY22" fmla="*/ 116948 h 129084"/>
                <a:gd name="connsiteX23" fmla="*/ 163192 w 163191"/>
                <a:gd name="connsiteY23" fmla="*/ 122088 h 12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3191" h="129084">
                  <a:moveTo>
                    <a:pt x="163192" y="122088"/>
                  </a:moveTo>
                  <a:cubicBezTo>
                    <a:pt x="158694" y="123373"/>
                    <a:pt x="153555" y="124016"/>
                    <a:pt x="148415" y="124016"/>
                  </a:cubicBezTo>
                  <a:cubicBezTo>
                    <a:pt x="139420" y="124016"/>
                    <a:pt x="129782" y="122731"/>
                    <a:pt x="120788" y="122088"/>
                  </a:cubicBezTo>
                  <a:cubicBezTo>
                    <a:pt x="113720" y="121446"/>
                    <a:pt x="106010" y="121446"/>
                    <a:pt x="98943" y="121446"/>
                  </a:cubicBezTo>
                  <a:cubicBezTo>
                    <a:pt x="91233" y="121446"/>
                    <a:pt x="83523" y="121446"/>
                    <a:pt x="76456" y="124016"/>
                  </a:cubicBezTo>
                  <a:cubicBezTo>
                    <a:pt x="73886" y="125301"/>
                    <a:pt x="71316" y="126586"/>
                    <a:pt x="68746" y="127228"/>
                  </a:cubicBezTo>
                  <a:cubicBezTo>
                    <a:pt x="59109" y="131083"/>
                    <a:pt x="46902" y="128513"/>
                    <a:pt x="37907" y="123373"/>
                  </a:cubicBezTo>
                  <a:cubicBezTo>
                    <a:pt x="28912" y="118233"/>
                    <a:pt x="21845" y="109881"/>
                    <a:pt x="16062" y="101529"/>
                  </a:cubicBezTo>
                  <a:cubicBezTo>
                    <a:pt x="11565" y="95104"/>
                    <a:pt x="6425" y="88679"/>
                    <a:pt x="3855" y="81612"/>
                  </a:cubicBezTo>
                  <a:cubicBezTo>
                    <a:pt x="2570" y="79042"/>
                    <a:pt x="1927" y="75829"/>
                    <a:pt x="642" y="72617"/>
                  </a:cubicBezTo>
                  <a:cubicBezTo>
                    <a:pt x="10922" y="73902"/>
                    <a:pt x="25057" y="77757"/>
                    <a:pt x="25057" y="77757"/>
                  </a:cubicBezTo>
                  <a:cubicBezTo>
                    <a:pt x="25057" y="77757"/>
                    <a:pt x="24415" y="70689"/>
                    <a:pt x="23772" y="70047"/>
                  </a:cubicBezTo>
                  <a:cubicBezTo>
                    <a:pt x="23129" y="69404"/>
                    <a:pt x="23129" y="65549"/>
                    <a:pt x="14135" y="65549"/>
                  </a:cubicBezTo>
                  <a:cubicBezTo>
                    <a:pt x="10280" y="65549"/>
                    <a:pt x="5140" y="65549"/>
                    <a:pt x="0" y="65549"/>
                  </a:cubicBezTo>
                  <a:cubicBezTo>
                    <a:pt x="642" y="61052"/>
                    <a:pt x="1285" y="53985"/>
                    <a:pt x="3212" y="51415"/>
                  </a:cubicBezTo>
                  <a:cubicBezTo>
                    <a:pt x="5782" y="47560"/>
                    <a:pt x="9637" y="34068"/>
                    <a:pt x="11565" y="34710"/>
                  </a:cubicBezTo>
                  <a:cubicBezTo>
                    <a:pt x="13492" y="35352"/>
                    <a:pt x="24415" y="43062"/>
                    <a:pt x="30197" y="42420"/>
                  </a:cubicBezTo>
                  <a:cubicBezTo>
                    <a:pt x="35979" y="41777"/>
                    <a:pt x="43689" y="43062"/>
                    <a:pt x="62964" y="27643"/>
                  </a:cubicBezTo>
                  <a:cubicBezTo>
                    <a:pt x="82238" y="12223"/>
                    <a:pt x="83523" y="658"/>
                    <a:pt x="102156" y="16"/>
                  </a:cubicBezTo>
                  <a:cubicBezTo>
                    <a:pt x="120788" y="-627"/>
                    <a:pt x="136207" y="18648"/>
                    <a:pt x="136207" y="30213"/>
                  </a:cubicBezTo>
                  <a:cubicBezTo>
                    <a:pt x="136850" y="42420"/>
                    <a:pt x="128497" y="49487"/>
                    <a:pt x="128497" y="56555"/>
                  </a:cubicBezTo>
                  <a:cubicBezTo>
                    <a:pt x="128497" y="63622"/>
                    <a:pt x="139420" y="86751"/>
                    <a:pt x="144560" y="93176"/>
                  </a:cubicBezTo>
                  <a:cubicBezTo>
                    <a:pt x="149057" y="99601"/>
                    <a:pt x="150984" y="106669"/>
                    <a:pt x="158694" y="116948"/>
                  </a:cubicBezTo>
                  <a:cubicBezTo>
                    <a:pt x="159979" y="118876"/>
                    <a:pt x="161264" y="120161"/>
                    <a:pt x="163192" y="122088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 8">
              <a:extLst>
                <a:ext uri="{FF2B5EF4-FFF2-40B4-BE49-F238E27FC236}">
                  <a16:creationId xmlns:a16="http://schemas.microsoft.com/office/drawing/2014/main" id="{CE1D81F0-82F0-48AA-B617-71FAA6ACD4F5}"/>
                </a:ext>
              </a:extLst>
            </p:cNvPr>
            <p:cNvSpPr/>
            <p:nvPr/>
          </p:nvSpPr>
          <p:spPr>
            <a:xfrm>
              <a:off x="3822575" y="3216993"/>
              <a:ext cx="190629" cy="132971"/>
            </a:xfrm>
            <a:custGeom>
              <a:avLst/>
              <a:gdLst>
                <a:gd name="connsiteX0" fmla="*/ 175078 w 190629"/>
                <a:gd name="connsiteY0" fmla="*/ 108580 h 132971"/>
                <a:gd name="connsiteX1" fmla="*/ 161586 w 190629"/>
                <a:gd name="connsiteY1" fmla="*/ 131710 h 132971"/>
                <a:gd name="connsiteX2" fmla="*/ 155803 w 190629"/>
                <a:gd name="connsiteY2" fmla="*/ 127213 h 132971"/>
                <a:gd name="connsiteX3" fmla="*/ 142953 w 190629"/>
                <a:gd name="connsiteY3" fmla="*/ 115005 h 132971"/>
                <a:gd name="connsiteX4" fmla="*/ 116612 w 190629"/>
                <a:gd name="connsiteY4" fmla="*/ 105368 h 132971"/>
                <a:gd name="connsiteX5" fmla="*/ 93482 w 190629"/>
                <a:gd name="connsiteY5" fmla="*/ 122073 h 132971"/>
                <a:gd name="connsiteX6" fmla="*/ 53648 w 190629"/>
                <a:gd name="connsiteY6" fmla="*/ 109865 h 132971"/>
                <a:gd name="connsiteX7" fmla="*/ 32446 w 190629"/>
                <a:gd name="connsiteY7" fmla="*/ 103440 h 132971"/>
                <a:gd name="connsiteX8" fmla="*/ 6746 w 190629"/>
                <a:gd name="connsiteY8" fmla="*/ 115005 h 132971"/>
                <a:gd name="connsiteX9" fmla="*/ 2891 w 190629"/>
                <a:gd name="connsiteY9" fmla="*/ 97658 h 132971"/>
                <a:gd name="connsiteX10" fmla="*/ 9316 w 190629"/>
                <a:gd name="connsiteY10" fmla="*/ 60394 h 132971"/>
                <a:gd name="connsiteX11" fmla="*/ 9316 w 190629"/>
                <a:gd name="connsiteY11" fmla="*/ 28269 h 132971"/>
                <a:gd name="connsiteX12" fmla="*/ 53005 w 190629"/>
                <a:gd name="connsiteY12" fmla="*/ 3212 h 132971"/>
                <a:gd name="connsiteX13" fmla="*/ 67140 w 190629"/>
                <a:gd name="connsiteY13" fmla="*/ 0 h 132971"/>
                <a:gd name="connsiteX14" fmla="*/ 74850 w 190629"/>
                <a:gd name="connsiteY14" fmla="*/ 6425 h 132971"/>
                <a:gd name="connsiteX15" fmla="*/ 102477 w 190629"/>
                <a:gd name="connsiteY15" fmla="*/ 7710 h 132971"/>
                <a:gd name="connsiteX16" fmla="*/ 110187 w 190629"/>
                <a:gd name="connsiteY16" fmla="*/ 23130 h 132971"/>
                <a:gd name="connsiteX17" fmla="*/ 141026 w 190629"/>
                <a:gd name="connsiteY17" fmla="*/ 45617 h 132971"/>
                <a:gd name="connsiteX18" fmla="*/ 155161 w 190629"/>
                <a:gd name="connsiteY18" fmla="*/ 62964 h 132971"/>
                <a:gd name="connsiteX19" fmla="*/ 190498 w 190629"/>
                <a:gd name="connsiteY19" fmla="*/ 77098 h 132971"/>
                <a:gd name="connsiteX20" fmla="*/ 175078 w 190629"/>
                <a:gd name="connsiteY20" fmla="*/ 108580 h 132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0629" h="132971">
                  <a:moveTo>
                    <a:pt x="175078" y="108580"/>
                  </a:moveTo>
                  <a:cubicBezTo>
                    <a:pt x="166083" y="122073"/>
                    <a:pt x="164156" y="129140"/>
                    <a:pt x="161586" y="131710"/>
                  </a:cubicBezTo>
                  <a:cubicBezTo>
                    <a:pt x="158373" y="134280"/>
                    <a:pt x="155803" y="132995"/>
                    <a:pt x="155803" y="127213"/>
                  </a:cubicBezTo>
                  <a:cubicBezTo>
                    <a:pt x="155803" y="121430"/>
                    <a:pt x="150021" y="115005"/>
                    <a:pt x="142953" y="115005"/>
                  </a:cubicBezTo>
                  <a:cubicBezTo>
                    <a:pt x="135244" y="114363"/>
                    <a:pt x="128176" y="106010"/>
                    <a:pt x="116612" y="105368"/>
                  </a:cubicBezTo>
                  <a:cubicBezTo>
                    <a:pt x="105047" y="104725"/>
                    <a:pt x="103762" y="117575"/>
                    <a:pt x="93482" y="122073"/>
                  </a:cubicBezTo>
                  <a:cubicBezTo>
                    <a:pt x="82560" y="126570"/>
                    <a:pt x="60715" y="115005"/>
                    <a:pt x="53648" y="109865"/>
                  </a:cubicBezTo>
                  <a:cubicBezTo>
                    <a:pt x="46580" y="104725"/>
                    <a:pt x="41440" y="101513"/>
                    <a:pt x="32446" y="103440"/>
                  </a:cubicBezTo>
                  <a:cubicBezTo>
                    <a:pt x="23451" y="106010"/>
                    <a:pt x="17668" y="116290"/>
                    <a:pt x="6746" y="115005"/>
                  </a:cubicBezTo>
                  <a:cubicBezTo>
                    <a:pt x="-3534" y="113720"/>
                    <a:pt x="321" y="103440"/>
                    <a:pt x="2891" y="97658"/>
                  </a:cubicBezTo>
                  <a:cubicBezTo>
                    <a:pt x="5461" y="91876"/>
                    <a:pt x="6104" y="72601"/>
                    <a:pt x="9316" y="60394"/>
                  </a:cubicBezTo>
                  <a:cubicBezTo>
                    <a:pt x="12528" y="48187"/>
                    <a:pt x="8031" y="37907"/>
                    <a:pt x="9316" y="28269"/>
                  </a:cubicBezTo>
                  <a:cubicBezTo>
                    <a:pt x="10601" y="18632"/>
                    <a:pt x="53005" y="3212"/>
                    <a:pt x="53005" y="3212"/>
                  </a:cubicBezTo>
                  <a:cubicBezTo>
                    <a:pt x="53005" y="3212"/>
                    <a:pt x="65855" y="0"/>
                    <a:pt x="67140" y="0"/>
                  </a:cubicBezTo>
                  <a:cubicBezTo>
                    <a:pt x="68425" y="0"/>
                    <a:pt x="72922" y="5140"/>
                    <a:pt x="74850" y="6425"/>
                  </a:cubicBezTo>
                  <a:cubicBezTo>
                    <a:pt x="76777" y="7710"/>
                    <a:pt x="97337" y="7710"/>
                    <a:pt x="102477" y="7710"/>
                  </a:cubicBezTo>
                  <a:cubicBezTo>
                    <a:pt x="107617" y="8352"/>
                    <a:pt x="108902" y="16705"/>
                    <a:pt x="110187" y="23130"/>
                  </a:cubicBezTo>
                  <a:cubicBezTo>
                    <a:pt x="110829" y="29554"/>
                    <a:pt x="126249" y="36622"/>
                    <a:pt x="141026" y="45617"/>
                  </a:cubicBezTo>
                  <a:cubicBezTo>
                    <a:pt x="155803" y="54611"/>
                    <a:pt x="153233" y="59751"/>
                    <a:pt x="155161" y="62964"/>
                  </a:cubicBezTo>
                  <a:cubicBezTo>
                    <a:pt x="157088" y="66176"/>
                    <a:pt x="187285" y="75814"/>
                    <a:pt x="190498" y="77098"/>
                  </a:cubicBezTo>
                  <a:cubicBezTo>
                    <a:pt x="191782" y="79026"/>
                    <a:pt x="183430" y="95088"/>
                    <a:pt x="175078" y="108580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 9">
              <a:extLst>
                <a:ext uri="{FF2B5EF4-FFF2-40B4-BE49-F238E27FC236}">
                  <a16:creationId xmlns:a16="http://schemas.microsoft.com/office/drawing/2014/main" id="{611530AE-806B-5007-E42A-E7BC95E7CA9C}"/>
                </a:ext>
              </a:extLst>
            </p:cNvPr>
            <p:cNvSpPr/>
            <p:nvPr/>
          </p:nvSpPr>
          <p:spPr>
            <a:xfrm>
              <a:off x="3822575" y="3216993"/>
              <a:ext cx="190629" cy="132971"/>
            </a:xfrm>
            <a:custGeom>
              <a:avLst/>
              <a:gdLst>
                <a:gd name="connsiteX0" fmla="*/ 175078 w 190629"/>
                <a:gd name="connsiteY0" fmla="*/ 108580 h 132971"/>
                <a:gd name="connsiteX1" fmla="*/ 161586 w 190629"/>
                <a:gd name="connsiteY1" fmla="*/ 131710 h 132971"/>
                <a:gd name="connsiteX2" fmla="*/ 155803 w 190629"/>
                <a:gd name="connsiteY2" fmla="*/ 127213 h 132971"/>
                <a:gd name="connsiteX3" fmla="*/ 142953 w 190629"/>
                <a:gd name="connsiteY3" fmla="*/ 115005 h 132971"/>
                <a:gd name="connsiteX4" fmla="*/ 116612 w 190629"/>
                <a:gd name="connsiteY4" fmla="*/ 105368 h 132971"/>
                <a:gd name="connsiteX5" fmla="*/ 93482 w 190629"/>
                <a:gd name="connsiteY5" fmla="*/ 122073 h 132971"/>
                <a:gd name="connsiteX6" fmla="*/ 53648 w 190629"/>
                <a:gd name="connsiteY6" fmla="*/ 109865 h 132971"/>
                <a:gd name="connsiteX7" fmla="*/ 32446 w 190629"/>
                <a:gd name="connsiteY7" fmla="*/ 103440 h 132971"/>
                <a:gd name="connsiteX8" fmla="*/ 6746 w 190629"/>
                <a:gd name="connsiteY8" fmla="*/ 115005 h 132971"/>
                <a:gd name="connsiteX9" fmla="*/ 2891 w 190629"/>
                <a:gd name="connsiteY9" fmla="*/ 97658 h 132971"/>
                <a:gd name="connsiteX10" fmla="*/ 9316 w 190629"/>
                <a:gd name="connsiteY10" fmla="*/ 60394 h 132971"/>
                <a:gd name="connsiteX11" fmla="*/ 9316 w 190629"/>
                <a:gd name="connsiteY11" fmla="*/ 28269 h 132971"/>
                <a:gd name="connsiteX12" fmla="*/ 53005 w 190629"/>
                <a:gd name="connsiteY12" fmla="*/ 3212 h 132971"/>
                <a:gd name="connsiteX13" fmla="*/ 67140 w 190629"/>
                <a:gd name="connsiteY13" fmla="*/ 0 h 132971"/>
                <a:gd name="connsiteX14" fmla="*/ 74850 w 190629"/>
                <a:gd name="connsiteY14" fmla="*/ 6425 h 132971"/>
                <a:gd name="connsiteX15" fmla="*/ 102477 w 190629"/>
                <a:gd name="connsiteY15" fmla="*/ 7710 h 132971"/>
                <a:gd name="connsiteX16" fmla="*/ 110187 w 190629"/>
                <a:gd name="connsiteY16" fmla="*/ 23130 h 132971"/>
                <a:gd name="connsiteX17" fmla="*/ 141026 w 190629"/>
                <a:gd name="connsiteY17" fmla="*/ 45617 h 132971"/>
                <a:gd name="connsiteX18" fmla="*/ 155161 w 190629"/>
                <a:gd name="connsiteY18" fmla="*/ 62964 h 132971"/>
                <a:gd name="connsiteX19" fmla="*/ 190498 w 190629"/>
                <a:gd name="connsiteY19" fmla="*/ 77098 h 132971"/>
                <a:gd name="connsiteX20" fmla="*/ 175078 w 190629"/>
                <a:gd name="connsiteY20" fmla="*/ 108580 h 132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0629" h="132971">
                  <a:moveTo>
                    <a:pt x="175078" y="108580"/>
                  </a:moveTo>
                  <a:cubicBezTo>
                    <a:pt x="166083" y="122073"/>
                    <a:pt x="164156" y="129140"/>
                    <a:pt x="161586" y="131710"/>
                  </a:cubicBezTo>
                  <a:cubicBezTo>
                    <a:pt x="158373" y="134280"/>
                    <a:pt x="155803" y="132995"/>
                    <a:pt x="155803" y="127213"/>
                  </a:cubicBezTo>
                  <a:cubicBezTo>
                    <a:pt x="155803" y="121430"/>
                    <a:pt x="150021" y="115005"/>
                    <a:pt x="142953" y="115005"/>
                  </a:cubicBezTo>
                  <a:cubicBezTo>
                    <a:pt x="135244" y="114363"/>
                    <a:pt x="128176" y="106010"/>
                    <a:pt x="116612" y="105368"/>
                  </a:cubicBezTo>
                  <a:cubicBezTo>
                    <a:pt x="105047" y="104725"/>
                    <a:pt x="103762" y="117575"/>
                    <a:pt x="93482" y="122073"/>
                  </a:cubicBezTo>
                  <a:cubicBezTo>
                    <a:pt x="82560" y="126570"/>
                    <a:pt x="60715" y="115005"/>
                    <a:pt x="53648" y="109865"/>
                  </a:cubicBezTo>
                  <a:cubicBezTo>
                    <a:pt x="46580" y="104725"/>
                    <a:pt x="41440" y="101513"/>
                    <a:pt x="32446" y="103440"/>
                  </a:cubicBezTo>
                  <a:cubicBezTo>
                    <a:pt x="23451" y="106010"/>
                    <a:pt x="17668" y="116290"/>
                    <a:pt x="6746" y="115005"/>
                  </a:cubicBezTo>
                  <a:cubicBezTo>
                    <a:pt x="-3534" y="113720"/>
                    <a:pt x="321" y="103440"/>
                    <a:pt x="2891" y="97658"/>
                  </a:cubicBezTo>
                  <a:cubicBezTo>
                    <a:pt x="5461" y="91876"/>
                    <a:pt x="6104" y="72601"/>
                    <a:pt x="9316" y="60394"/>
                  </a:cubicBezTo>
                  <a:cubicBezTo>
                    <a:pt x="12528" y="48187"/>
                    <a:pt x="8031" y="37907"/>
                    <a:pt x="9316" y="28269"/>
                  </a:cubicBezTo>
                  <a:cubicBezTo>
                    <a:pt x="10601" y="18632"/>
                    <a:pt x="53005" y="3212"/>
                    <a:pt x="53005" y="3212"/>
                  </a:cubicBezTo>
                  <a:cubicBezTo>
                    <a:pt x="53005" y="3212"/>
                    <a:pt x="65855" y="0"/>
                    <a:pt x="67140" y="0"/>
                  </a:cubicBezTo>
                  <a:cubicBezTo>
                    <a:pt x="68425" y="0"/>
                    <a:pt x="72922" y="5140"/>
                    <a:pt x="74850" y="6425"/>
                  </a:cubicBezTo>
                  <a:cubicBezTo>
                    <a:pt x="76777" y="7710"/>
                    <a:pt x="97337" y="7710"/>
                    <a:pt x="102477" y="7710"/>
                  </a:cubicBezTo>
                  <a:cubicBezTo>
                    <a:pt x="107617" y="8352"/>
                    <a:pt x="108902" y="16705"/>
                    <a:pt x="110187" y="23130"/>
                  </a:cubicBezTo>
                  <a:cubicBezTo>
                    <a:pt x="110829" y="29554"/>
                    <a:pt x="126249" y="36622"/>
                    <a:pt x="141026" y="45617"/>
                  </a:cubicBezTo>
                  <a:cubicBezTo>
                    <a:pt x="155803" y="54611"/>
                    <a:pt x="153233" y="59751"/>
                    <a:pt x="155161" y="62964"/>
                  </a:cubicBezTo>
                  <a:cubicBezTo>
                    <a:pt x="157088" y="66176"/>
                    <a:pt x="187285" y="75814"/>
                    <a:pt x="190498" y="77098"/>
                  </a:cubicBezTo>
                  <a:cubicBezTo>
                    <a:pt x="191782" y="79026"/>
                    <a:pt x="183430" y="95088"/>
                    <a:pt x="175078" y="108580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 11">
              <a:extLst>
                <a:ext uri="{FF2B5EF4-FFF2-40B4-BE49-F238E27FC236}">
                  <a16:creationId xmlns:a16="http://schemas.microsoft.com/office/drawing/2014/main" id="{7DCE9B9F-DB83-2799-7348-7F03A67D298F}"/>
                </a:ext>
              </a:extLst>
            </p:cNvPr>
            <p:cNvSpPr/>
            <p:nvPr/>
          </p:nvSpPr>
          <p:spPr>
            <a:xfrm>
              <a:off x="2512865" y="2993910"/>
              <a:ext cx="145342" cy="96359"/>
            </a:xfrm>
            <a:custGeom>
              <a:avLst/>
              <a:gdLst>
                <a:gd name="connsiteX0" fmla="*/ 141990 w 145342"/>
                <a:gd name="connsiteY0" fmla="*/ 77881 h 96359"/>
                <a:gd name="connsiteX1" fmla="*/ 138135 w 145342"/>
                <a:gd name="connsiteY1" fmla="*/ 86876 h 96359"/>
                <a:gd name="connsiteX2" fmla="*/ 128497 w 145342"/>
                <a:gd name="connsiteY2" fmla="*/ 93301 h 96359"/>
                <a:gd name="connsiteX3" fmla="*/ 118218 w 145342"/>
                <a:gd name="connsiteY3" fmla="*/ 95871 h 96359"/>
                <a:gd name="connsiteX4" fmla="*/ 78383 w 145342"/>
                <a:gd name="connsiteY4" fmla="*/ 85591 h 96359"/>
                <a:gd name="connsiteX5" fmla="*/ 53326 w 145342"/>
                <a:gd name="connsiteY5" fmla="*/ 54109 h 96359"/>
                <a:gd name="connsiteX6" fmla="*/ 48187 w 145342"/>
                <a:gd name="connsiteY6" fmla="*/ 44472 h 96359"/>
                <a:gd name="connsiteX7" fmla="*/ 35979 w 145342"/>
                <a:gd name="connsiteY7" fmla="*/ 34835 h 96359"/>
                <a:gd name="connsiteX8" fmla="*/ 20560 w 145342"/>
                <a:gd name="connsiteY8" fmla="*/ 27125 h 96359"/>
                <a:gd name="connsiteX9" fmla="*/ 7067 w 145342"/>
                <a:gd name="connsiteY9" fmla="*/ 19415 h 96359"/>
                <a:gd name="connsiteX10" fmla="*/ 0 w 145342"/>
                <a:gd name="connsiteY10" fmla="*/ 6565 h 96359"/>
                <a:gd name="connsiteX11" fmla="*/ 2570 w 145342"/>
                <a:gd name="connsiteY11" fmla="*/ 783 h 96359"/>
                <a:gd name="connsiteX12" fmla="*/ 13492 w 145342"/>
                <a:gd name="connsiteY12" fmla="*/ 3353 h 96359"/>
                <a:gd name="connsiteX13" fmla="*/ 110508 w 145342"/>
                <a:gd name="connsiteY13" fmla="*/ 30980 h 96359"/>
                <a:gd name="connsiteX14" fmla="*/ 129140 w 145342"/>
                <a:gd name="connsiteY14" fmla="*/ 32907 h 96359"/>
                <a:gd name="connsiteX15" fmla="*/ 144560 w 145342"/>
                <a:gd name="connsiteY15" fmla="*/ 52824 h 96359"/>
                <a:gd name="connsiteX16" fmla="*/ 141990 w 145342"/>
                <a:gd name="connsiteY16" fmla="*/ 77881 h 96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42" h="96359">
                  <a:moveTo>
                    <a:pt x="141990" y="77881"/>
                  </a:moveTo>
                  <a:cubicBezTo>
                    <a:pt x="141347" y="81094"/>
                    <a:pt x="140062" y="84306"/>
                    <a:pt x="138135" y="86876"/>
                  </a:cubicBezTo>
                  <a:cubicBezTo>
                    <a:pt x="135565" y="90089"/>
                    <a:pt x="131710" y="92016"/>
                    <a:pt x="128497" y="93301"/>
                  </a:cubicBezTo>
                  <a:cubicBezTo>
                    <a:pt x="125285" y="94586"/>
                    <a:pt x="121430" y="95871"/>
                    <a:pt x="118218" y="95871"/>
                  </a:cubicBezTo>
                  <a:cubicBezTo>
                    <a:pt x="104083" y="97799"/>
                    <a:pt x="89948" y="93944"/>
                    <a:pt x="78383" y="85591"/>
                  </a:cubicBezTo>
                  <a:cubicBezTo>
                    <a:pt x="66819" y="77881"/>
                    <a:pt x="59109" y="66317"/>
                    <a:pt x="53326" y="54109"/>
                  </a:cubicBezTo>
                  <a:cubicBezTo>
                    <a:pt x="52042" y="50897"/>
                    <a:pt x="50757" y="47042"/>
                    <a:pt x="48187" y="44472"/>
                  </a:cubicBezTo>
                  <a:cubicBezTo>
                    <a:pt x="44974" y="40617"/>
                    <a:pt x="40477" y="37405"/>
                    <a:pt x="35979" y="34835"/>
                  </a:cubicBezTo>
                  <a:cubicBezTo>
                    <a:pt x="30839" y="32265"/>
                    <a:pt x="25699" y="29695"/>
                    <a:pt x="20560" y="27125"/>
                  </a:cubicBezTo>
                  <a:cubicBezTo>
                    <a:pt x="16062" y="24555"/>
                    <a:pt x="10922" y="22628"/>
                    <a:pt x="7067" y="19415"/>
                  </a:cubicBezTo>
                  <a:cubicBezTo>
                    <a:pt x="3212" y="16203"/>
                    <a:pt x="0" y="11705"/>
                    <a:pt x="0" y="6565"/>
                  </a:cubicBezTo>
                  <a:cubicBezTo>
                    <a:pt x="0" y="4638"/>
                    <a:pt x="643" y="2068"/>
                    <a:pt x="2570" y="783"/>
                  </a:cubicBezTo>
                  <a:cubicBezTo>
                    <a:pt x="5782" y="-1144"/>
                    <a:pt x="10280" y="783"/>
                    <a:pt x="13492" y="3353"/>
                  </a:cubicBezTo>
                  <a:cubicBezTo>
                    <a:pt x="41762" y="21985"/>
                    <a:pt x="76456" y="31622"/>
                    <a:pt x="110508" y="30980"/>
                  </a:cubicBezTo>
                  <a:cubicBezTo>
                    <a:pt x="116933" y="30980"/>
                    <a:pt x="123358" y="30337"/>
                    <a:pt x="129140" y="32907"/>
                  </a:cubicBezTo>
                  <a:cubicBezTo>
                    <a:pt x="137492" y="36120"/>
                    <a:pt x="142632" y="44472"/>
                    <a:pt x="144560" y="52824"/>
                  </a:cubicBezTo>
                  <a:cubicBezTo>
                    <a:pt x="146487" y="61177"/>
                    <a:pt x="144560" y="69529"/>
                    <a:pt x="141990" y="77881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 17">
              <a:extLst>
                <a:ext uri="{FF2B5EF4-FFF2-40B4-BE49-F238E27FC236}">
                  <a16:creationId xmlns:a16="http://schemas.microsoft.com/office/drawing/2014/main" id="{12F9CF5A-A1FA-0E9D-BF3C-A1C244ABFC55}"/>
                </a:ext>
              </a:extLst>
            </p:cNvPr>
            <p:cNvSpPr/>
            <p:nvPr/>
          </p:nvSpPr>
          <p:spPr>
            <a:xfrm>
              <a:off x="2512865" y="2993910"/>
              <a:ext cx="145342" cy="96359"/>
            </a:xfrm>
            <a:custGeom>
              <a:avLst/>
              <a:gdLst>
                <a:gd name="connsiteX0" fmla="*/ 141990 w 145342"/>
                <a:gd name="connsiteY0" fmla="*/ 77881 h 96359"/>
                <a:gd name="connsiteX1" fmla="*/ 138135 w 145342"/>
                <a:gd name="connsiteY1" fmla="*/ 86876 h 96359"/>
                <a:gd name="connsiteX2" fmla="*/ 128497 w 145342"/>
                <a:gd name="connsiteY2" fmla="*/ 93301 h 96359"/>
                <a:gd name="connsiteX3" fmla="*/ 118218 w 145342"/>
                <a:gd name="connsiteY3" fmla="*/ 95871 h 96359"/>
                <a:gd name="connsiteX4" fmla="*/ 78383 w 145342"/>
                <a:gd name="connsiteY4" fmla="*/ 85591 h 96359"/>
                <a:gd name="connsiteX5" fmla="*/ 53326 w 145342"/>
                <a:gd name="connsiteY5" fmla="*/ 54109 h 96359"/>
                <a:gd name="connsiteX6" fmla="*/ 48187 w 145342"/>
                <a:gd name="connsiteY6" fmla="*/ 44472 h 96359"/>
                <a:gd name="connsiteX7" fmla="*/ 35979 w 145342"/>
                <a:gd name="connsiteY7" fmla="*/ 34835 h 96359"/>
                <a:gd name="connsiteX8" fmla="*/ 20560 w 145342"/>
                <a:gd name="connsiteY8" fmla="*/ 27125 h 96359"/>
                <a:gd name="connsiteX9" fmla="*/ 7067 w 145342"/>
                <a:gd name="connsiteY9" fmla="*/ 19415 h 96359"/>
                <a:gd name="connsiteX10" fmla="*/ 0 w 145342"/>
                <a:gd name="connsiteY10" fmla="*/ 6565 h 96359"/>
                <a:gd name="connsiteX11" fmla="*/ 2570 w 145342"/>
                <a:gd name="connsiteY11" fmla="*/ 783 h 96359"/>
                <a:gd name="connsiteX12" fmla="*/ 13492 w 145342"/>
                <a:gd name="connsiteY12" fmla="*/ 3353 h 96359"/>
                <a:gd name="connsiteX13" fmla="*/ 110508 w 145342"/>
                <a:gd name="connsiteY13" fmla="*/ 30980 h 96359"/>
                <a:gd name="connsiteX14" fmla="*/ 129140 w 145342"/>
                <a:gd name="connsiteY14" fmla="*/ 32907 h 96359"/>
                <a:gd name="connsiteX15" fmla="*/ 144560 w 145342"/>
                <a:gd name="connsiteY15" fmla="*/ 52824 h 96359"/>
                <a:gd name="connsiteX16" fmla="*/ 141990 w 145342"/>
                <a:gd name="connsiteY16" fmla="*/ 77881 h 96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42" h="96359">
                  <a:moveTo>
                    <a:pt x="141990" y="77881"/>
                  </a:moveTo>
                  <a:cubicBezTo>
                    <a:pt x="141347" y="81094"/>
                    <a:pt x="140062" y="84306"/>
                    <a:pt x="138135" y="86876"/>
                  </a:cubicBezTo>
                  <a:cubicBezTo>
                    <a:pt x="135565" y="90089"/>
                    <a:pt x="131710" y="92016"/>
                    <a:pt x="128497" y="93301"/>
                  </a:cubicBezTo>
                  <a:cubicBezTo>
                    <a:pt x="125285" y="94586"/>
                    <a:pt x="121430" y="95871"/>
                    <a:pt x="118218" y="95871"/>
                  </a:cubicBezTo>
                  <a:cubicBezTo>
                    <a:pt x="104083" y="97799"/>
                    <a:pt x="89948" y="93944"/>
                    <a:pt x="78383" y="85591"/>
                  </a:cubicBezTo>
                  <a:cubicBezTo>
                    <a:pt x="66819" y="77881"/>
                    <a:pt x="59109" y="66317"/>
                    <a:pt x="53326" y="54109"/>
                  </a:cubicBezTo>
                  <a:cubicBezTo>
                    <a:pt x="52042" y="50897"/>
                    <a:pt x="50757" y="47042"/>
                    <a:pt x="48187" y="44472"/>
                  </a:cubicBezTo>
                  <a:cubicBezTo>
                    <a:pt x="44974" y="40617"/>
                    <a:pt x="40477" y="37405"/>
                    <a:pt x="35979" y="34835"/>
                  </a:cubicBezTo>
                  <a:cubicBezTo>
                    <a:pt x="30839" y="32265"/>
                    <a:pt x="25699" y="29695"/>
                    <a:pt x="20560" y="27125"/>
                  </a:cubicBezTo>
                  <a:cubicBezTo>
                    <a:pt x="16062" y="24555"/>
                    <a:pt x="10922" y="22628"/>
                    <a:pt x="7067" y="19415"/>
                  </a:cubicBezTo>
                  <a:cubicBezTo>
                    <a:pt x="3212" y="16203"/>
                    <a:pt x="0" y="11705"/>
                    <a:pt x="0" y="6565"/>
                  </a:cubicBezTo>
                  <a:cubicBezTo>
                    <a:pt x="0" y="4638"/>
                    <a:pt x="643" y="2068"/>
                    <a:pt x="2570" y="783"/>
                  </a:cubicBezTo>
                  <a:cubicBezTo>
                    <a:pt x="5782" y="-1144"/>
                    <a:pt x="10280" y="783"/>
                    <a:pt x="13492" y="3353"/>
                  </a:cubicBezTo>
                  <a:cubicBezTo>
                    <a:pt x="41762" y="21985"/>
                    <a:pt x="76456" y="31622"/>
                    <a:pt x="110508" y="30980"/>
                  </a:cubicBezTo>
                  <a:cubicBezTo>
                    <a:pt x="116933" y="30980"/>
                    <a:pt x="123358" y="30337"/>
                    <a:pt x="129140" y="32907"/>
                  </a:cubicBezTo>
                  <a:cubicBezTo>
                    <a:pt x="137492" y="36120"/>
                    <a:pt x="142632" y="44472"/>
                    <a:pt x="144560" y="52824"/>
                  </a:cubicBezTo>
                  <a:cubicBezTo>
                    <a:pt x="146487" y="61177"/>
                    <a:pt x="144560" y="69529"/>
                    <a:pt x="141990" y="77881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 19">
              <a:extLst>
                <a:ext uri="{FF2B5EF4-FFF2-40B4-BE49-F238E27FC236}">
                  <a16:creationId xmlns:a16="http://schemas.microsoft.com/office/drawing/2014/main" id="{300E457C-97CD-D24F-EC67-D63419D6E6AB}"/>
                </a:ext>
              </a:extLst>
            </p:cNvPr>
            <p:cNvSpPr/>
            <p:nvPr/>
          </p:nvSpPr>
          <p:spPr>
            <a:xfrm>
              <a:off x="1747895" y="3310513"/>
              <a:ext cx="1048959" cy="942230"/>
            </a:xfrm>
            <a:custGeom>
              <a:avLst/>
              <a:gdLst>
                <a:gd name="connsiteX0" fmla="*/ 1046380 w 1048959"/>
                <a:gd name="connsiteY0" fmla="*/ 378709 h 942230"/>
                <a:gd name="connsiteX1" fmla="*/ 1000121 w 1048959"/>
                <a:gd name="connsiteY1" fmla="*/ 433963 h 942230"/>
                <a:gd name="connsiteX2" fmla="*/ 959001 w 1048959"/>
                <a:gd name="connsiteY2" fmla="*/ 469300 h 942230"/>
                <a:gd name="connsiteX3" fmla="*/ 934587 w 1048959"/>
                <a:gd name="connsiteY3" fmla="*/ 460305 h 942230"/>
                <a:gd name="connsiteX4" fmla="*/ 937157 w 1048959"/>
                <a:gd name="connsiteY4" fmla="*/ 445528 h 942230"/>
                <a:gd name="connsiteX5" fmla="*/ 886400 w 1048959"/>
                <a:gd name="connsiteY5" fmla="*/ 445528 h 942230"/>
                <a:gd name="connsiteX6" fmla="*/ 890255 w 1048959"/>
                <a:gd name="connsiteY6" fmla="*/ 468657 h 942230"/>
                <a:gd name="connsiteX7" fmla="*/ 878048 w 1048959"/>
                <a:gd name="connsiteY7" fmla="*/ 487932 h 942230"/>
                <a:gd name="connsiteX8" fmla="*/ 842711 w 1048959"/>
                <a:gd name="connsiteY8" fmla="*/ 494357 h 942230"/>
                <a:gd name="connsiteX9" fmla="*/ 813799 w 1048959"/>
                <a:gd name="connsiteY9" fmla="*/ 509776 h 942230"/>
                <a:gd name="connsiteX10" fmla="*/ 794525 w 1048959"/>
                <a:gd name="connsiteY10" fmla="*/ 536119 h 942230"/>
                <a:gd name="connsiteX11" fmla="*/ 808659 w 1048959"/>
                <a:gd name="connsiteY11" fmla="*/ 553466 h 942230"/>
                <a:gd name="connsiteX12" fmla="*/ 834359 w 1048959"/>
                <a:gd name="connsiteY12" fmla="*/ 540616 h 942230"/>
                <a:gd name="connsiteX13" fmla="*/ 842711 w 1048959"/>
                <a:gd name="connsiteY13" fmla="*/ 570813 h 942230"/>
                <a:gd name="connsiteX14" fmla="*/ 836929 w 1048959"/>
                <a:gd name="connsiteY14" fmla="*/ 589445 h 942230"/>
                <a:gd name="connsiteX15" fmla="*/ 811229 w 1048959"/>
                <a:gd name="connsiteY15" fmla="*/ 620927 h 942230"/>
                <a:gd name="connsiteX16" fmla="*/ 788100 w 1048959"/>
                <a:gd name="connsiteY16" fmla="*/ 632492 h 942230"/>
                <a:gd name="connsiteX17" fmla="*/ 743768 w 1048959"/>
                <a:gd name="connsiteY17" fmla="*/ 710875 h 942230"/>
                <a:gd name="connsiteX18" fmla="*/ 711644 w 1048959"/>
                <a:gd name="connsiteY18" fmla="*/ 721797 h 942230"/>
                <a:gd name="connsiteX19" fmla="*/ 709074 w 1048959"/>
                <a:gd name="connsiteY19" fmla="*/ 707020 h 942230"/>
                <a:gd name="connsiteX20" fmla="*/ 659602 w 1048959"/>
                <a:gd name="connsiteY20" fmla="*/ 750067 h 942230"/>
                <a:gd name="connsiteX21" fmla="*/ 673737 w 1048959"/>
                <a:gd name="connsiteY21" fmla="*/ 760989 h 942230"/>
                <a:gd name="connsiteX22" fmla="*/ 673737 w 1048959"/>
                <a:gd name="connsiteY22" fmla="*/ 777694 h 942230"/>
                <a:gd name="connsiteX23" fmla="*/ 653177 w 1048959"/>
                <a:gd name="connsiteY23" fmla="*/ 793756 h 942230"/>
                <a:gd name="connsiteX24" fmla="*/ 644825 w 1048959"/>
                <a:gd name="connsiteY24" fmla="*/ 794399 h 942230"/>
                <a:gd name="connsiteX25" fmla="*/ 604991 w 1048959"/>
                <a:gd name="connsiteY25" fmla="*/ 751352 h 942230"/>
                <a:gd name="connsiteX26" fmla="*/ 580576 w 1048959"/>
                <a:gd name="connsiteY26" fmla="*/ 694813 h 942230"/>
                <a:gd name="connsiteX27" fmla="*/ 549095 w 1048959"/>
                <a:gd name="connsiteY27" fmla="*/ 701880 h 942230"/>
                <a:gd name="connsiteX28" fmla="*/ 555519 w 1048959"/>
                <a:gd name="connsiteY28" fmla="*/ 723725 h 942230"/>
                <a:gd name="connsiteX29" fmla="*/ 552307 w 1048959"/>
                <a:gd name="connsiteY29" fmla="*/ 737860 h 942230"/>
                <a:gd name="connsiteX30" fmla="*/ 502835 w 1048959"/>
                <a:gd name="connsiteY30" fmla="*/ 774481 h 942230"/>
                <a:gd name="connsiteX31" fmla="*/ 460431 w 1048959"/>
                <a:gd name="connsiteY31" fmla="*/ 782834 h 942230"/>
                <a:gd name="connsiteX32" fmla="*/ 441157 w 1048959"/>
                <a:gd name="connsiteY32" fmla="*/ 807248 h 942230"/>
                <a:gd name="connsiteX33" fmla="*/ 388473 w 1048959"/>
                <a:gd name="connsiteY33" fmla="*/ 828450 h 942230"/>
                <a:gd name="connsiteX34" fmla="*/ 304949 w 1048959"/>
                <a:gd name="connsiteY34" fmla="*/ 847725 h 942230"/>
                <a:gd name="connsiteX35" fmla="*/ 256763 w 1048959"/>
                <a:gd name="connsiteY35" fmla="*/ 897839 h 942230"/>
                <a:gd name="connsiteX36" fmla="*/ 265115 w 1048959"/>
                <a:gd name="connsiteY36" fmla="*/ 923538 h 942230"/>
                <a:gd name="connsiteX37" fmla="*/ 248410 w 1048959"/>
                <a:gd name="connsiteY37" fmla="*/ 942171 h 942230"/>
                <a:gd name="connsiteX38" fmla="*/ 198296 w 1048959"/>
                <a:gd name="connsiteY38" fmla="*/ 920968 h 942230"/>
                <a:gd name="connsiteX39" fmla="*/ 142400 w 1048959"/>
                <a:gd name="connsiteY39" fmla="*/ 936388 h 942230"/>
                <a:gd name="connsiteX40" fmla="*/ 136618 w 1048959"/>
                <a:gd name="connsiteY40" fmla="*/ 938316 h 942230"/>
                <a:gd name="connsiteX41" fmla="*/ 132763 w 1048959"/>
                <a:gd name="connsiteY41" fmla="*/ 918398 h 942230"/>
                <a:gd name="connsiteX42" fmla="*/ 125695 w 1048959"/>
                <a:gd name="connsiteY42" fmla="*/ 906191 h 942230"/>
                <a:gd name="connsiteX43" fmla="*/ 125695 w 1048959"/>
                <a:gd name="connsiteY43" fmla="*/ 905549 h 942230"/>
                <a:gd name="connsiteX44" fmla="*/ 126338 w 1048959"/>
                <a:gd name="connsiteY44" fmla="*/ 904906 h 942230"/>
                <a:gd name="connsiteX45" fmla="*/ 129550 w 1048959"/>
                <a:gd name="connsiteY45" fmla="*/ 900409 h 942230"/>
                <a:gd name="connsiteX46" fmla="*/ 130193 w 1048959"/>
                <a:gd name="connsiteY46" fmla="*/ 899124 h 942230"/>
                <a:gd name="connsiteX47" fmla="*/ 132120 w 1048959"/>
                <a:gd name="connsiteY47" fmla="*/ 896554 h 942230"/>
                <a:gd name="connsiteX48" fmla="*/ 132120 w 1048959"/>
                <a:gd name="connsiteY48" fmla="*/ 896554 h 942230"/>
                <a:gd name="connsiteX49" fmla="*/ 134048 w 1048959"/>
                <a:gd name="connsiteY49" fmla="*/ 884347 h 942230"/>
                <a:gd name="connsiteX50" fmla="*/ 117343 w 1048959"/>
                <a:gd name="connsiteY50" fmla="*/ 866999 h 942230"/>
                <a:gd name="connsiteX51" fmla="*/ 98711 w 1048959"/>
                <a:gd name="connsiteY51" fmla="*/ 852865 h 942230"/>
                <a:gd name="connsiteX52" fmla="*/ 101923 w 1048959"/>
                <a:gd name="connsiteY52" fmla="*/ 818170 h 942230"/>
                <a:gd name="connsiteX53" fmla="*/ 84576 w 1048959"/>
                <a:gd name="connsiteY53" fmla="*/ 796968 h 942230"/>
                <a:gd name="connsiteX54" fmla="*/ 51809 w 1048959"/>
                <a:gd name="connsiteY54" fmla="*/ 769984 h 942230"/>
                <a:gd name="connsiteX55" fmla="*/ 35747 w 1048959"/>
                <a:gd name="connsiteY55" fmla="*/ 752637 h 942230"/>
                <a:gd name="connsiteX56" fmla="*/ 31892 w 1048959"/>
                <a:gd name="connsiteY56" fmla="*/ 734005 h 942230"/>
                <a:gd name="connsiteX57" fmla="*/ 31892 w 1048959"/>
                <a:gd name="connsiteY57" fmla="*/ 723725 h 942230"/>
                <a:gd name="connsiteX58" fmla="*/ 45384 w 1048959"/>
                <a:gd name="connsiteY58" fmla="*/ 705735 h 942230"/>
                <a:gd name="connsiteX59" fmla="*/ 56949 w 1048959"/>
                <a:gd name="connsiteY59" fmla="*/ 690315 h 942230"/>
                <a:gd name="connsiteX60" fmla="*/ 49239 w 1048959"/>
                <a:gd name="connsiteY60" fmla="*/ 664616 h 942230"/>
                <a:gd name="connsiteX61" fmla="*/ 37675 w 1048959"/>
                <a:gd name="connsiteY61" fmla="*/ 656906 h 942230"/>
                <a:gd name="connsiteX62" fmla="*/ 23540 w 1048959"/>
                <a:gd name="connsiteY62" fmla="*/ 656264 h 942230"/>
                <a:gd name="connsiteX63" fmla="*/ 1053 w 1048959"/>
                <a:gd name="connsiteY63" fmla="*/ 653051 h 942230"/>
                <a:gd name="connsiteX64" fmla="*/ 1053 w 1048959"/>
                <a:gd name="connsiteY64" fmla="*/ 640844 h 942230"/>
                <a:gd name="connsiteX65" fmla="*/ 2338 w 1048959"/>
                <a:gd name="connsiteY65" fmla="*/ 621569 h 942230"/>
                <a:gd name="connsiteX66" fmla="*/ 15830 w 1048959"/>
                <a:gd name="connsiteY66" fmla="*/ 613217 h 942230"/>
                <a:gd name="connsiteX67" fmla="*/ 35747 w 1048959"/>
                <a:gd name="connsiteY67" fmla="*/ 609362 h 942230"/>
                <a:gd name="connsiteX68" fmla="*/ 62089 w 1048959"/>
                <a:gd name="connsiteY68" fmla="*/ 593942 h 942230"/>
                <a:gd name="connsiteX69" fmla="*/ 64659 w 1048959"/>
                <a:gd name="connsiteY69" fmla="*/ 579165 h 942230"/>
                <a:gd name="connsiteX70" fmla="*/ 58234 w 1048959"/>
                <a:gd name="connsiteY70" fmla="*/ 565673 h 942230"/>
                <a:gd name="connsiteX71" fmla="*/ 59519 w 1048959"/>
                <a:gd name="connsiteY71" fmla="*/ 547683 h 942230"/>
                <a:gd name="connsiteX72" fmla="*/ 64659 w 1048959"/>
                <a:gd name="connsiteY72" fmla="*/ 532906 h 942230"/>
                <a:gd name="connsiteX73" fmla="*/ 88431 w 1048959"/>
                <a:gd name="connsiteY73" fmla="*/ 510419 h 942230"/>
                <a:gd name="connsiteX74" fmla="*/ 91644 w 1048959"/>
                <a:gd name="connsiteY74" fmla="*/ 496284 h 942230"/>
                <a:gd name="connsiteX75" fmla="*/ 97426 w 1048959"/>
                <a:gd name="connsiteY75" fmla="*/ 489859 h 942230"/>
                <a:gd name="connsiteX76" fmla="*/ 104493 w 1048959"/>
                <a:gd name="connsiteY76" fmla="*/ 484077 h 942230"/>
                <a:gd name="connsiteX77" fmla="*/ 104493 w 1048959"/>
                <a:gd name="connsiteY77" fmla="*/ 468015 h 942230"/>
                <a:gd name="connsiteX78" fmla="*/ 104493 w 1048959"/>
                <a:gd name="connsiteY78" fmla="*/ 433963 h 942230"/>
                <a:gd name="connsiteX79" fmla="*/ 94856 w 1048959"/>
                <a:gd name="connsiteY79" fmla="*/ 415331 h 942230"/>
                <a:gd name="connsiteX80" fmla="*/ 90359 w 1048959"/>
                <a:gd name="connsiteY80" fmla="*/ 403766 h 942230"/>
                <a:gd name="connsiteX81" fmla="*/ 72369 w 1048959"/>
                <a:gd name="connsiteY81" fmla="*/ 378067 h 942230"/>
                <a:gd name="connsiteX82" fmla="*/ 57592 w 1048959"/>
                <a:gd name="connsiteY82" fmla="*/ 356222 h 942230"/>
                <a:gd name="connsiteX83" fmla="*/ 53737 w 1048959"/>
                <a:gd name="connsiteY83" fmla="*/ 339517 h 942230"/>
                <a:gd name="connsiteX84" fmla="*/ 38960 w 1048959"/>
                <a:gd name="connsiteY84" fmla="*/ 321528 h 942230"/>
                <a:gd name="connsiteX85" fmla="*/ 35105 w 1048959"/>
                <a:gd name="connsiteY85" fmla="*/ 311248 h 942230"/>
                <a:gd name="connsiteX86" fmla="*/ 42814 w 1048959"/>
                <a:gd name="connsiteY86" fmla="*/ 302896 h 942230"/>
                <a:gd name="connsiteX87" fmla="*/ 40245 w 1048959"/>
                <a:gd name="connsiteY87" fmla="*/ 293258 h 942230"/>
                <a:gd name="connsiteX88" fmla="*/ 47312 w 1048959"/>
                <a:gd name="connsiteY88" fmla="*/ 284264 h 942230"/>
                <a:gd name="connsiteX89" fmla="*/ 72369 w 1048959"/>
                <a:gd name="connsiteY89" fmla="*/ 269486 h 942230"/>
                <a:gd name="connsiteX90" fmla="*/ 90359 w 1048959"/>
                <a:gd name="connsiteY90" fmla="*/ 256637 h 942230"/>
                <a:gd name="connsiteX91" fmla="*/ 115416 w 1048959"/>
                <a:gd name="connsiteY91" fmla="*/ 259849 h 942230"/>
                <a:gd name="connsiteX92" fmla="*/ 155892 w 1048959"/>
                <a:gd name="connsiteY92" fmla="*/ 277839 h 942230"/>
                <a:gd name="connsiteX93" fmla="*/ 184162 w 1048959"/>
                <a:gd name="connsiteY93" fmla="*/ 275269 h 942230"/>
                <a:gd name="connsiteX94" fmla="*/ 218856 w 1048959"/>
                <a:gd name="connsiteY94" fmla="*/ 260491 h 942230"/>
                <a:gd name="connsiteX95" fmla="*/ 249695 w 1048959"/>
                <a:gd name="connsiteY95" fmla="*/ 250854 h 942230"/>
                <a:gd name="connsiteX96" fmla="*/ 269612 w 1048959"/>
                <a:gd name="connsiteY96" fmla="*/ 253424 h 942230"/>
                <a:gd name="connsiteX97" fmla="*/ 286960 w 1048959"/>
                <a:gd name="connsiteY97" fmla="*/ 236077 h 942230"/>
                <a:gd name="connsiteX98" fmla="*/ 291457 w 1048959"/>
                <a:gd name="connsiteY98" fmla="*/ 216160 h 942230"/>
                <a:gd name="connsiteX99" fmla="*/ 263188 w 1048959"/>
                <a:gd name="connsiteY99" fmla="*/ 201383 h 942230"/>
                <a:gd name="connsiteX100" fmla="*/ 260618 w 1048959"/>
                <a:gd name="connsiteY100" fmla="*/ 191103 h 942230"/>
                <a:gd name="connsiteX101" fmla="*/ 270898 w 1048959"/>
                <a:gd name="connsiteY101" fmla="*/ 176326 h 942230"/>
                <a:gd name="connsiteX102" fmla="*/ 284390 w 1048959"/>
                <a:gd name="connsiteY102" fmla="*/ 166046 h 942230"/>
                <a:gd name="connsiteX103" fmla="*/ 302379 w 1048959"/>
                <a:gd name="connsiteY103" fmla="*/ 160263 h 942230"/>
                <a:gd name="connsiteX104" fmla="*/ 313302 w 1048959"/>
                <a:gd name="connsiteY104" fmla="*/ 143559 h 942230"/>
                <a:gd name="connsiteX105" fmla="*/ 337074 w 1048959"/>
                <a:gd name="connsiteY105" fmla="*/ 132636 h 942230"/>
                <a:gd name="connsiteX106" fmla="*/ 350566 w 1048959"/>
                <a:gd name="connsiteY106" fmla="*/ 120429 h 942230"/>
                <a:gd name="connsiteX107" fmla="*/ 358276 w 1048959"/>
                <a:gd name="connsiteY107" fmla="*/ 111434 h 942230"/>
                <a:gd name="connsiteX108" fmla="*/ 360203 w 1048959"/>
                <a:gd name="connsiteY108" fmla="*/ 110792 h 942230"/>
                <a:gd name="connsiteX109" fmla="*/ 375623 w 1048959"/>
                <a:gd name="connsiteY109" fmla="*/ 103725 h 942230"/>
                <a:gd name="connsiteX110" fmla="*/ 390400 w 1048959"/>
                <a:gd name="connsiteY110" fmla="*/ 101797 h 942230"/>
                <a:gd name="connsiteX111" fmla="*/ 432162 w 1048959"/>
                <a:gd name="connsiteY111" fmla="*/ 101155 h 942230"/>
                <a:gd name="connsiteX112" fmla="*/ 467499 w 1048959"/>
                <a:gd name="connsiteY112" fmla="*/ 78025 h 942230"/>
                <a:gd name="connsiteX113" fmla="*/ 520825 w 1048959"/>
                <a:gd name="connsiteY113" fmla="*/ 34978 h 942230"/>
                <a:gd name="connsiteX114" fmla="*/ 538172 w 1048959"/>
                <a:gd name="connsiteY114" fmla="*/ 30481 h 942230"/>
                <a:gd name="connsiteX115" fmla="*/ 563872 w 1048959"/>
                <a:gd name="connsiteY115" fmla="*/ 56823 h 942230"/>
                <a:gd name="connsiteX116" fmla="*/ 613343 w 1048959"/>
                <a:gd name="connsiteY116" fmla="*/ 65175 h 942230"/>
                <a:gd name="connsiteX117" fmla="*/ 617841 w 1048959"/>
                <a:gd name="connsiteY117" fmla="*/ 72885 h 942230"/>
                <a:gd name="connsiteX118" fmla="*/ 618483 w 1048959"/>
                <a:gd name="connsiteY118" fmla="*/ 103082 h 942230"/>
                <a:gd name="connsiteX119" fmla="*/ 603706 w 1048959"/>
                <a:gd name="connsiteY119" fmla="*/ 149341 h 942230"/>
                <a:gd name="connsiteX120" fmla="*/ 595354 w 1048959"/>
                <a:gd name="connsiteY120" fmla="*/ 179538 h 942230"/>
                <a:gd name="connsiteX121" fmla="*/ 638400 w 1048959"/>
                <a:gd name="connsiteY121" fmla="*/ 207807 h 942230"/>
                <a:gd name="connsiteX122" fmla="*/ 688514 w 1048959"/>
                <a:gd name="connsiteY122" fmla="*/ 180823 h 942230"/>
                <a:gd name="connsiteX123" fmla="*/ 703934 w 1048959"/>
                <a:gd name="connsiteY123" fmla="*/ 168616 h 942230"/>
                <a:gd name="connsiteX124" fmla="*/ 725136 w 1048959"/>
                <a:gd name="connsiteY124" fmla="*/ 167973 h 942230"/>
                <a:gd name="connsiteX125" fmla="*/ 750836 w 1048959"/>
                <a:gd name="connsiteY125" fmla="*/ 169901 h 942230"/>
                <a:gd name="connsiteX126" fmla="*/ 760473 w 1048959"/>
                <a:gd name="connsiteY126" fmla="*/ 154481 h 942230"/>
                <a:gd name="connsiteX127" fmla="*/ 769468 w 1048959"/>
                <a:gd name="connsiteY127" fmla="*/ 145486 h 942230"/>
                <a:gd name="connsiteX128" fmla="*/ 767540 w 1048959"/>
                <a:gd name="connsiteY128" fmla="*/ 134564 h 942230"/>
                <a:gd name="connsiteX129" fmla="*/ 759830 w 1048959"/>
                <a:gd name="connsiteY129" fmla="*/ 124927 h 942230"/>
                <a:gd name="connsiteX130" fmla="*/ 752763 w 1048959"/>
                <a:gd name="connsiteY130" fmla="*/ 105009 h 942230"/>
                <a:gd name="connsiteX131" fmla="*/ 750193 w 1048959"/>
                <a:gd name="connsiteY131" fmla="*/ 75455 h 942230"/>
                <a:gd name="connsiteX132" fmla="*/ 746981 w 1048959"/>
                <a:gd name="connsiteY132" fmla="*/ 58750 h 942230"/>
                <a:gd name="connsiteX133" fmla="*/ 738628 w 1048959"/>
                <a:gd name="connsiteY133" fmla="*/ 56823 h 942230"/>
                <a:gd name="connsiteX134" fmla="*/ 731561 w 1048959"/>
                <a:gd name="connsiteY134" fmla="*/ 42688 h 942230"/>
                <a:gd name="connsiteX135" fmla="*/ 741198 w 1048959"/>
                <a:gd name="connsiteY135" fmla="*/ 28554 h 942230"/>
                <a:gd name="connsiteX136" fmla="*/ 804804 w 1048959"/>
                <a:gd name="connsiteY136" fmla="*/ 1569 h 942230"/>
                <a:gd name="connsiteX137" fmla="*/ 826007 w 1048959"/>
                <a:gd name="connsiteY137" fmla="*/ 4782 h 942230"/>
                <a:gd name="connsiteX138" fmla="*/ 827934 w 1048959"/>
                <a:gd name="connsiteY138" fmla="*/ 14419 h 942230"/>
                <a:gd name="connsiteX139" fmla="*/ 827291 w 1048959"/>
                <a:gd name="connsiteY139" fmla="*/ 31123 h 942230"/>
                <a:gd name="connsiteX140" fmla="*/ 829219 w 1048959"/>
                <a:gd name="connsiteY140" fmla="*/ 43973 h 942230"/>
                <a:gd name="connsiteX141" fmla="*/ 853633 w 1048959"/>
                <a:gd name="connsiteY141" fmla="*/ 52326 h 942230"/>
                <a:gd name="connsiteX142" fmla="*/ 883188 w 1048959"/>
                <a:gd name="connsiteY142" fmla="*/ 48471 h 942230"/>
                <a:gd name="connsiteX143" fmla="*/ 906317 w 1048959"/>
                <a:gd name="connsiteY143" fmla="*/ 31766 h 942230"/>
                <a:gd name="connsiteX144" fmla="*/ 922380 w 1048959"/>
                <a:gd name="connsiteY144" fmla="*/ 6066 h 942230"/>
                <a:gd name="connsiteX145" fmla="*/ 933944 w 1048959"/>
                <a:gd name="connsiteY145" fmla="*/ 3497 h 942230"/>
                <a:gd name="connsiteX146" fmla="*/ 948722 w 1048959"/>
                <a:gd name="connsiteY146" fmla="*/ 7351 h 942230"/>
                <a:gd name="connsiteX147" fmla="*/ 950007 w 1048959"/>
                <a:gd name="connsiteY147" fmla="*/ 13776 h 942230"/>
                <a:gd name="connsiteX148" fmla="*/ 942939 w 1048959"/>
                <a:gd name="connsiteY148" fmla="*/ 53610 h 942230"/>
                <a:gd name="connsiteX149" fmla="*/ 932017 w 1048959"/>
                <a:gd name="connsiteY149" fmla="*/ 74170 h 942230"/>
                <a:gd name="connsiteX150" fmla="*/ 917882 w 1048959"/>
                <a:gd name="connsiteY150" fmla="*/ 77383 h 942230"/>
                <a:gd name="connsiteX151" fmla="*/ 912100 w 1048959"/>
                <a:gd name="connsiteY151" fmla="*/ 78668 h 942230"/>
                <a:gd name="connsiteX152" fmla="*/ 908887 w 1048959"/>
                <a:gd name="connsiteY152" fmla="*/ 85735 h 942230"/>
                <a:gd name="connsiteX153" fmla="*/ 906960 w 1048959"/>
                <a:gd name="connsiteY153" fmla="*/ 115932 h 942230"/>
                <a:gd name="connsiteX154" fmla="*/ 930089 w 1048959"/>
                <a:gd name="connsiteY154" fmla="*/ 156408 h 942230"/>
                <a:gd name="connsiteX155" fmla="*/ 935872 w 1048959"/>
                <a:gd name="connsiteY155" fmla="*/ 160906 h 942230"/>
                <a:gd name="connsiteX156" fmla="*/ 943582 w 1048959"/>
                <a:gd name="connsiteY156" fmla="*/ 161548 h 942230"/>
                <a:gd name="connsiteX157" fmla="*/ 955789 w 1048959"/>
                <a:gd name="connsiteY157" fmla="*/ 171186 h 942230"/>
                <a:gd name="connsiteX158" fmla="*/ 962214 w 1048959"/>
                <a:gd name="connsiteY158" fmla="*/ 185320 h 942230"/>
                <a:gd name="connsiteX159" fmla="*/ 989198 w 1048959"/>
                <a:gd name="connsiteY159" fmla="*/ 223870 h 942230"/>
                <a:gd name="connsiteX160" fmla="*/ 1005261 w 1048959"/>
                <a:gd name="connsiteY160" fmla="*/ 268201 h 942230"/>
                <a:gd name="connsiteX161" fmla="*/ 1007830 w 1048959"/>
                <a:gd name="connsiteY161" fmla="*/ 281051 h 942230"/>
                <a:gd name="connsiteX162" fmla="*/ 1018110 w 1048959"/>
                <a:gd name="connsiteY162" fmla="*/ 288118 h 942230"/>
                <a:gd name="connsiteX163" fmla="*/ 1032245 w 1048959"/>
                <a:gd name="connsiteY163" fmla="*/ 279766 h 942230"/>
                <a:gd name="connsiteX164" fmla="*/ 1036742 w 1048959"/>
                <a:gd name="connsiteY164" fmla="*/ 277839 h 942230"/>
                <a:gd name="connsiteX165" fmla="*/ 1043810 w 1048959"/>
                <a:gd name="connsiteY165" fmla="*/ 284264 h 942230"/>
                <a:gd name="connsiteX166" fmla="*/ 1042525 w 1048959"/>
                <a:gd name="connsiteY166" fmla="*/ 324098 h 942230"/>
                <a:gd name="connsiteX167" fmla="*/ 1032887 w 1048959"/>
                <a:gd name="connsiteY167" fmla="*/ 332450 h 942230"/>
                <a:gd name="connsiteX168" fmla="*/ 1018753 w 1048959"/>
                <a:gd name="connsiteY168" fmla="*/ 364574 h 942230"/>
                <a:gd name="connsiteX169" fmla="*/ 1022608 w 1048959"/>
                <a:gd name="connsiteY169" fmla="*/ 381279 h 942230"/>
                <a:gd name="connsiteX170" fmla="*/ 1038027 w 1048959"/>
                <a:gd name="connsiteY170" fmla="*/ 378709 h 942230"/>
                <a:gd name="connsiteX171" fmla="*/ 1041240 w 1048959"/>
                <a:gd name="connsiteY171" fmla="*/ 376139 h 942230"/>
                <a:gd name="connsiteX172" fmla="*/ 1046380 w 1048959"/>
                <a:gd name="connsiteY172" fmla="*/ 378709 h 942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048959" h="942230">
                  <a:moveTo>
                    <a:pt x="1046380" y="378709"/>
                  </a:moveTo>
                  <a:cubicBezTo>
                    <a:pt x="1030317" y="397984"/>
                    <a:pt x="1008473" y="424326"/>
                    <a:pt x="1000121" y="433963"/>
                  </a:cubicBezTo>
                  <a:cubicBezTo>
                    <a:pt x="985986" y="450668"/>
                    <a:pt x="970566" y="456450"/>
                    <a:pt x="959001" y="469300"/>
                  </a:cubicBezTo>
                  <a:cubicBezTo>
                    <a:pt x="947437" y="482150"/>
                    <a:pt x="939084" y="469942"/>
                    <a:pt x="934587" y="460305"/>
                  </a:cubicBezTo>
                  <a:cubicBezTo>
                    <a:pt x="930732" y="450668"/>
                    <a:pt x="938442" y="455808"/>
                    <a:pt x="937157" y="445528"/>
                  </a:cubicBezTo>
                  <a:cubicBezTo>
                    <a:pt x="935872" y="435248"/>
                    <a:pt x="902463" y="439745"/>
                    <a:pt x="886400" y="445528"/>
                  </a:cubicBezTo>
                  <a:cubicBezTo>
                    <a:pt x="870338" y="451310"/>
                    <a:pt x="887043" y="462232"/>
                    <a:pt x="890255" y="468657"/>
                  </a:cubicBezTo>
                  <a:cubicBezTo>
                    <a:pt x="893468" y="475082"/>
                    <a:pt x="885115" y="480865"/>
                    <a:pt x="878048" y="487932"/>
                  </a:cubicBezTo>
                  <a:cubicBezTo>
                    <a:pt x="870981" y="494999"/>
                    <a:pt x="853633" y="496284"/>
                    <a:pt x="842711" y="494357"/>
                  </a:cubicBezTo>
                  <a:cubicBezTo>
                    <a:pt x="832431" y="492429"/>
                    <a:pt x="822794" y="499497"/>
                    <a:pt x="813799" y="509776"/>
                  </a:cubicBezTo>
                  <a:cubicBezTo>
                    <a:pt x="804804" y="519414"/>
                    <a:pt x="800950" y="521341"/>
                    <a:pt x="794525" y="536119"/>
                  </a:cubicBezTo>
                  <a:cubicBezTo>
                    <a:pt x="788100" y="550896"/>
                    <a:pt x="800950" y="552823"/>
                    <a:pt x="808659" y="553466"/>
                  </a:cubicBezTo>
                  <a:cubicBezTo>
                    <a:pt x="816369" y="554108"/>
                    <a:pt x="827291" y="543828"/>
                    <a:pt x="834359" y="540616"/>
                  </a:cubicBezTo>
                  <a:cubicBezTo>
                    <a:pt x="841426" y="537404"/>
                    <a:pt x="840784" y="560533"/>
                    <a:pt x="842711" y="570813"/>
                  </a:cubicBezTo>
                  <a:cubicBezTo>
                    <a:pt x="844639" y="581093"/>
                    <a:pt x="840141" y="586232"/>
                    <a:pt x="836929" y="589445"/>
                  </a:cubicBezTo>
                  <a:cubicBezTo>
                    <a:pt x="833716" y="592657"/>
                    <a:pt x="821509" y="611932"/>
                    <a:pt x="811229" y="620927"/>
                  </a:cubicBezTo>
                  <a:cubicBezTo>
                    <a:pt x="800950" y="629922"/>
                    <a:pt x="796452" y="626067"/>
                    <a:pt x="788100" y="632492"/>
                  </a:cubicBezTo>
                  <a:cubicBezTo>
                    <a:pt x="779105" y="638916"/>
                    <a:pt x="746981" y="701880"/>
                    <a:pt x="743768" y="710875"/>
                  </a:cubicBezTo>
                  <a:cubicBezTo>
                    <a:pt x="739913" y="719227"/>
                    <a:pt x="720639" y="722440"/>
                    <a:pt x="711644" y="721797"/>
                  </a:cubicBezTo>
                  <a:cubicBezTo>
                    <a:pt x="702649" y="721155"/>
                    <a:pt x="710359" y="709590"/>
                    <a:pt x="709074" y="707020"/>
                  </a:cubicBezTo>
                  <a:cubicBezTo>
                    <a:pt x="707789" y="704450"/>
                    <a:pt x="666670" y="739787"/>
                    <a:pt x="659602" y="750067"/>
                  </a:cubicBezTo>
                  <a:cubicBezTo>
                    <a:pt x="652535" y="760347"/>
                    <a:pt x="664100" y="759704"/>
                    <a:pt x="673737" y="760989"/>
                  </a:cubicBezTo>
                  <a:cubicBezTo>
                    <a:pt x="683374" y="762274"/>
                    <a:pt x="677592" y="766129"/>
                    <a:pt x="673737" y="777694"/>
                  </a:cubicBezTo>
                  <a:cubicBezTo>
                    <a:pt x="670525" y="786046"/>
                    <a:pt x="661530" y="791828"/>
                    <a:pt x="653177" y="793756"/>
                  </a:cubicBezTo>
                  <a:cubicBezTo>
                    <a:pt x="649965" y="794399"/>
                    <a:pt x="647395" y="794399"/>
                    <a:pt x="644825" y="794399"/>
                  </a:cubicBezTo>
                  <a:cubicBezTo>
                    <a:pt x="635830" y="793756"/>
                    <a:pt x="619768" y="773839"/>
                    <a:pt x="604991" y="751352"/>
                  </a:cubicBezTo>
                  <a:cubicBezTo>
                    <a:pt x="590214" y="728865"/>
                    <a:pt x="583146" y="702523"/>
                    <a:pt x="580576" y="694813"/>
                  </a:cubicBezTo>
                  <a:cubicBezTo>
                    <a:pt x="577364" y="687103"/>
                    <a:pt x="556162" y="686461"/>
                    <a:pt x="549095" y="701880"/>
                  </a:cubicBezTo>
                  <a:cubicBezTo>
                    <a:pt x="541385" y="717300"/>
                    <a:pt x="547167" y="717300"/>
                    <a:pt x="555519" y="723725"/>
                  </a:cubicBezTo>
                  <a:cubicBezTo>
                    <a:pt x="563229" y="730150"/>
                    <a:pt x="556162" y="732077"/>
                    <a:pt x="552307" y="737860"/>
                  </a:cubicBezTo>
                  <a:cubicBezTo>
                    <a:pt x="547809" y="743642"/>
                    <a:pt x="518255" y="762274"/>
                    <a:pt x="502835" y="774481"/>
                  </a:cubicBezTo>
                  <a:cubicBezTo>
                    <a:pt x="487416" y="786689"/>
                    <a:pt x="475851" y="778979"/>
                    <a:pt x="460431" y="782834"/>
                  </a:cubicBezTo>
                  <a:cubicBezTo>
                    <a:pt x="445012" y="786689"/>
                    <a:pt x="444369" y="801466"/>
                    <a:pt x="441157" y="807248"/>
                  </a:cubicBezTo>
                  <a:cubicBezTo>
                    <a:pt x="437944" y="813031"/>
                    <a:pt x="414815" y="822668"/>
                    <a:pt x="388473" y="828450"/>
                  </a:cubicBezTo>
                  <a:cubicBezTo>
                    <a:pt x="362131" y="833590"/>
                    <a:pt x="329364" y="841300"/>
                    <a:pt x="304949" y="847725"/>
                  </a:cubicBezTo>
                  <a:cubicBezTo>
                    <a:pt x="280535" y="854792"/>
                    <a:pt x="263830" y="883062"/>
                    <a:pt x="256763" y="897839"/>
                  </a:cubicBezTo>
                  <a:cubicBezTo>
                    <a:pt x="249695" y="912616"/>
                    <a:pt x="259333" y="910689"/>
                    <a:pt x="265115" y="923538"/>
                  </a:cubicBezTo>
                  <a:cubicBezTo>
                    <a:pt x="270898" y="936388"/>
                    <a:pt x="256763" y="940886"/>
                    <a:pt x="248410" y="942171"/>
                  </a:cubicBezTo>
                  <a:cubicBezTo>
                    <a:pt x="240058" y="943455"/>
                    <a:pt x="209861" y="923538"/>
                    <a:pt x="198296" y="920968"/>
                  </a:cubicBezTo>
                  <a:cubicBezTo>
                    <a:pt x="187374" y="918398"/>
                    <a:pt x="153965" y="930606"/>
                    <a:pt x="142400" y="936388"/>
                  </a:cubicBezTo>
                  <a:cubicBezTo>
                    <a:pt x="140473" y="937673"/>
                    <a:pt x="138545" y="937673"/>
                    <a:pt x="136618" y="938316"/>
                  </a:cubicBezTo>
                  <a:cubicBezTo>
                    <a:pt x="137903" y="929321"/>
                    <a:pt x="135333" y="922896"/>
                    <a:pt x="132763" y="918398"/>
                  </a:cubicBezTo>
                  <a:cubicBezTo>
                    <a:pt x="129550" y="913901"/>
                    <a:pt x="125695" y="909404"/>
                    <a:pt x="125695" y="906191"/>
                  </a:cubicBezTo>
                  <a:cubicBezTo>
                    <a:pt x="125695" y="906191"/>
                    <a:pt x="125695" y="905549"/>
                    <a:pt x="125695" y="905549"/>
                  </a:cubicBezTo>
                  <a:cubicBezTo>
                    <a:pt x="125695" y="905549"/>
                    <a:pt x="125695" y="904906"/>
                    <a:pt x="126338" y="904906"/>
                  </a:cubicBezTo>
                  <a:cubicBezTo>
                    <a:pt x="126980" y="903621"/>
                    <a:pt x="128265" y="902336"/>
                    <a:pt x="129550" y="900409"/>
                  </a:cubicBezTo>
                  <a:cubicBezTo>
                    <a:pt x="130193" y="899766"/>
                    <a:pt x="130193" y="899766"/>
                    <a:pt x="130193" y="899124"/>
                  </a:cubicBezTo>
                  <a:cubicBezTo>
                    <a:pt x="130835" y="898481"/>
                    <a:pt x="131478" y="897196"/>
                    <a:pt x="132120" y="896554"/>
                  </a:cubicBezTo>
                  <a:cubicBezTo>
                    <a:pt x="132120" y="896554"/>
                    <a:pt x="132120" y="896554"/>
                    <a:pt x="132120" y="896554"/>
                  </a:cubicBezTo>
                  <a:cubicBezTo>
                    <a:pt x="134690" y="892699"/>
                    <a:pt x="136618" y="888201"/>
                    <a:pt x="134048" y="884347"/>
                  </a:cubicBezTo>
                  <a:cubicBezTo>
                    <a:pt x="129550" y="875994"/>
                    <a:pt x="127623" y="868927"/>
                    <a:pt x="117343" y="866999"/>
                  </a:cubicBezTo>
                  <a:cubicBezTo>
                    <a:pt x="107063" y="865072"/>
                    <a:pt x="98711" y="859290"/>
                    <a:pt x="98711" y="852865"/>
                  </a:cubicBezTo>
                  <a:cubicBezTo>
                    <a:pt x="98068" y="846440"/>
                    <a:pt x="104493" y="827808"/>
                    <a:pt x="101923" y="818170"/>
                  </a:cubicBezTo>
                  <a:cubicBezTo>
                    <a:pt x="99353" y="808533"/>
                    <a:pt x="94856" y="802751"/>
                    <a:pt x="84576" y="796968"/>
                  </a:cubicBezTo>
                  <a:cubicBezTo>
                    <a:pt x="73654" y="791186"/>
                    <a:pt x="56949" y="773839"/>
                    <a:pt x="51809" y="769984"/>
                  </a:cubicBezTo>
                  <a:cubicBezTo>
                    <a:pt x="46669" y="766129"/>
                    <a:pt x="38317" y="760989"/>
                    <a:pt x="35747" y="752637"/>
                  </a:cubicBezTo>
                  <a:cubicBezTo>
                    <a:pt x="33177" y="744284"/>
                    <a:pt x="31892" y="736575"/>
                    <a:pt x="31892" y="734005"/>
                  </a:cubicBezTo>
                  <a:cubicBezTo>
                    <a:pt x="31892" y="731435"/>
                    <a:pt x="29965" y="726937"/>
                    <a:pt x="31892" y="723725"/>
                  </a:cubicBezTo>
                  <a:cubicBezTo>
                    <a:pt x="33820" y="719870"/>
                    <a:pt x="43457" y="707020"/>
                    <a:pt x="45384" y="705735"/>
                  </a:cubicBezTo>
                  <a:cubicBezTo>
                    <a:pt x="46669" y="705093"/>
                    <a:pt x="57592" y="699953"/>
                    <a:pt x="56949" y="690315"/>
                  </a:cubicBezTo>
                  <a:cubicBezTo>
                    <a:pt x="56307" y="681321"/>
                    <a:pt x="53094" y="667828"/>
                    <a:pt x="49239" y="664616"/>
                  </a:cubicBezTo>
                  <a:cubicBezTo>
                    <a:pt x="44742" y="661404"/>
                    <a:pt x="39602" y="657549"/>
                    <a:pt x="37675" y="656906"/>
                  </a:cubicBezTo>
                  <a:cubicBezTo>
                    <a:pt x="35747" y="656906"/>
                    <a:pt x="28037" y="656264"/>
                    <a:pt x="23540" y="656264"/>
                  </a:cubicBezTo>
                  <a:cubicBezTo>
                    <a:pt x="19042" y="656906"/>
                    <a:pt x="2338" y="654336"/>
                    <a:pt x="1053" y="653051"/>
                  </a:cubicBezTo>
                  <a:cubicBezTo>
                    <a:pt x="-232" y="651766"/>
                    <a:pt x="2338" y="645984"/>
                    <a:pt x="1053" y="640844"/>
                  </a:cubicBezTo>
                  <a:cubicBezTo>
                    <a:pt x="-232" y="635704"/>
                    <a:pt x="-875" y="625424"/>
                    <a:pt x="2338" y="621569"/>
                  </a:cubicBezTo>
                  <a:cubicBezTo>
                    <a:pt x="5550" y="617714"/>
                    <a:pt x="10048" y="614502"/>
                    <a:pt x="15830" y="613217"/>
                  </a:cubicBezTo>
                  <a:cubicBezTo>
                    <a:pt x="21612" y="611932"/>
                    <a:pt x="31250" y="612574"/>
                    <a:pt x="35747" y="609362"/>
                  </a:cubicBezTo>
                  <a:cubicBezTo>
                    <a:pt x="40245" y="606150"/>
                    <a:pt x="59519" y="597155"/>
                    <a:pt x="62089" y="593942"/>
                  </a:cubicBezTo>
                  <a:cubicBezTo>
                    <a:pt x="64659" y="590087"/>
                    <a:pt x="66587" y="583020"/>
                    <a:pt x="64659" y="579165"/>
                  </a:cubicBezTo>
                  <a:cubicBezTo>
                    <a:pt x="62732" y="575310"/>
                    <a:pt x="58234" y="571455"/>
                    <a:pt x="58234" y="565673"/>
                  </a:cubicBezTo>
                  <a:cubicBezTo>
                    <a:pt x="58234" y="559891"/>
                    <a:pt x="58877" y="550896"/>
                    <a:pt x="59519" y="547683"/>
                  </a:cubicBezTo>
                  <a:cubicBezTo>
                    <a:pt x="60162" y="544471"/>
                    <a:pt x="57592" y="543828"/>
                    <a:pt x="64659" y="532906"/>
                  </a:cubicBezTo>
                  <a:cubicBezTo>
                    <a:pt x="71726" y="521984"/>
                    <a:pt x="85861" y="515559"/>
                    <a:pt x="88431" y="510419"/>
                  </a:cubicBezTo>
                  <a:cubicBezTo>
                    <a:pt x="91001" y="505279"/>
                    <a:pt x="90359" y="499497"/>
                    <a:pt x="91644" y="496284"/>
                  </a:cubicBezTo>
                  <a:cubicBezTo>
                    <a:pt x="92928" y="493072"/>
                    <a:pt x="93571" y="491787"/>
                    <a:pt x="97426" y="489859"/>
                  </a:cubicBezTo>
                  <a:cubicBezTo>
                    <a:pt x="101281" y="487932"/>
                    <a:pt x="103208" y="487289"/>
                    <a:pt x="104493" y="484077"/>
                  </a:cubicBezTo>
                  <a:cubicBezTo>
                    <a:pt x="105778" y="480865"/>
                    <a:pt x="104493" y="468015"/>
                    <a:pt x="104493" y="468015"/>
                  </a:cubicBezTo>
                  <a:cubicBezTo>
                    <a:pt x="104493" y="468015"/>
                    <a:pt x="104493" y="436533"/>
                    <a:pt x="104493" y="433963"/>
                  </a:cubicBezTo>
                  <a:cubicBezTo>
                    <a:pt x="103851" y="431393"/>
                    <a:pt x="97426" y="421113"/>
                    <a:pt x="94856" y="415331"/>
                  </a:cubicBezTo>
                  <a:cubicBezTo>
                    <a:pt x="92928" y="410191"/>
                    <a:pt x="90359" y="403766"/>
                    <a:pt x="90359" y="403766"/>
                  </a:cubicBezTo>
                  <a:cubicBezTo>
                    <a:pt x="90359" y="403766"/>
                    <a:pt x="77509" y="387704"/>
                    <a:pt x="72369" y="378067"/>
                  </a:cubicBezTo>
                  <a:cubicBezTo>
                    <a:pt x="66587" y="369072"/>
                    <a:pt x="60162" y="367787"/>
                    <a:pt x="57592" y="356222"/>
                  </a:cubicBezTo>
                  <a:cubicBezTo>
                    <a:pt x="55022" y="344657"/>
                    <a:pt x="54379" y="343372"/>
                    <a:pt x="53737" y="339517"/>
                  </a:cubicBezTo>
                  <a:cubicBezTo>
                    <a:pt x="53094" y="335662"/>
                    <a:pt x="42172" y="325383"/>
                    <a:pt x="38960" y="321528"/>
                  </a:cubicBezTo>
                  <a:cubicBezTo>
                    <a:pt x="35747" y="317673"/>
                    <a:pt x="31892" y="315103"/>
                    <a:pt x="35105" y="311248"/>
                  </a:cubicBezTo>
                  <a:cubicBezTo>
                    <a:pt x="38317" y="307393"/>
                    <a:pt x="42814" y="305466"/>
                    <a:pt x="42814" y="302896"/>
                  </a:cubicBezTo>
                  <a:cubicBezTo>
                    <a:pt x="42814" y="300326"/>
                    <a:pt x="40245" y="294543"/>
                    <a:pt x="40245" y="293258"/>
                  </a:cubicBezTo>
                  <a:cubicBezTo>
                    <a:pt x="40245" y="291973"/>
                    <a:pt x="43457" y="287476"/>
                    <a:pt x="47312" y="284264"/>
                  </a:cubicBezTo>
                  <a:cubicBezTo>
                    <a:pt x="51167" y="281051"/>
                    <a:pt x="65302" y="273984"/>
                    <a:pt x="72369" y="269486"/>
                  </a:cubicBezTo>
                  <a:cubicBezTo>
                    <a:pt x="79436" y="264989"/>
                    <a:pt x="85861" y="259849"/>
                    <a:pt x="90359" y="256637"/>
                  </a:cubicBezTo>
                  <a:cubicBezTo>
                    <a:pt x="94213" y="253424"/>
                    <a:pt x="102566" y="254067"/>
                    <a:pt x="115416" y="259849"/>
                  </a:cubicBezTo>
                  <a:cubicBezTo>
                    <a:pt x="128265" y="265631"/>
                    <a:pt x="143685" y="275269"/>
                    <a:pt x="155892" y="277839"/>
                  </a:cubicBezTo>
                  <a:cubicBezTo>
                    <a:pt x="168742" y="280409"/>
                    <a:pt x="166815" y="282336"/>
                    <a:pt x="184162" y="275269"/>
                  </a:cubicBezTo>
                  <a:cubicBezTo>
                    <a:pt x="202151" y="268201"/>
                    <a:pt x="208576" y="265631"/>
                    <a:pt x="218856" y="260491"/>
                  </a:cubicBezTo>
                  <a:cubicBezTo>
                    <a:pt x="229136" y="255994"/>
                    <a:pt x="245198" y="249569"/>
                    <a:pt x="249695" y="250854"/>
                  </a:cubicBezTo>
                  <a:cubicBezTo>
                    <a:pt x="254835" y="252139"/>
                    <a:pt x="254835" y="262419"/>
                    <a:pt x="269612" y="253424"/>
                  </a:cubicBezTo>
                  <a:cubicBezTo>
                    <a:pt x="284390" y="244429"/>
                    <a:pt x="286960" y="239289"/>
                    <a:pt x="286960" y="236077"/>
                  </a:cubicBezTo>
                  <a:cubicBezTo>
                    <a:pt x="286960" y="233507"/>
                    <a:pt x="299809" y="224512"/>
                    <a:pt x="291457" y="216160"/>
                  </a:cubicBezTo>
                  <a:cubicBezTo>
                    <a:pt x="283105" y="207807"/>
                    <a:pt x="264473" y="202668"/>
                    <a:pt x="263188" y="201383"/>
                  </a:cubicBezTo>
                  <a:cubicBezTo>
                    <a:pt x="261903" y="200098"/>
                    <a:pt x="257405" y="196885"/>
                    <a:pt x="260618" y="191103"/>
                  </a:cubicBezTo>
                  <a:cubicBezTo>
                    <a:pt x="263830" y="185320"/>
                    <a:pt x="269612" y="178896"/>
                    <a:pt x="270898" y="176326"/>
                  </a:cubicBezTo>
                  <a:cubicBezTo>
                    <a:pt x="272182" y="173756"/>
                    <a:pt x="280535" y="167973"/>
                    <a:pt x="284390" y="166046"/>
                  </a:cubicBezTo>
                  <a:cubicBezTo>
                    <a:pt x="288887" y="164761"/>
                    <a:pt x="299809" y="168616"/>
                    <a:pt x="302379" y="160263"/>
                  </a:cubicBezTo>
                  <a:cubicBezTo>
                    <a:pt x="304949" y="151911"/>
                    <a:pt x="308162" y="148056"/>
                    <a:pt x="313302" y="143559"/>
                  </a:cubicBezTo>
                  <a:cubicBezTo>
                    <a:pt x="318442" y="139061"/>
                    <a:pt x="333861" y="133921"/>
                    <a:pt x="337074" y="132636"/>
                  </a:cubicBezTo>
                  <a:cubicBezTo>
                    <a:pt x="340286" y="131352"/>
                    <a:pt x="347353" y="126212"/>
                    <a:pt x="350566" y="120429"/>
                  </a:cubicBezTo>
                  <a:cubicBezTo>
                    <a:pt x="353136" y="116574"/>
                    <a:pt x="357633" y="114004"/>
                    <a:pt x="358276" y="111434"/>
                  </a:cubicBezTo>
                  <a:cubicBezTo>
                    <a:pt x="358918" y="111434"/>
                    <a:pt x="359561" y="110792"/>
                    <a:pt x="360203" y="110792"/>
                  </a:cubicBezTo>
                  <a:cubicBezTo>
                    <a:pt x="365986" y="108864"/>
                    <a:pt x="370483" y="106295"/>
                    <a:pt x="375623" y="103725"/>
                  </a:cubicBezTo>
                  <a:cubicBezTo>
                    <a:pt x="380120" y="101155"/>
                    <a:pt x="384618" y="101155"/>
                    <a:pt x="390400" y="101797"/>
                  </a:cubicBezTo>
                  <a:cubicBezTo>
                    <a:pt x="405177" y="103082"/>
                    <a:pt x="418027" y="106937"/>
                    <a:pt x="432162" y="101155"/>
                  </a:cubicBezTo>
                  <a:cubicBezTo>
                    <a:pt x="445012" y="95372"/>
                    <a:pt x="457219" y="87020"/>
                    <a:pt x="467499" y="78025"/>
                  </a:cubicBezTo>
                  <a:cubicBezTo>
                    <a:pt x="484846" y="63248"/>
                    <a:pt x="500908" y="47186"/>
                    <a:pt x="520825" y="34978"/>
                  </a:cubicBezTo>
                  <a:cubicBezTo>
                    <a:pt x="525965" y="31766"/>
                    <a:pt x="531747" y="29196"/>
                    <a:pt x="538172" y="30481"/>
                  </a:cubicBezTo>
                  <a:cubicBezTo>
                    <a:pt x="551022" y="33051"/>
                    <a:pt x="552949" y="50398"/>
                    <a:pt x="563872" y="56823"/>
                  </a:cubicBezTo>
                  <a:cubicBezTo>
                    <a:pt x="578006" y="65818"/>
                    <a:pt x="601136" y="53610"/>
                    <a:pt x="613343" y="65175"/>
                  </a:cubicBezTo>
                  <a:cubicBezTo>
                    <a:pt x="615913" y="67103"/>
                    <a:pt x="617198" y="70315"/>
                    <a:pt x="617841" y="72885"/>
                  </a:cubicBezTo>
                  <a:cubicBezTo>
                    <a:pt x="621696" y="82522"/>
                    <a:pt x="620411" y="93445"/>
                    <a:pt x="618483" y="103082"/>
                  </a:cubicBezTo>
                  <a:cubicBezTo>
                    <a:pt x="615271" y="119144"/>
                    <a:pt x="610773" y="134564"/>
                    <a:pt x="603706" y="149341"/>
                  </a:cubicBezTo>
                  <a:cubicBezTo>
                    <a:pt x="599208" y="158978"/>
                    <a:pt x="594069" y="168616"/>
                    <a:pt x="595354" y="179538"/>
                  </a:cubicBezTo>
                  <a:cubicBezTo>
                    <a:pt x="597281" y="197528"/>
                    <a:pt x="619126" y="209735"/>
                    <a:pt x="638400" y="207807"/>
                  </a:cubicBezTo>
                  <a:cubicBezTo>
                    <a:pt x="657675" y="205880"/>
                    <a:pt x="674380" y="194315"/>
                    <a:pt x="688514" y="180823"/>
                  </a:cubicBezTo>
                  <a:cubicBezTo>
                    <a:pt x="693012" y="176326"/>
                    <a:pt x="697509" y="171828"/>
                    <a:pt x="703934" y="168616"/>
                  </a:cubicBezTo>
                  <a:cubicBezTo>
                    <a:pt x="711001" y="165403"/>
                    <a:pt x="718069" y="166688"/>
                    <a:pt x="725136" y="167973"/>
                  </a:cubicBezTo>
                  <a:cubicBezTo>
                    <a:pt x="727706" y="168616"/>
                    <a:pt x="749551" y="173756"/>
                    <a:pt x="750836" y="169901"/>
                  </a:cubicBezTo>
                  <a:cubicBezTo>
                    <a:pt x="752120" y="164118"/>
                    <a:pt x="755975" y="158336"/>
                    <a:pt x="760473" y="154481"/>
                  </a:cubicBezTo>
                  <a:cubicBezTo>
                    <a:pt x="763685" y="151911"/>
                    <a:pt x="768183" y="149341"/>
                    <a:pt x="769468" y="145486"/>
                  </a:cubicBezTo>
                  <a:cubicBezTo>
                    <a:pt x="770753" y="141631"/>
                    <a:pt x="769468" y="137776"/>
                    <a:pt x="767540" y="134564"/>
                  </a:cubicBezTo>
                  <a:cubicBezTo>
                    <a:pt x="765613" y="131352"/>
                    <a:pt x="762400" y="128139"/>
                    <a:pt x="759830" y="124927"/>
                  </a:cubicBezTo>
                  <a:cubicBezTo>
                    <a:pt x="755975" y="119144"/>
                    <a:pt x="754048" y="112077"/>
                    <a:pt x="752763" y="105009"/>
                  </a:cubicBezTo>
                  <a:cubicBezTo>
                    <a:pt x="750836" y="95372"/>
                    <a:pt x="748908" y="85092"/>
                    <a:pt x="750193" y="75455"/>
                  </a:cubicBezTo>
                  <a:cubicBezTo>
                    <a:pt x="751478" y="69673"/>
                    <a:pt x="752763" y="61963"/>
                    <a:pt x="746981" y="58750"/>
                  </a:cubicBezTo>
                  <a:cubicBezTo>
                    <a:pt x="744411" y="57465"/>
                    <a:pt x="741198" y="57465"/>
                    <a:pt x="738628" y="56823"/>
                  </a:cubicBezTo>
                  <a:cubicBezTo>
                    <a:pt x="732846" y="54896"/>
                    <a:pt x="730276" y="48471"/>
                    <a:pt x="731561" y="42688"/>
                  </a:cubicBezTo>
                  <a:cubicBezTo>
                    <a:pt x="732846" y="36906"/>
                    <a:pt x="736701" y="32408"/>
                    <a:pt x="741198" y="28554"/>
                  </a:cubicBezTo>
                  <a:cubicBezTo>
                    <a:pt x="758545" y="13776"/>
                    <a:pt x="782317" y="7351"/>
                    <a:pt x="804804" y="1569"/>
                  </a:cubicBezTo>
                  <a:cubicBezTo>
                    <a:pt x="811872" y="-358"/>
                    <a:pt x="822152" y="-1643"/>
                    <a:pt x="826007" y="4782"/>
                  </a:cubicBezTo>
                  <a:cubicBezTo>
                    <a:pt x="827934" y="7351"/>
                    <a:pt x="827934" y="11206"/>
                    <a:pt x="827934" y="14419"/>
                  </a:cubicBezTo>
                  <a:cubicBezTo>
                    <a:pt x="827934" y="19559"/>
                    <a:pt x="827291" y="25341"/>
                    <a:pt x="827291" y="31123"/>
                  </a:cubicBezTo>
                  <a:cubicBezTo>
                    <a:pt x="827291" y="35621"/>
                    <a:pt x="826649" y="40118"/>
                    <a:pt x="829219" y="43973"/>
                  </a:cubicBezTo>
                  <a:cubicBezTo>
                    <a:pt x="833716" y="51683"/>
                    <a:pt x="844639" y="52968"/>
                    <a:pt x="853633" y="52326"/>
                  </a:cubicBezTo>
                  <a:cubicBezTo>
                    <a:pt x="863271" y="52326"/>
                    <a:pt x="873551" y="51683"/>
                    <a:pt x="883188" y="48471"/>
                  </a:cubicBezTo>
                  <a:cubicBezTo>
                    <a:pt x="892825" y="45258"/>
                    <a:pt x="901178" y="39476"/>
                    <a:pt x="906317" y="31766"/>
                  </a:cubicBezTo>
                  <a:cubicBezTo>
                    <a:pt x="911457" y="22771"/>
                    <a:pt x="913385" y="11206"/>
                    <a:pt x="922380" y="6066"/>
                  </a:cubicBezTo>
                  <a:cubicBezTo>
                    <a:pt x="926235" y="4139"/>
                    <a:pt x="930089" y="3497"/>
                    <a:pt x="933944" y="3497"/>
                  </a:cubicBezTo>
                  <a:cubicBezTo>
                    <a:pt x="939084" y="2854"/>
                    <a:pt x="945509" y="2854"/>
                    <a:pt x="948722" y="7351"/>
                  </a:cubicBezTo>
                  <a:cubicBezTo>
                    <a:pt x="950007" y="9279"/>
                    <a:pt x="950007" y="11849"/>
                    <a:pt x="950007" y="13776"/>
                  </a:cubicBezTo>
                  <a:cubicBezTo>
                    <a:pt x="950007" y="27269"/>
                    <a:pt x="946794" y="40761"/>
                    <a:pt x="942939" y="53610"/>
                  </a:cubicBezTo>
                  <a:cubicBezTo>
                    <a:pt x="941012" y="61320"/>
                    <a:pt x="938442" y="69030"/>
                    <a:pt x="932017" y="74170"/>
                  </a:cubicBezTo>
                  <a:cubicBezTo>
                    <a:pt x="928162" y="77383"/>
                    <a:pt x="923022" y="78025"/>
                    <a:pt x="917882" y="77383"/>
                  </a:cubicBezTo>
                  <a:cubicBezTo>
                    <a:pt x="914027" y="76740"/>
                    <a:pt x="914027" y="76098"/>
                    <a:pt x="912100" y="78668"/>
                  </a:cubicBezTo>
                  <a:cubicBezTo>
                    <a:pt x="910815" y="80595"/>
                    <a:pt x="909530" y="83165"/>
                    <a:pt x="908887" y="85735"/>
                  </a:cubicBezTo>
                  <a:cubicBezTo>
                    <a:pt x="905675" y="95372"/>
                    <a:pt x="905032" y="105652"/>
                    <a:pt x="906960" y="115932"/>
                  </a:cubicBezTo>
                  <a:cubicBezTo>
                    <a:pt x="910172" y="131352"/>
                    <a:pt x="919167" y="144844"/>
                    <a:pt x="930089" y="156408"/>
                  </a:cubicBezTo>
                  <a:cubicBezTo>
                    <a:pt x="932017" y="158336"/>
                    <a:pt x="933944" y="160263"/>
                    <a:pt x="935872" y="160906"/>
                  </a:cubicBezTo>
                  <a:cubicBezTo>
                    <a:pt x="938442" y="161548"/>
                    <a:pt x="941012" y="161548"/>
                    <a:pt x="943582" y="161548"/>
                  </a:cubicBezTo>
                  <a:cubicBezTo>
                    <a:pt x="948722" y="162191"/>
                    <a:pt x="953219" y="166688"/>
                    <a:pt x="955789" y="171186"/>
                  </a:cubicBezTo>
                  <a:cubicBezTo>
                    <a:pt x="958359" y="175683"/>
                    <a:pt x="959644" y="180823"/>
                    <a:pt x="962214" y="185320"/>
                  </a:cubicBezTo>
                  <a:cubicBezTo>
                    <a:pt x="968639" y="199455"/>
                    <a:pt x="980203" y="211020"/>
                    <a:pt x="989198" y="223870"/>
                  </a:cubicBezTo>
                  <a:cubicBezTo>
                    <a:pt x="998193" y="237362"/>
                    <a:pt x="1003975" y="252782"/>
                    <a:pt x="1005261" y="268201"/>
                  </a:cubicBezTo>
                  <a:cubicBezTo>
                    <a:pt x="1005903" y="272699"/>
                    <a:pt x="1005903" y="276554"/>
                    <a:pt x="1007830" y="281051"/>
                  </a:cubicBezTo>
                  <a:cubicBezTo>
                    <a:pt x="1009758" y="284906"/>
                    <a:pt x="1013613" y="288118"/>
                    <a:pt x="1018110" y="288118"/>
                  </a:cubicBezTo>
                  <a:cubicBezTo>
                    <a:pt x="1023893" y="288118"/>
                    <a:pt x="1027748" y="282979"/>
                    <a:pt x="1032245" y="279766"/>
                  </a:cubicBezTo>
                  <a:cubicBezTo>
                    <a:pt x="1033530" y="279124"/>
                    <a:pt x="1035457" y="277839"/>
                    <a:pt x="1036742" y="277839"/>
                  </a:cubicBezTo>
                  <a:cubicBezTo>
                    <a:pt x="1039955" y="277839"/>
                    <a:pt x="1042525" y="281051"/>
                    <a:pt x="1043810" y="284264"/>
                  </a:cubicBezTo>
                  <a:cubicBezTo>
                    <a:pt x="1049592" y="297113"/>
                    <a:pt x="1052162" y="313175"/>
                    <a:pt x="1042525" y="324098"/>
                  </a:cubicBezTo>
                  <a:cubicBezTo>
                    <a:pt x="1039955" y="327310"/>
                    <a:pt x="1036100" y="329880"/>
                    <a:pt x="1032887" y="332450"/>
                  </a:cubicBezTo>
                  <a:cubicBezTo>
                    <a:pt x="1023250" y="340802"/>
                    <a:pt x="1018753" y="353010"/>
                    <a:pt x="1018753" y="364574"/>
                  </a:cubicBezTo>
                  <a:cubicBezTo>
                    <a:pt x="1018753" y="369072"/>
                    <a:pt x="1018753" y="378067"/>
                    <a:pt x="1022608" y="381279"/>
                  </a:cubicBezTo>
                  <a:cubicBezTo>
                    <a:pt x="1027105" y="385134"/>
                    <a:pt x="1034815" y="381922"/>
                    <a:pt x="1038027" y="378709"/>
                  </a:cubicBezTo>
                  <a:cubicBezTo>
                    <a:pt x="1039312" y="378067"/>
                    <a:pt x="1039955" y="376782"/>
                    <a:pt x="1041240" y="376139"/>
                  </a:cubicBezTo>
                  <a:cubicBezTo>
                    <a:pt x="1043810" y="377424"/>
                    <a:pt x="1045095" y="378067"/>
                    <a:pt x="1046380" y="378709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 20">
              <a:extLst>
                <a:ext uri="{FF2B5EF4-FFF2-40B4-BE49-F238E27FC236}">
                  <a16:creationId xmlns:a16="http://schemas.microsoft.com/office/drawing/2014/main" id="{585A0A84-F0AA-5989-DE44-3238F382B0DD}"/>
                </a:ext>
              </a:extLst>
            </p:cNvPr>
            <p:cNvSpPr/>
            <p:nvPr/>
          </p:nvSpPr>
          <p:spPr>
            <a:xfrm>
              <a:off x="1747895" y="3310513"/>
              <a:ext cx="1048959" cy="942230"/>
            </a:xfrm>
            <a:custGeom>
              <a:avLst/>
              <a:gdLst>
                <a:gd name="connsiteX0" fmla="*/ 1046380 w 1048959"/>
                <a:gd name="connsiteY0" fmla="*/ 378709 h 942230"/>
                <a:gd name="connsiteX1" fmla="*/ 1000121 w 1048959"/>
                <a:gd name="connsiteY1" fmla="*/ 433963 h 942230"/>
                <a:gd name="connsiteX2" fmla="*/ 959001 w 1048959"/>
                <a:gd name="connsiteY2" fmla="*/ 469300 h 942230"/>
                <a:gd name="connsiteX3" fmla="*/ 934587 w 1048959"/>
                <a:gd name="connsiteY3" fmla="*/ 460305 h 942230"/>
                <a:gd name="connsiteX4" fmla="*/ 937157 w 1048959"/>
                <a:gd name="connsiteY4" fmla="*/ 445528 h 942230"/>
                <a:gd name="connsiteX5" fmla="*/ 886400 w 1048959"/>
                <a:gd name="connsiteY5" fmla="*/ 445528 h 942230"/>
                <a:gd name="connsiteX6" fmla="*/ 890255 w 1048959"/>
                <a:gd name="connsiteY6" fmla="*/ 468657 h 942230"/>
                <a:gd name="connsiteX7" fmla="*/ 878048 w 1048959"/>
                <a:gd name="connsiteY7" fmla="*/ 487932 h 942230"/>
                <a:gd name="connsiteX8" fmla="*/ 842711 w 1048959"/>
                <a:gd name="connsiteY8" fmla="*/ 494357 h 942230"/>
                <a:gd name="connsiteX9" fmla="*/ 813799 w 1048959"/>
                <a:gd name="connsiteY9" fmla="*/ 509776 h 942230"/>
                <a:gd name="connsiteX10" fmla="*/ 794525 w 1048959"/>
                <a:gd name="connsiteY10" fmla="*/ 536119 h 942230"/>
                <a:gd name="connsiteX11" fmla="*/ 808659 w 1048959"/>
                <a:gd name="connsiteY11" fmla="*/ 553466 h 942230"/>
                <a:gd name="connsiteX12" fmla="*/ 834359 w 1048959"/>
                <a:gd name="connsiteY12" fmla="*/ 540616 h 942230"/>
                <a:gd name="connsiteX13" fmla="*/ 842711 w 1048959"/>
                <a:gd name="connsiteY13" fmla="*/ 570813 h 942230"/>
                <a:gd name="connsiteX14" fmla="*/ 836929 w 1048959"/>
                <a:gd name="connsiteY14" fmla="*/ 589445 h 942230"/>
                <a:gd name="connsiteX15" fmla="*/ 811229 w 1048959"/>
                <a:gd name="connsiteY15" fmla="*/ 620927 h 942230"/>
                <a:gd name="connsiteX16" fmla="*/ 788100 w 1048959"/>
                <a:gd name="connsiteY16" fmla="*/ 632492 h 942230"/>
                <a:gd name="connsiteX17" fmla="*/ 743768 w 1048959"/>
                <a:gd name="connsiteY17" fmla="*/ 710875 h 942230"/>
                <a:gd name="connsiteX18" fmla="*/ 711644 w 1048959"/>
                <a:gd name="connsiteY18" fmla="*/ 721797 h 942230"/>
                <a:gd name="connsiteX19" fmla="*/ 709074 w 1048959"/>
                <a:gd name="connsiteY19" fmla="*/ 707020 h 942230"/>
                <a:gd name="connsiteX20" fmla="*/ 659602 w 1048959"/>
                <a:gd name="connsiteY20" fmla="*/ 750067 h 942230"/>
                <a:gd name="connsiteX21" fmla="*/ 673737 w 1048959"/>
                <a:gd name="connsiteY21" fmla="*/ 760989 h 942230"/>
                <a:gd name="connsiteX22" fmla="*/ 673737 w 1048959"/>
                <a:gd name="connsiteY22" fmla="*/ 777694 h 942230"/>
                <a:gd name="connsiteX23" fmla="*/ 653177 w 1048959"/>
                <a:gd name="connsiteY23" fmla="*/ 793756 h 942230"/>
                <a:gd name="connsiteX24" fmla="*/ 644825 w 1048959"/>
                <a:gd name="connsiteY24" fmla="*/ 794399 h 942230"/>
                <a:gd name="connsiteX25" fmla="*/ 604991 w 1048959"/>
                <a:gd name="connsiteY25" fmla="*/ 751352 h 942230"/>
                <a:gd name="connsiteX26" fmla="*/ 580576 w 1048959"/>
                <a:gd name="connsiteY26" fmla="*/ 694813 h 942230"/>
                <a:gd name="connsiteX27" fmla="*/ 549095 w 1048959"/>
                <a:gd name="connsiteY27" fmla="*/ 701880 h 942230"/>
                <a:gd name="connsiteX28" fmla="*/ 555519 w 1048959"/>
                <a:gd name="connsiteY28" fmla="*/ 723725 h 942230"/>
                <a:gd name="connsiteX29" fmla="*/ 552307 w 1048959"/>
                <a:gd name="connsiteY29" fmla="*/ 737860 h 942230"/>
                <a:gd name="connsiteX30" fmla="*/ 502835 w 1048959"/>
                <a:gd name="connsiteY30" fmla="*/ 774481 h 942230"/>
                <a:gd name="connsiteX31" fmla="*/ 460431 w 1048959"/>
                <a:gd name="connsiteY31" fmla="*/ 782834 h 942230"/>
                <a:gd name="connsiteX32" fmla="*/ 441157 w 1048959"/>
                <a:gd name="connsiteY32" fmla="*/ 807248 h 942230"/>
                <a:gd name="connsiteX33" fmla="*/ 388473 w 1048959"/>
                <a:gd name="connsiteY33" fmla="*/ 828450 h 942230"/>
                <a:gd name="connsiteX34" fmla="*/ 304949 w 1048959"/>
                <a:gd name="connsiteY34" fmla="*/ 847725 h 942230"/>
                <a:gd name="connsiteX35" fmla="*/ 256763 w 1048959"/>
                <a:gd name="connsiteY35" fmla="*/ 897839 h 942230"/>
                <a:gd name="connsiteX36" fmla="*/ 265115 w 1048959"/>
                <a:gd name="connsiteY36" fmla="*/ 923538 h 942230"/>
                <a:gd name="connsiteX37" fmla="*/ 248410 w 1048959"/>
                <a:gd name="connsiteY37" fmla="*/ 942171 h 942230"/>
                <a:gd name="connsiteX38" fmla="*/ 198296 w 1048959"/>
                <a:gd name="connsiteY38" fmla="*/ 920968 h 942230"/>
                <a:gd name="connsiteX39" fmla="*/ 142400 w 1048959"/>
                <a:gd name="connsiteY39" fmla="*/ 936388 h 942230"/>
                <a:gd name="connsiteX40" fmla="*/ 136618 w 1048959"/>
                <a:gd name="connsiteY40" fmla="*/ 938316 h 942230"/>
                <a:gd name="connsiteX41" fmla="*/ 132763 w 1048959"/>
                <a:gd name="connsiteY41" fmla="*/ 918398 h 942230"/>
                <a:gd name="connsiteX42" fmla="*/ 125695 w 1048959"/>
                <a:gd name="connsiteY42" fmla="*/ 906191 h 942230"/>
                <a:gd name="connsiteX43" fmla="*/ 125695 w 1048959"/>
                <a:gd name="connsiteY43" fmla="*/ 905549 h 942230"/>
                <a:gd name="connsiteX44" fmla="*/ 126338 w 1048959"/>
                <a:gd name="connsiteY44" fmla="*/ 904906 h 942230"/>
                <a:gd name="connsiteX45" fmla="*/ 129550 w 1048959"/>
                <a:gd name="connsiteY45" fmla="*/ 900409 h 942230"/>
                <a:gd name="connsiteX46" fmla="*/ 130193 w 1048959"/>
                <a:gd name="connsiteY46" fmla="*/ 899124 h 942230"/>
                <a:gd name="connsiteX47" fmla="*/ 132120 w 1048959"/>
                <a:gd name="connsiteY47" fmla="*/ 896554 h 942230"/>
                <a:gd name="connsiteX48" fmla="*/ 132120 w 1048959"/>
                <a:gd name="connsiteY48" fmla="*/ 896554 h 942230"/>
                <a:gd name="connsiteX49" fmla="*/ 134048 w 1048959"/>
                <a:gd name="connsiteY49" fmla="*/ 884347 h 942230"/>
                <a:gd name="connsiteX50" fmla="*/ 117343 w 1048959"/>
                <a:gd name="connsiteY50" fmla="*/ 866999 h 942230"/>
                <a:gd name="connsiteX51" fmla="*/ 98711 w 1048959"/>
                <a:gd name="connsiteY51" fmla="*/ 852865 h 942230"/>
                <a:gd name="connsiteX52" fmla="*/ 101923 w 1048959"/>
                <a:gd name="connsiteY52" fmla="*/ 818170 h 942230"/>
                <a:gd name="connsiteX53" fmla="*/ 84576 w 1048959"/>
                <a:gd name="connsiteY53" fmla="*/ 796968 h 942230"/>
                <a:gd name="connsiteX54" fmla="*/ 51809 w 1048959"/>
                <a:gd name="connsiteY54" fmla="*/ 769984 h 942230"/>
                <a:gd name="connsiteX55" fmla="*/ 35747 w 1048959"/>
                <a:gd name="connsiteY55" fmla="*/ 752637 h 942230"/>
                <a:gd name="connsiteX56" fmla="*/ 31892 w 1048959"/>
                <a:gd name="connsiteY56" fmla="*/ 734005 h 942230"/>
                <a:gd name="connsiteX57" fmla="*/ 31892 w 1048959"/>
                <a:gd name="connsiteY57" fmla="*/ 723725 h 942230"/>
                <a:gd name="connsiteX58" fmla="*/ 45384 w 1048959"/>
                <a:gd name="connsiteY58" fmla="*/ 705735 h 942230"/>
                <a:gd name="connsiteX59" fmla="*/ 56949 w 1048959"/>
                <a:gd name="connsiteY59" fmla="*/ 690315 h 942230"/>
                <a:gd name="connsiteX60" fmla="*/ 49239 w 1048959"/>
                <a:gd name="connsiteY60" fmla="*/ 664616 h 942230"/>
                <a:gd name="connsiteX61" fmla="*/ 37675 w 1048959"/>
                <a:gd name="connsiteY61" fmla="*/ 656906 h 942230"/>
                <a:gd name="connsiteX62" fmla="*/ 23540 w 1048959"/>
                <a:gd name="connsiteY62" fmla="*/ 656264 h 942230"/>
                <a:gd name="connsiteX63" fmla="*/ 1053 w 1048959"/>
                <a:gd name="connsiteY63" fmla="*/ 653051 h 942230"/>
                <a:gd name="connsiteX64" fmla="*/ 1053 w 1048959"/>
                <a:gd name="connsiteY64" fmla="*/ 640844 h 942230"/>
                <a:gd name="connsiteX65" fmla="*/ 2338 w 1048959"/>
                <a:gd name="connsiteY65" fmla="*/ 621569 h 942230"/>
                <a:gd name="connsiteX66" fmla="*/ 15830 w 1048959"/>
                <a:gd name="connsiteY66" fmla="*/ 613217 h 942230"/>
                <a:gd name="connsiteX67" fmla="*/ 35747 w 1048959"/>
                <a:gd name="connsiteY67" fmla="*/ 609362 h 942230"/>
                <a:gd name="connsiteX68" fmla="*/ 62089 w 1048959"/>
                <a:gd name="connsiteY68" fmla="*/ 593942 h 942230"/>
                <a:gd name="connsiteX69" fmla="*/ 64659 w 1048959"/>
                <a:gd name="connsiteY69" fmla="*/ 579165 h 942230"/>
                <a:gd name="connsiteX70" fmla="*/ 58234 w 1048959"/>
                <a:gd name="connsiteY70" fmla="*/ 565673 h 942230"/>
                <a:gd name="connsiteX71" fmla="*/ 59519 w 1048959"/>
                <a:gd name="connsiteY71" fmla="*/ 547683 h 942230"/>
                <a:gd name="connsiteX72" fmla="*/ 64659 w 1048959"/>
                <a:gd name="connsiteY72" fmla="*/ 532906 h 942230"/>
                <a:gd name="connsiteX73" fmla="*/ 88431 w 1048959"/>
                <a:gd name="connsiteY73" fmla="*/ 510419 h 942230"/>
                <a:gd name="connsiteX74" fmla="*/ 91644 w 1048959"/>
                <a:gd name="connsiteY74" fmla="*/ 496284 h 942230"/>
                <a:gd name="connsiteX75" fmla="*/ 97426 w 1048959"/>
                <a:gd name="connsiteY75" fmla="*/ 489859 h 942230"/>
                <a:gd name="connsiteX76" fmla="*/ 104493 w 1048959"/>
                <a:gd name="connsiteY76" fmla="*/ 484077 h 942230"/>
                <a:gd name="connsiteX77" fmla="*/ 104493 w 1048959"/>
                <a:gd name="connsiteY77" fmla="*/ 468015 h 942230"/>
                <a:gd name="connsiteX78" fmla="*/ 104493 w 1048959"/>
                <a:gd name="connsiteY78" fmla="*/ 433963 h 942230"/>
                <a:gd name="connsiteX79" fmla="*/ 94856 w 1048959"/>
                <a:gd name="connsiteY79" fmla="*/ 415331 h 942230"/>
                <a:gd name="connsiteX80" fmla="*/ 90359 w 1048959"/>
                <a:gd name="connsiteY80" fmla="*/ 403766 h 942230"/>
                <a:gd name="connsiteX81" fmla="*/ 72369 w 1048959"/>
                <a:gd name="connsiteY81" fmla="*/ 378067 h 942230"/>
                <a:gd name="connsiteX82" fmla="*/ 57592 w 1048959"/>
                <a:gd name="connsiteY82" fmla="*/ 356222 h 942230"/>
                <a:gd name="connsiteX83" fmla="*/ 53737 w 1048959"/>
                <a:gd name="connsiteY83" fmla="*/ 339517 h 942230"/>
                <a:gd name="connsiteX84" fmla="*/ 38960 w 1048959"/>
                <a:gd name="connsiteY84" fmla="*/ 321528 h 942230"/>
                <a:gd name="connsiteX85" fmla="*/ 35105 w 1048959"/>
                <a:gd name="connsiteY85" fmla="*/ 311248 h 942230"/>
                <a:gd name="connsiteX86" fmla="*/ 42814 w 1048959"/>
                <a:gd name="connsiteY86" fmla="*/ 302896 h 942230"/>
                <a:gd name="connsiteX87" fmla="*/ 40245 w 1048959"/>
                <a:gd name="connsiteY87" fmla="*/ 293258 h 942230"/>
                <a:gd name="connsiteX88" fmla="*/ 47312 w 1048959"/>
                <a:gd name="connsiteY88" fmla="*/ 284264 h 942230"/>
                <a:gd name="connsiteX89" fmla="*/ 72369 w 1048959"/>
                <a:gd name="connsiteY89" fmla="*/ 269486 h 942230"/>
                <a:gd name="connsiteX90" fmla="*/ 90359 w 1048959"/>
                <a:gd name="connsiteY90" fmla="*/ 256637 h 942230"/>
                <a:gd name="connsiteX91" fmla="*/ 115416 w 1048959"/>
                <a:gd name="connsiteY91" fmla="*/ 259849 h 942230"/>
                <a:gd name="connsiteX92" fmla="*/ 155892 w 1048959"/>
                <a:gd name="connsiteY92" fmla="*/ 277839 h 942230"/>
                <a:gd name="connsiteX93" fmla="*/ 184162 w 1048959"/>
                <a:gd name="connsiteY93" fmla="*/ 275269 h 942230"/>
                <a:gd name="connsiteX94" fmla="*/ 218856 w 1048959"/>
                <a:gd name="connsiteY94" fmla="*/ 260491 h 942230"/>
                <a:gd name="connsiteX95" fmla="*/ 249695 w 1048959"/>
                <a:gd name="connsiteY95" fmla="*/ 250854 h 942230"/>
                <a:gd name="connsiteX96" fmla="*/ 269612 w 1048959"/>
                <a:gd name="connsiteY96" fmla="*/ 253424 h 942230"/>
                <a:gd name="connsiteX97" fmla="*/ 286960 w 1048959"/>
                <a:gd name="connsiteY97" fmla="*/ 236077 h 942230"/>
                <a:gd name="connsiteX98" fmla="*/ 291457 w 1048959"/>
                <a:gd name="connsiteY98" fmla="*/ 216160 h 942230"/>
                <a:gd name="connsiteX99" fmla="*/ 263188 w 1048959"/>
                <a:gd name="connsiteY99" fmla="*/ 201383 h 942230"/>
                <a:gd name="connsiteX100" fmla="*/ 260618 w 1048959"/>
                <a:gd name="connsiteY100" fmla="*/ 191103 h 942230"/>
                <a:gd name="connsiteX101" fmla="*/ 270898 w 1048959"/>
                <a:gd name="connsiteY101" fmla="*/ 176326 h 942230"/>
                <a:gd name="connsiteX102" fmla="*/ 284390 w 1048959"/>
                <a:gd name="connsiteY102" fmla="*/ 166046 h 942230"/>
                <a:gd name="connsiteX103" fmla="*/ 302379 w 1048959"/>
                <a:gd name="connsiteY103" fmla="*/ 160263 h 942230"/>
                <a:gd name="connsiteX104" fmla="*/ 313302 w 1048959"/>
                <a:gd name="connsiteY104" fmla="*/ 143559 h 942230"/>
                <a:gd name="connsiteX105" fmla="*/ 337074 w 1048959"/>
                <a:gd name="connsiteY105" fmla="*/ 132636 h 942230"/>
                <a:gd name="connsiteX106" fmla="*/ 350566 w 1048959"/>
                <a:gd name="connsiteY106" fmla="*/ 120429 h 942230"/>
                <a:gd name="connsiteX107" fmla="*/ 358276 w 1048959"/>
                <a:gd name="connsiteY107" fmla="*/ 111434 h 942230"/>
                <a:gd name="connsiteX108" fmla="*/ 360203 w 1048959"/>
                <a:gd name="connsiteY108" fmla="*/ 110792 h 942230"/>
                <a:gd name="connsiteX109" fmla="*/ 375623 w 1048959"/>
                <a:gd name="connsiteY109" fmla="*/ 103725 h 942230"/>
                <a:gd name="connsiteX110" fmla="*/ 390400 w 1048959"/>
                <a:gd name="connsiteY110" fmla="*/ 101797 h 942230"/>
                <a:gd name="connsiteX111" fmla="*/ 432162 w 1048959"/>
                <a:gd name="connsiteY111" fmla="*/ 101155 h 942230"/>
                <a:gd name="connsiteX112" fmla="*/ 467499 w 1048959"/>
                <a:gd name="connsiteY112" fmla="*/ 78025 h 942230"/>
                <a:gd name="connsiteX113" fmla="*/ 520825 w 1048959"/>
                <a:gd name="connsiteY113" fmla="*/ 34978 h 942230"/>
                <a:gd name="connsiteX114" fmla="*/ 538172 w 1048959"/>
                <a:gd name="connsiteY114" fmla="*/ 30481 h 942230"/>
                <a:gd name="connsiteX115" fmla="*/ 563872 w 1048959"/>
                <a:gd name="connsiteY115" fmla="*/ 56823 h 942230"/>
                <a:gd name="connsiteX116" fmla="*/ 613343 w 1048959"/>
                <a:gd name="connsiteY116" fmla="*/ 65175 h 942230"/>
                <a:gd name="connsiteX117" fmla="*/ 617841 w 1048959"/>
                <a:gd name="connsiteY117" fmla="*/ 72885 h 942230"/>
                <a:gd name="connsiteX118" fmla="*/ 618483 w 1048959"/>
                <a:gd name="connsiteY118" fmla="*/ 103082 h 942230"/>
                <a:gd name="connsiteX119" fmla="*/ 603706 w 1048959"/>
                <a:gd name="connsiteY119" fmla="*/ 149341 h 942230"/>
                <a:gd name="connsiteX120" fmla="*/ 595354 w 1048959"/>
                <a:gd name="connsiteY120" fmla="*/ 179538 h 942230"/>
                <a:gd name="connsiteX121" fmla="*/ 638400 w 1048959"/>
                <a:gd name="connsiteY121" fmla="*/ 207807 h 942230"/>
                <a:gd name="connsiteX122" fmla="*/ 688514 w 1048959"/>
                <a:gd name="connsiteY122" fmla="*/ 180823 h 942230"/>
                <a:gd name="connsiteX123" fmla="*/ 703934 w 1048959"/>
                <a:gd name="connsiteY123" fmla="*/ 168616 h 942230"/>
                <a:gd name="connsiteX124" fmla="*/ 725136 w 1048959"/>
                <a:gd name="connsiteY124" fmla="*/ 167973 h 942230"/>
                <a:gd name="connsiteX125" fmla="*/ 750836 w 1048959"/>
                <a:gd name="connsiteY125" fmla="*/ 169901 h 942230"/>
                <a:gd name="connsiteX126" fmla="*/ 760473 w 1048959"/>
                <a:gd name="connsiteY126" fmla="*/ 154481 h 942230"/>
                <a:gd name="connsiteX127" fmla="*/ 769468 w 1048959"/>
                <a:gd name="connsiteY127" fmla="*/ 145486 h 942230"/>
                <a:gd name="connsiteX128" fmla="*/ 767540 w 1048959"/>
                <a:gd name="connsiteY128" fmla="*/ 134564 h 942230"/>
                <a:gd name="connsiteX129" fmla="*/ 759830 w 1048959"/>
                <a:gd name="connsiteY129" fmla="*/ 124927 h 942230"/>
                <a:gd name="connsiteX130" fmla="*/ 752763 w 1048959"/>
                <a:gd name="connsiteY130" fmla="*/ 105009 h 942230"/>
                <a:gd name="connsiteX131" fmla="*/ 750193 w 1048959"/>
                <a:gd name="connsiteY131" fmla="*/ 75455 h 942230"/>
                <a:gd name="connsiteX132" fmla="*/ 746981 w 1048959"/>
                <a:gd name="connsiteY132" fmla="*/ 58750 h 942230"/>
                <a:gd name="connsiteX133" fmla="*/ 738628 w 1048959"/>
                <a:gd name="connsiteY133" fmla="*/ 56823 h 942230"/>
                <a:gd name="connsiteX134" fmla="*/ 731561 w 1048959"/>
                <a:gd name="connsiteY134" fmla="*/ 42688 h 942230"/>
                <a:gd name="connsiteX135" fmla="*/ 741198 w 1048959"/>
                <a:gd name="connsiteY135" fmla="*/ 28554 h 942230"/>
                <a:gd name="connsiteX136" fmla="*/ 804804 w 1048959"/>
                <a:gd name="connsiteY136" fmla="*/ 1569 h 942230"/>
                <a:gd name="connsiteX137" fmla="*/ 826007 w 1048959"/>
                <a:gd name="connsiteY137" fmla="*/ 4782 h 942230"/>
                <a:gd name="connsiteX138" fmla="*/ 827934 w 1048959"/>
                <a:gd name="connsiteY138" fmla="*/ 14419 h 942230"/>
                <a:gd name="connsiteX139" fmla="*/ 827291 w 1048959"/>
                <a:gd name="connsiteY139" fmla="*/ 31123 h 942230"/>
                <a:gd name="connsiteX140" fmla="*/ 829219 w 1048959"/>
                <a:gd name="connsiteY140" fmla="*/ 43973 h 942230"/>
                <a:gd name="connsiteX141" fmla="*/ 853633 w 1048959"/>
                <a:gd name="connsiteY141" fmla="*/ 52326 h 942230"/>
                <a:gd name="connsiteX142" fmla="*/ 883188 w 1048959"/>
                <a:gd name="connsiteY142" fmla="*/ 48471 h 942230"/>
                <a:gd name="connsiteX143" fmla="*/ 906317 w 1048959"/>
                <a:gd name="connsiteY143" fmla="*/ 31766 h 942230"/>
                <a:gd name="connsiteX144" fmla="*/ 922380 w 1048959"/>
                <a:gd name="connsiteY144" fmla="*/ 6066 h 942230"/>
                <a:gd name="connsiteX145" fmla="*/ 933944 w 1048959"/>
                <a:gd name="connsiteY145" fmla="*/ 3497 h 942230"/>
                <a:gd name="connsiteX146" fmla="*/ 948722 w 1048959"/>
                <a:gd name="connsiteY146" fmla="*/ 7351 h 942230"/>
                <a:gd name="connsiteX147" fmla="*/ 950007 w 1048959"/>
                <a:gd name="connsiteY147" fmla="*/ 13776 h 942230"/>
                <a:gd name="connsiteX148" fmla="*/ 942939 w 1048959"/>
                <a:gd name="connsiteY148" fmla="*/ 53610 h 942230"/>
                <a:gd name="connsiteX149" fmla="*/ 932017 w 1048959"/>
                <a:gd name="connsiteY149" fmla="*/ 74170 h 942230"/>
                <a:gd name="connsiteX150" fmla="*/ 917882 w 1048959"/>
                <a:gd name="connsiteY150" fmla="*/ 77383 h 942230"/>
                <a:gd name="connsiteX151" fmla="*/ 912100 w 1048959"/>
                <a:gd name="connsiteY151" fmla="*/ 78668 h 942230"/>
                <a:gd name="connsiteX152" fmla="*/ 908887 w 1048959"/>
                <a:gd name="connsiteY152" fmla="*/ 85735 h 942230"/>
                <a:gd name="connsiteX153" fmla="*/ 906960 w 1048959"/>
                <a:gd name="connsiteY153" fmla="*/ 115932 h 942230"/>
                <a:gd name="connsiteX154" fmla="*/ 930089 w 1048959"/>
                <a:gd name="connsiteY154" fmla="*/ 156408 h 942230"/>
                <a:gd name="connsiteX155" fmla="*/ 935872 w 1048959"/>
                <a:gd name="connsiteY155" fmla="*/ 160906 h 942230"/>
                <a:gd name="connsiteX156" fmla="*/ 943582 w 1048959"/>
                <a:gd name="connsiteY156" fmla="*/ 161548 h 942230"/>
                <a:gd name="connsiteX157" fmla="*/ 955789 w 1048959"/>
                <a:gd name="connsiteY157" fmla="*/ 171186 h 942230"/>
                <a:gd name="connsiteX158" fmla="*/ 962214 w 1048959"/>
                <a:gd name="connsiteY158" fmla="*/ 185320 h 942230"/>
                <a:gd name="connsiteX159" fmla="*/ 989198 w 1048959"/>
                <a:gd name="connsiteY159" fmla="*/ 223870 h 942230"/>
                <a:gd name="connsiteX160" fmla="*/ 1005261 w 1048959"/>
                <a:gd name="connsiteY160" fmla="*/ 268201 h 942230"/>
                <a:gd name="connsiteX161" fmla="*/ 1007830 w 1048959"/>
                <a:gd name="connsiteY161" fmla="*/ 281051 h 942230"/>
                <a:gd name="connsiteX162" fmla="*/ 1018110 w 1048959"/>
                <a:gd name="connsiteY162" fmla="*/ 288118 h 942230"/>
                <a:gd name="connsiteX163" fmla="*/ 1032245 w 1048959"/>
                <a:gd name="connsiteY163" fmla="*/ 279766 h 942230"/>
                <a:gd name="connsiteX164" fmla="*/ 1036742 w 1048959"/>
                <a:gd name="connsiteY164" fmla="*/ 277839 h 942230"/>
                <a:gd name="connsiteX165" fmla="*/ 1043810 w 1048959"/>
                <a:gd name="connsiteY165" fmla="*/ 284264 h 942230"/>
                <a:gd name="connsiteX166" fmla="*/ 1042525 w 1048959"/>
                <a:gd name="connsiteY166" fmla="*/ 324098 h 942230"/>
                <a:gd name="connsiteX167" fmla="*/ 1032887 w 1048959"/>
                <a:gd name="connsiteY167" fmla="*/ 332450 h 942230"/>
                <a:gd name="connsiteX168" fmla="*/ 1018753 w 1048959"/>
                <a:gd name="connsiteY168" fmla="*/ 364574 h 942230"/>
                <a:gd name="connsiteX169" fmla="*/ 1022608 w 1048959"/>
                <a:gd name="connsiteY169" fmla="*/ 381279 h 942230"/>
                <a:gd name="connsiteX170" fmla="*/ 1038027 w 1048959"/>
                <a:gd name="connsiteY170" fmla="*/ 378709 h 942230"/>
                <a:gd name="connsiteX171" fmla="*/ 1041240 w 1048959"/>
                <a:gd name="connsiteY171" fmla="*/ 376139 h 942230"/>
                <a:gd name="connsiteX172" fmla="*/ 1046380 w 1048959"/>
                <a:gd name="connsiteY172" fmla="*/ 378709 h 942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048959" h="942230">
                  <a:moveTo>
                    <a:pt x="1046380" y="378709"/>
                  </a:moveTo>
                  <a:cubicBezTo>
                    <a:pt x="1030317" y="397984"/>
                    <a:pt x="1008473" y="424326"/>
                    <a:pt x="1000121" y="433963"/>
                  </a:cubicBezTo>
                  <a:cubicBezTo>
                    <a:pt x="985986" y="450668"/>
                    <a:pt x="970566" y="456450"/>
                    <a:pt x="959001" y="469300"/>
                  </a:cubicBezTo>
                  <a:cubicBezTo>
                    <a:pt x="947437" y="482150"/>
                    <a:pt x="939084" y="469942"/>
                    <a:pt x="934587" y="460305"/>
                  </a:cubicBezTo>
                  <a:cubicBezTo>
                    <a:pt x="930732" y="450668"/>
                    <a:pt x="938442" y="455808"/>
                    <a:pt x="937157" y="445528"/>
                  </a:cubicBezTo>
                  <a:cubicBezTo>
                    <a:pt x="935872" y="435248"/>
                    <a:pt x="902463" y="439745"/>
                    <a:pt x="886400" y="445528"/>
                  </a:cubicBezTo>
                  <a:cubicBezTo>
                    <a:pt x="870338" y="451310"/>
                    <a:pt x="887043" y="462232"/>
                    <a:pt x="890255" y="468657"/>
                  </a:cubicBezTo>
                  <a:cubicBezTo>
                    <a:pt x="893468" y="475082"/>
                    <a:pt x="885115" y="480865"/>
                    <a:pt x="878048" y="487932"/>
                  </a:cubicBezTo>
                  <a:cubicBezTo>
                    <a:pt x="870981" y="494999"/>
                    <a:pt x="853633" y="496284"/>
                    <a:pt x="842711" y="494357"/>
                  </a:cubicBezTo>
                  <a:cubicBezTo>
                    <a:pt x="832431" y="492429"/>
                    <a:pt x="822794" y="499497"/>
                    <a:pt x="813799" y="509776"/>
                  </a:cubicBezTo>
                  <a:cubicBezTo>
                    <a:pt x="804804" y="519414"/>
                    <a:pt x="800950" y="521341"/>
                    <a:pt x="794525" y="536119"/>
                  </a:cubicBezTo>
                  <a:cubicBezTo>
                    <a:pt x="788100" y="550896"/>
                    <a:pt x="800950" y="552823"/>
                    <a:pt x="808659" y="553466"/>
                  </a:cubicBezTo>
                  <a:cubicBezTo>
                    <a:pt x="816369" y="554108"/>
                    <a:pt x="827291" y="543828"/>
                    <a:pt x="834359" y="540616"/>
                  </a:cubicBezTo>
                  <a:cubicBezTo>
                    <a:pt x="841426" y="537404"/>
                    <a:pt x="840784" y="560533"/>
                    <a:pt x="842711" y="570813"/>
                  </a:cubicBezTo>
                  <a:cubicBezTo>
                    <a:pt x="844639" y="581093"/>
                    <a:pt x="840141" y="586232"/>
                    <a:pt x="836929" y="589445"/>
                  </a:cubicBezTo>
                  <a:cubicBezTo>
                    <a:pt x="833716" y="592657"/>
                    <a:pt x="821509" y="611932"/>
                    <a:pt x="811229" y="620927"/>
                  </a:cubicBezTo>
                  <a:cubicBezTo>
                    <a:pt x="800950" y="629922"/>
                    <a:pt x="796452" y="626067"/>
                    <a:pt x="788100" y="632492"/>
                  </a:cubicBezTo>
                  <a:cubicBezTo>
                    <a:pt x="779105" y="638916"/>
                    <a:pt x="746981" y="701880"/>
                    <a:pt x="743768" y="710875"/>
                  </a:cubicBezTo>
                  <a:cubicBezTo>
                    <a:pt x="739913" y="719227"/>
                    <a:pt x="720639" y="722440"/>
                    <a:pt x="711644" y="721797"/>
                  </a:cubicBezTo>
                  <a:cubicBezTo>
                    <a:pt x="702649" y="721155"/>
                    <a:pt x="710359" y="709590"/>
                    <a:pt x="709074" y="707020"/>
                  </a:cubicBezTo>
                  <a:cubicBezTo>
                    <a:pt x="707789" y="704450"/>
                    <a:pt x="666670" y="739787"/>
                    <a:pt x="659602" y="750067"/>
                  </a:cubicBezTo>
                  <a:cubicBezTo>
                    <a:pt x="652535" y="760347"/>
                    <a:pt x="664100" y="759704"/>
                    <a:pt x="673737" y="760989"/>
                  </a:cubicBezTo>
                  <a:cubicBezTo>
                    <a:pt x="683374" y="762274"/>
                    <a:pt x="677592" y="766129"/>
                    <a:pt x="673737" y="777694"/>
                  </a:cubicBezTo>
                  <a:cubicBezTo>
                    <a:pt x="670525" y="786046"/>
                    <a:pt x="661530" y="791828"/>
                    <a:pt x="653177" y="793756"/>
                  </a:cubicBezTo>
                  <a:cubicBezTo>
                    <a:pt x="649965" y="794399"/>
                    <a:pt x="647395" y="794399"/>
                    <a:pt x="644825" y="794399"/>
                  </a:cubicBezTo>
                  <a:cubicBezTo>
                    <a:pt x="635830" y="793756"/>
                    <a:pt x="619768" y="773839"/>
                    <a:pt x="604991" y="751352"/>
                  </a:cubicBezTo>
                  <a:cubicBezTo>
                    <a:pt x="590214" y="728865"/>
                    <a:pt x="583146" y="702523"/>
                    <a:pt x="580576" y="694813"/>
                  </a:cubicBezTo>
                  <a:cubicBezTo>
                    <a:pt x="577364" y="687103"/>
                    <a:pt x="556162" y="686461"/>
                    <a:pt x="549095" y="701880"/>
                  </a:cubicBezTo>
                  <a:cubicBezTo>
                    <a:pt x="541385" y="717300"/>
                    <a:pt x="547167" y="717300"/>
                    <a:pt x="555519" y="723725"/>
                  </a:cubicBezTo>
                  <a:cubicBezTo>
                    <a:pt x="563229" y="730150"/>
                    <a:pt x="556162" y="732077"/>
                    <a:pt x="552307" y="737860"/>
                  </a:cubicBezTo>
                  <a:cubicBezTo>
                    <a:pt x="547809" y="743642"/>
                    <a:pt x="518255" y="762274"/>
                    <a:pt x="502835" y="774481"/>
                  </a:cubicBezTo>
                  <a:cubicBezTo>
                    <a:pt x="487416" y="786689"/>
                    <a:pt x="475851" y="778979"/>
                    <a:pt x="460431" y="782834"/>
                  </a:cubicBezTo>
                  <a:cubicBezTo>
                    <a:pt x="445012" y="786689"/>
                    <a:pt x="444369" y="801466"/>
                    <a:pt x="441157" y="807248"/>
                  </a:cubicBezTo>
                  <a:cubicBezTo>
                    <a:pt x="437944" y="813031"/>
                    <a:pt x="414815" y="822668"/>
                    <a:pt x="388473" y="828450"/>
                  </a:cubicBezTo>
                  <a:cubicBezTo>
                    <a:pt x="362131" y="833590"/>
                    <a:pt x="329364" y="841300"/>
                    <a:pt x="304949" y="847725"/>
                  </a:cubicBezTo>
                  <a:cubicBezTo>
                    <a:pt x="280535" y="854792"/>
                    <a:pt x="263830" y="883062"/>
                    <a:pt x="256763" y="897839"/>
                  </a:cubicBezTo>
                  <a:cubicBezTo>
                    <a:pt x="249695" y="912616"/>
                    <a:pt x="259333" y="910689"/>
                    <a:pt x="265115" y="923538"/>
                  </a:cubicBezTo>
                  <a:cubicBezTo>
                    <a:pt x="270898" y="936388"/>
                    <a:pt x="256763" y="940886"/>
                    <a:pt x="248410" y="942171"/>
                  </a:cubicBezTo>
                  <a:cubicBezTo>
                    <a:pt x="240058" y="943455"/>
                    <a:pt x="209861" y="923538"/>
                    <a:pt x="198296" y="920968"/>
                  </a:cubicBezTo>
                  <a:cubicBezTo>
                    <a:pt x="187374" y="918398"/>
                    <a:pt x="153965" y="930606"/>
                    <a:pt x="142400" y="936388"/>
                  </a:cubicBezTo>
                  <a:cubicBezTo>
                    <a:pt x="140473" y="937673"/>
                    <a:pt x="138545" y="937673"/>
                    <a:pt x="136618" y="938316"/>
                  </a:cubicBezTo>
                  <a:cubicBezTo>
                    <a:pt x="137903" y="929321"/>
                    <a:pt x="135333" y="922896"/>
                    <a:pt x="132763" y="918398"/>
                  </a:cubicBezTo>
                  <a:cubicBezTo>
                    <a:pt x="129550" y="913901"/>
                    <a:pt x="125695" y="909404"/>
                    <a:pt x="125695" y="906191"/>
                  </a:cubicBezTo>
                  <a:cubicBezTo>
                    <a:pt x="125695" y="906191"/>
                    <a:pt x="125695" y="905549"/>
                    <a:pt x="125695" y="905549"/>
                  </a:cubicBezTo>
                  <a:cubicBezTo>
                    <a:pt x="125695" y="905549"/>
                    <a:pt x="125695" y="904906"/>
                    <a:pt x="126338" y="904906"/>
                  </a:cubicBezTo>
                  <a:cubicBezTo>
                    <a:pt x="126980" y="903621"/>
                    <a:pt x="128265" y="902336"/>
                    <a:pt x="129550" y="900409"/>
                  </a:cubicBezTo>
                  <a:cubicBezTo>
                    <a:pt x="130193" y="899766"/>
                    <a:pt x="130193" y="899766"/>
                    <a:pt x="130193" y="899124"/>
                  </a:cubicBezTo>
                  <a:cubicBezTo>
                    <a:pt x="130835" y="898481"/>
                    <a:pt x="131478" y="897196"/>
                    <a:pt x="132120" y="896554"/>
                  </a:cubicBezTo>
                  <a:cubicBezTo>
                    <a:pt x="132120" y="896554"/>
                    <a:pt x="132120" y="896554"/>
                    <a:pt x="132120" y="896554"/>
                  </a:cubicBezTo>
                  <a:cubicBezTo>
                    <a:pt x="134690" y="892699"/>
                    <a:pt x="136618" y="888201"/>
                    <a:pt x="134048" y="884347"/>
                  </a:cubicBezTo>
                  <a:cubicBezTo>
                    <a:pt x="129550" y="875994"/>
                    <a:pt x="127623" y="868927"/>
                    <a:pt x="117343" y="866999"/>
                  </a:cubicBezTo>
                  <a:cubicBezTo>
                    <a:pt x="107063" y="865072"/>
                    <a:pt x="98711" y="859290"/>
                    <a:pt x="98711" y="852865"/>
                  </a:cubicBezTo>
                  <a:cubicBezTo>
                    <a:pt x="98068" y="846440"/>
                    <a:pt x="104493" y="827808"/>
                    <a:pt x="101923" y="818170"/>
                  </a:cubicBezTo>
                  <a:cubicBezTo>
                    <a:pt x="99353" y="808533"/>
                    <a:pt x="94856" y="802751"/>
                    <a:pt x="84576" y="796968"/>
                  </a:cubicBezTo>
                  <a:cubicBezTo>
                    <a:pt x="73654" y="791186"/>
                    <a:pt x="56949" y="773839"/>
                    <a:pt x="51809" y="769984"/>
                  </a:cubicBezTo>
                  <a:cubicBezTo>
                    <a:pt x="46669" y="766129"/>
                    <a:pt x="38317" y="760989"/>
                    <a:pt x="35747" y="752637"/>
                  </a:cubicBezTo>
                  <a:cubicBezTo>
                    <a:pt x="33177" y="744284"/>
                    <a:pt x="31892" y="736575"/>
                    <a:pt x="31892" y="734005"/>
                  </a:cubicBezTo>
                  <a:cubicBezTo>
                    <a:pt x="31892" y="731435"/>
                    <a:pt x="29965" y="726937"/>
                    <a:pt x="31892" y="723725"/>
                  </a:cubicBezTo>
                  <a:cubicBezTo>
                    <a:pt x="33820" y="719870"/>
                    <a:pt x="43457" y="707020"/>
                    <a:pt x="45384" y="705735"/>
                  </a:cubicBezTo>
                  <a:cubicBezTo>
                    <a:pt x="46669" y="705093"/>
                    <a:pt x="57592" y="699953"/>
                    <a:pt x="56949" y="690315"/>
                  </a:cubicBezTo>
                  <a:cubicBezTo>
                    <a:pt x="56307" y="681321"/>
                    <a:pt x="53094" y="667828"/>
                    <a:pt x="49239" y="664616"/>
                  </a:cubicBezTo>
                  <a:cubicBezTo>
                    <a:pt x="44742" y="661404"/>
                    <a:pt x="39602" y="657549"/>
                    <a:pt x="37675" y="656906"/>
                  </a:cubicBezTo>
                  <a:cubicBezTo>
                    <a:pt x="35747" y="656906"/>
                    <a:pt x="28037" y="656264"/>
                    <a:pt x="23540" y="656264"/>
                  </a:cubicBezTo>
                  <a:cubicBezTo>
                    <a:pt x="19042" y="656906"/>
                    <a:pt x="2338" y="654336"/>
                    <a:pt x="1053" y="653051"/>
                  </a:cubicBezTo>
                  <a:cubicBezTo>
                    <a:pt x="-232" y="651766"/>
                    <a:pt x="2338" y="645984"/>
                    <a:pt x="1053" y="640844"/>
                  </a:cubicBezTo>
                  <a:cubicBezTo>
                    <a:pt x="-232" y="635704"/>
                    <a:pt x="-875" y="625424"/>
                    <a:pt x="2338" y="621569"/>
                  </a:cubicBezTo>
                  <a:cubicBezTo>
                    <a:pt x="5550" y="617714"/>
                    <a:pt x="10048" y="614502"/>
                    <a:pt x="15830" y="613217"/>
                  </a:cubicBezTo>
                  <a:cubicBezTo>
                    <a:pt x="21612" y="611932"/>
                    <a:pt x="31250" y="612574"/>
                    <a:pt x="35747" y="609362"/>
                  </a:cubicBezTo>
                  <a:cubicBezTo>
                    <a:pt x="40245" y="606150"/>
                    <a:pt x="59519" y="597155"/>
                    <a:pt x="62089" y="593942"/>
                  </a:cubicBezTo>
                  <a:cubicBezTo>
                    <a:pt x="64659" y="590087"/>
                    <a:pt x="66587" y="583020"/>
                    <a:pt x="64659" y="579165"/>
                  </a:cubicBezTo>
                  <a:cubicBezTo>
                    <a:pt x="62732" y="575310"/>
                    <a:pt x="58234" y="571455"/>
                    <a:pt x="58234" y="565673"/>
                  </a:cubicBezTo>
                  <a:cubicBezTo>
                    <a:pt x="58234" y="559891"/>
                    <a:pt x="58877" y="550896"/>
                    <a:pt x="59519" y="547683"/>
                  </a:cubicBezTo>
                  <a:cubicBezTo>
                    <a:pt x="60162" y="544471"/>
                    <a:pt x="57592" y="543828"/>
                    <a:pt x="64659" y="532906"/>
                  </a:cubicBezTo>
                  <a:cubicBezTo>
                    <a:pt x="71726" y="521984"/>
                    <a:pt x="85861" y="515559"/>
                    <a:pt x="88431" y="510419"/>
                  </a:cubicBezTo>
                  <a:cubicBezTo>
                    <a:pt x="91001" y="505279"/>
                    <a:pt x="90359" y="499497"/>
                    <a:pt x="91644" y="496284"/>
                  </a:cubicBezTo>
                  <a:cubicBezTo>
                    <a:pt x="92928" y="493072"/>
                    <a:pt x="93571" y="491787"/>
                    <a:pt x="97426" y="489859"/>
                  </a:cubicBezTo>
                  <a:cubicBezTo>
                    <a:pt x="101281" y="487932"/>
                    <a:pt x="103208" y="487289"/>
                    <a:pt x="104493" y="484077"/>
                  </a:cubicBezTo>
                  <a:cubicBezTo>
                    <a:pt x="105778" y="480865"/>
                    <a:pt x="104493" y="468015"/>
                    <a:pt x="104493" y="468015"/>
                  </a:cubicBezTo>
                  <a:cubicBezTo>
                    <a:pt x="104493" y="468015"/>
                    <a:pt x="104493" y="436533"/>
                    <a:pt x="104493" y="433963"/>
                  </a:cubicBezTo>
                  <a:cubicBezTo>
                    <a:pt x="103851" y="431393"/>
                    <a:pt x="97426" y="421113"/>
                    <a:pt x="94856" y="415331"/>
                  </a:cubicBezTo>
                  <a:cubicBezTo>
                    <a:pt x="92928" y="410191"/>
                    <a:pt x="90359" y="403766"/>
                    <a:pt x="90359" y="403766"/>
                  </a:cubicBezTo>
                  <a:cubicBezTo>
                    <a:pt x="90359" y="403766"/>
                    <a:pt x="77509" y="387704"/>
                    <a:pt x="72369" y="378067"/>
                  </a:cubicBezTo>
                  <a:cubicBezTo>
                    <a:pt x="66587" y="369072"/>
                    <a:pt x="60162" y="367787"/>
                    <a:pt x="57592" y="356222"/>
                  </a:cubicBezTo>
                  <a:cubicBezTo>
                    <a:pt x="55022" y="344657"/>
                    <a:pt x="54379" y="343372"/>
                    <a:pt x="53737" y="339517"/>
                  </a:cubicBezTo>
                  <a:cubicBezTo>
                    <a:pt x="53094" y="335662"/>
                    <a:pt x="42172" y="325383"/>
                    <a:pt x="38960" y="321528"/>
                  </a:cubicBezTo>
                  <a:cubicBezTo>
                    <a:pt x="35747" y="317673"/>
                    <a:pt x="31892" y="315103"/>
                    <a:pt x="35105" y="311248"/>
                  </a:cubicBezTo>
                  <a:cubicBezTo>
                    <a:pt x="38317" y="307393"/>
                    <a:pt x="42814" y="305466"/>
                    <a:pt x="42814" y="302896"/>
                  </a:cubicBezTo>
                  <a:cubicBezTo>
                    <a:pt x="42814" y="300326"/>
                    <a:pt x="40245" y="294543"/>
                    <a:pt x="40245" y="293258"/>
                  </a:cubicBezTo>
                  <a:cubicBezTo>
                    <a:pt x="40245" y="291973"/>
                    <a:pt x="43457" y="287476"/>
                    <a:pt x="47312" y="284264"/>
                  </a:cubicBezTo>
                  <a:cubicBezTo>
                    <a:pt x="51167" y="281051"/>
                    <a:pt x="65302" y="273984"/>
                    <a:pt x="72369" y="269486"/>
                  </a:cubicBezTo>
                  <a:cubicBezTo>
                    <a:pt x="79436" y="264989"/>
                    <a:pt x="85861" y="259849"/>
                    <a:pt x="90359" y="256637"/>
                  </a:cubicBezTo>
                  <a:cubicBezTo>
                    <a:pt x="94213" y="253424"/>
                    <a:pt x="102566" y="254067"/>
                    <a:pt x="115416" y="259849"/>
                  </a:cubicBezTo>
                  <a:cubicBezTo>
                    <a:pt x="128265" y="265631"/>
                    <a:pt x="143685" y="275269"/>
                    <a:pt x="155892" y="277839"/>
                  </a:cubicBezTo>
                  <a:cubicBezTo>
                    <a:pt x="168742" y="280409"/>
                    <a:pt x="166815" y="282336"/>
                    <a:pt x="184162" y="275269"/>
                  </a:cubicBezTo>
                  <a:cubicBezTo>
                    <a:pt x="202151" y="268201"/>
                    <a:pt x="208576" y="265631"/>
                    <a:pt x="218856" y="260491"/>
                  </a:cubicBezTo>
                  <a:cubicBezTo>
                    <a:pt x="229136" y="255994"/>
                    <a:pt x="245198" y="249569"/>
                    <a:pt x="249695" y="250854"/>
                  </a:cubicBezTo>
                  <a:cubicBezTo>
                    <a:pt x="254835" y="252139"/>
                    <a:pt x="254835" y="262419"/>
                    <a:pt x="269612" y="253424"/>
                  </a:cubicBezTo>
                  <a:cubicBezTo>
                    <a:pt x="284390" y="244429"/>
                    <a:pt x="286960" y="239289"/>
                    <a:pt x="286960" y="236077"/>
                  </a:cubicBezTo>
                  <a:cubicBezTo>
                    <a:pt x="286960" y="233507"/>
                    <a:pt x="299809" y="224512"/>
                    <a:pt x="291457" y="216160"/>
                  </a:cubicBezTo>
                  <a:cubicBezTo>
                    <a:pt x="283105" y="207807"/>
                    <a:pt x="264473" y="202668"/>
                    <a:pt x="263188" y="201383"/>
                  </a:cubicBezTo>
                  <a:cubicBezTo>
                    <a:pt x="261903" y="200098"/>
                    <a:pt x="257405" y="196885"/>
                    <a:pt x="260618" y="191103"/>
                  </a:cubicBezTo>
                  <a:cubicBezTo>
                    <a:pt x="263830" y="185320"/>
                    <a:pt x="269612" y="178896"/>
                    <a:pt x="270898" y="176326"/>
                  </a:cubicBezTo>
                  <a:cubicBezTo>
                    <a:pt x="272182" y="173756"/>
                    <a:pt x="280535" y="167973"/>
                    <a:pt x="284390" y="166046"/>
                  </a:cubicBezTo>
                  <a:cubicBezTo>
                    <a:pt x="288887" y="164761"/>
                    <a:pt x="299809" y="168616"/>
                    <a:pt x="302379" y="160263"/>
                  </a:cubicBezTo>
                  <a:cubicBezTo>
                    <a:pt x="304949" y="151911"/>
                    <a:pt x="308162" y="148056"/>
                    <a:pt x="313302" y="143559"/>
                  </a:cubicBezTo>
                  <a:cubicBezTo>
                    <a:pt x="318442" y="139061"/>
                    <a:pt x="333861" y="133921"/>
                    <a:pt x="337074" y="132636"/>
                  </a:cubicBezTo>
                  <a:cubicBezTo>
                    <a:pt x="340286" y="131352"/>
                    <a:pt x="347353" y="126212"/>
                    <a:pt x="350566" y="120429"/>
                  </a:cubicBezTo>
                  <a:cubicBezTo>
                    <a:pt x="353136" y="116574"/>
                    <a:pt x="357633" y="114004"/>
                    <a:pt x="358276" y="111434"/>
                  </a:cubicBezTo>
                  <a:cubicBezTo>
                    <a:pt x="358918" y="111434"/>
                    <a:pt x="359561" y="110792"/>
                    <a:pt x="360203" y="110792"/>
                  </a:cubicBezTo>
                  <a:cubicBezTo>
                    <a:pt x="365986" y="108864"/>
                    <a:pt x="370483" y="106295"/>
                    <a:pt x="375623" y="103725"/>
                  </a:cubicBezTo>
                  <a:cubicBezTo>
                    <a:pt x="380120" y="101155"/>
                    <a:pt x="384618" y="101155"/>
                    <a:pt x="390400" y="101797"/>
                  </a:cubicBezTo>
                  <a:cubicBezTo>
                    <a:pt x="405177" y="103082"/>
                    <a:pt x="418027" y="106937"/>
                    <a:pt x="432162" y="101155"/>
                  </a:cubicBezTo>
                  <a:cubicBezTo>
                    <a:pt x="445012" y="95372"/>
                    <a:pt x="457219" y="87020"/>
                    <a:pt x="467499" y="78025"/>
                  </a:cubicBezTo>
                  <a:cubicBezTo>
                    <a:pt x="484846" y="63248"/>
                    <a:pt x="500908" y="47186"/>
                    <a:pt x="520825" y="34978"/>
                  </a:cubicBezTo>
                  <a:cubicBezTo>
                    <a:pt x="525965" y="31766"/>
                    <a:pt x="531747" y="29196"/>
                    <a:pt x="538172" y="30481"/>
                  </a:cubicBezTo>
                  <a:cubicBezTo>
                    <a:pt x="551022" y="33051"/>
                    <a:pt x="552949" y="50398"/>
                    <a:pt x="563872" y="56823"/>
                  </a:cubicBezTo>
                  <a:cubicBezTo>
                    <a:pt x="578006" y="65818"/>
                    <a:pt x="601136" y="53610"/>
                    <a:pt x="613343" y="65175"/>
                  </a:cubicBezTo>
                  <a:cubicBezTo>
                    <a:pt x="615913" y="67103"/>
                    <a:pt x="617198" y="70315"/>
                    <a:pt x="617841" y="72885"/>
                  </a:cubicBezTo>
                  <a:cubicBezTo>
                    <a:pt x="621696" y="82522"/>
                    <a:pt x="620411" y="93445"/>
                    <a:pt x="618483" y="103082"/>
                  </a:cubicBezTo>
                  <a:cubicBezTo>
                    <a:pt x="615271" y="119144"/>
                    <a:pt x="610773" y="134564"/>
                    <a:pt x="603706" y="149341"/>
                  </a:cubicBezTo>
                  <a:cubicBezTo>
                    <a:pt x="599208" y="158978"/>
                    <a:pt x="594069" y="168616"/>
                    <a:pt x="595354" y="179538"/>
                  </a:cubicBezTo>
                  <a:cubicBezTo>
                    <a:pt x="597281" y="197528"/>
                    <a:pt x="619126" y="209735"/>
                    <a:pt x="638400" y="207807"/>
                  </a:cubicBezTo>
                  <a:cubicBezTo>
                    <a:pt x="657675" y="205880"/>
                    <a:pt x="674380" y="194315"/>
                    <a:pt x="688514" y="180823"/>
                  </a:cubicBezTo>
                  <a:cubicBezTo>
                    <a:pt x="693012" y="176326"/>
                    <a:pt x="697509" y="171828"/>
                    <a:pt x="703934" y="168616"/>
                  </a:cubicBezTo>
                  <a:cubicBezTo>
                    <a:pt x="711001" y="165403"/>
                    <a:pt x="718069" y="166688"/>
                    <a:pt x="725136" y="167973"/>
                  </a:cubicBezTo>
                  <a:cubicBezTo>
                    <a:pt x="727706" y="168616"/>
                    <a:pt x="749551" y="173756"/>
                    <a:pt x="750836" y="169901"/>
                  </a:cubicBezTo>
                  <a:cubicBezTo>
                    <a:pt x="752120" y="164118"/>
                    <a:pt x="755975" y="158336"/>
                    <a:pt x="760473" y="154481"/>
                  </a:cubicBezTo>
                  <a:cubicBezTo>
                    <a:pt x="763685" y="151911"/>
                    <a:pt x="768183" y="149341"/>
                    <a:pt x="769468" y="145486"/>
                  </a:cubicBezTo>
                  <a:cubicBezTo>
                    <a:pt x="770753" y="141631"/>
                    <a:pt x="769468" y="137776"/>
                    <a:pt x="767540" y="134564"/>
                  </a:cubicBezTo>
                  <a:cubicBezTo>
                    <a:pt x="765613" y="131352"/>
                    <a:pt x="762400" y="128139"/>
                    <a:pt x="759830" y="124927"/>
                  </a:cubicBezTo>
                  <a:cubicBezTo>
                    <a:pt x="755975" y="119144"/>
                    <a:pt x="754048" y="112077"/>
                    <a:pt x="752763" y="105009"/>
                  </a:cubicBezTo>
                  <a:cubicBezTo>
                    <a:pt x="750836" y="95372"/>
                    <a:pt x="748908" y="85092"/>
                    <a:pt x="750193" y="75455"/>
                  </a:cubicBezTo>
                  <a:cubicBezTo>
                    <a:pt x="751478" y="69673"/>
                    <a:pt x="752763" y="61963"/>
                    <a:pt x="746981" y="58750"/>
                  </a:cubicBezTo>
                  <a:cubicBezTo>
                    <a:pt x="744411" y="57465"/>
                    <a:pt x="741198" y="57465"/>
                    <a:pt x="738628" y="56823"/>
                  </a:cubicBezTo>
                  <a:cubicBezTo>
                    <a:pt x="732846" y="54896"/>
                    <a:pt x="730276" y="48471"/>
                    <a:pt x="731561" y="42688"/>
                  </a:cubicBezTo>
                  <a:cubicBezTo>
                    <a:pt x="732846" y="36906"/>
                    <a:pt x="736701" y="32408"/>
                    <a:pt x="741198" y="28554"/>
                  </a:cubicBezTo>
                  <a:cubicBezTo>
                    <a:pt x="758545" y="13776"/>
                    <a:pt x="782317" y="7351"/>
                    <a:pt x="804804" y="1569"/>
                  </a:cubicBezTo>
                  <a:cubicBezTo>
                    <a:pt x="811872" y="-358"/>
                    <a:pt x="822152" y="-1643"/>
                    <a:pt x="826007" y="4782"/>
                  </a:cubicBezTo>
                  <a:cubicBezTo>
                    <a:pt x="827934" y="7351"/>
                    <a:pt x="827934" y="11206"/>
                    <a:pt x="827934" y="14419"/>
                  </a:cubicBezTo>
                  <a:cubicBezTo>
                    <a:pt x="827934" y="19559"/>
                    <a:pt x="827291" y="25341"/>
                    <a:pt x="827291" y="31123"/>
                  </a:cubicBezTo>
                  <a:cubicBezTo>
                    <a:pt x="827291" y="35621"/>
                    <a:pt x="826649" y="40118"/>
                    <a:pt x="829219" y="43973"/>
                  </a:cubicBezTo>
                  <a:cubicBezTo>
                    <a:pt x="833716" y="51683"/>
                    <a:pt x="844639" y="52968"/>
                    <a:pt x="853633" y="52326"/>
                  </a:cubicBezTo>
                  <a:cubicBezTo>
                    <a:pt x="863271" y="52326"/>
                    <a:pt x="873551" y="51683"/>
                    <a:pt x="883188" y="48471"/>
                  </a:cubicBezTo>
                  <a:cubicBezTo>
                    <a:pt x="892825" y="45258"/>
                    <a:pt x="901178" y="39476"/>
                    <a:pt x="906317" y="31766"/>
                  </a:cubicBezTo>
                  <a:cubicBezTo>
                    <a:pt x="911457" y="22771"/>
                    <a:pt x="913385" y="11206"/>
                    <a:pt x="922380" y="6066"/>
                  </a:cubicBezTo>
                  <a:cubicBezTo>
                    <a:pt x="926235" y="4139"/>
                    <a:pt x="930089" y="3497"/>
                    <a:pt x="933944" y="3497"/>
                  </a:cubicBezTo>
                  <a:cubicBezTo>
                    <a:pt x="939084" y="2854"/>
                    <a:pt x="945509" y="2854"/>
                    <a:pt x="948722" y="7351"/>
                  </a:cubicBezTo>
                  <a:cubicBezTo>
                    <a:pt x="950007" y="9279"/>
                    <a:pt x="950007" y="11849"/>
                    <a:pt x="950007" y="13776"/>
                  </a:cubicBezTo>
                  <a:cubicBezTo>
                    <a:pt x="950007" y="27269"/>
                    <a:pt x="946794" y="40761"/>
                    <a:pt x="942939" y="53610"/>
                  </a:cubicBezTo>
                  <a:cubicBezTo>
                    <a:pt x="941012" y="61320"/>
                    <a:pt x="938442" y="69030"/>
                    <a:pt x="932017" y="74170"/>
                  </a:cubicBezTo>
                  <a:cubicBezTo>
                    <a:pt x="928162" y="77383"/>
                    <a:pt x="923022" y="78025"/>
                    <a:pt x="917882" y="77383"/>
                  </a:cubicBezTo>
                  <a:cubicBezTo>
                    <a:pt x="914027" y="76740"/>
                    <a:pt x="914027" y="76098"/>
                    <a:pt x="912100" y="78668"/>
                  </a:cubicBezTo>
                  <a:cubicBezTo>
                    <a:pt x="910815" y="80595"/>
                    <a:pt x="909530" y="83165"/>
                    <a:pt x="908887" y="85735"/>
                  </a:cubicBezTo>
                  <a:cubicBezTo>
                    <a:pt x="905675" y="95372"/>
                    <a:pt x="905032" y="105652"/>
                    <a:pt x="906960" y="115932"/>
                  </a:cubicBezTo>
                  <a:cubicBezTo>
                    <a:pt x="910172" y="131352"/>
                    <a:pt x="919167" y="144844"/>
                    <a:pt x="930089" y="156408"/>
                  </a:cubicBezTo>
                  <a:cubicBezTo>
                    <a:pt x="932017" y="158336"/>
                    <a:pt x="933944" y="160263"/>
                    <a:pt x="935872" y="160906"/>
                  </a:cubicBezTo>
                  <a:cubicBezTo>
                    <a:pt x="938442" y="161548"/>
                    <a:pt x="941012" y="161548"/>
                    <a:pt x="943582" y="161548"/>
                  </a:cubicBezTo>
                  <a:cubicBezTo>
                    <a:pt x="948722" y="162191"/>
                    <a:pt x="953219" y="166688"/>
                    <a:pt x="955789" y="171186"/>
                  </a:cubicBezTo>
                  <a:cubicBezTo>
                    <a:pt x="958359" y="175683"/>
                    <a:pt x="959644" y="180823"/>
                    <a:pt x="962214" y="185320"/>
                  </a:cubicBezTo>
                  <a:cubicBezTo>
                    <a:pt x="968639" y="199455"/>
                    <a:pt x="980203" y="211020"/>
                    <a:pt x="989198" y="223870"/>
                  </a:cubicBezTo>
                  <a:cubicBezTo>
                    <a:pt x="998193" y="237362"/>
                    <a:pt x="1003975" y="252782"/>
                    <a:pt x="1005261" y="268201"/>
                  </a:cubicBezTo>
                  <a:cubicBezTo>
                    <a:pt x="1005903" y="272699"/>
                    <a:pt x="1005903" y="276554"/>
                    <a:pt x="1007830" y="281051"/>
                  </a:cubicBezTo>
                  <a:cubicBezTo>
                    <a:pt x="1009758" y="284906"/>
                    <a:pt x="1013613" y="288118"/>
                    <a:pt x="1018110" y="288118"/>
                  </a:cubicBezTo>
                  <a:cubicBezTo>
                    <a:pt x="1023893" y="288118"/>
                    <a:pt x="1027748" y="282979"/>
                    <a:pt x="1032245" y="279766"/>
                  </a:cubicBezTo>
                  <a:cubicBezTo>
                    <a:pt x="1033530" y="279124"/>
                    <a:pt x="1035457" y="277839"/>
                    <a:pt x="1036742" y="277839"/>
                  </a:cubicBezTo>
                  <a:cubicBezTo>
                    <a:pt x="1039955" y="277839"/>
                    <a:pt x="1042525" y="281051"/>
                    <a:pt x="1043810" y="284264"/>
                  </a:cubicBezTo>
                  <a:cubicBezTo>
                    <a:pt x="1049592" y="297113"/>
                    <a:pt x="1052162" y="313175"/>
                    <a:pt x="1042525" y="324098"/>
                  </a:cubicBezTo>
                  <a:cubicBezTo>
                    <a:pt x="1039955" y="327310"/>
                    <a:pt x="1036100" y="329880"/>
                    <a:pt x="1032887" y="332450"/>
                  </a:cubicBezTo>
                  <a:cubicBezTo>
                    <a:pt x="1023250" y="340802"/>
                    <a:pt x="1018753" y="353010"/>
                    <a:pt x="1018753" y="364574"/>
                  </a:cubicBezTo>
                  <a:cubicBezTo>
                    <a:pt x="1018753" y="369072"/>
                    <a:pt x="1018753" y="378067"/>
                    <a:pt x="1022608" y="381279"/>
                  </a:cubicBezTo>
                  <a:cubicBezTo>
                    <a:pt x="1027105" y="385134"/>
                    <a:pt x="1034815" y="381922"/>
                    <a:pt x="1038027" y="378709"/>
                  </a:cubicBezTo>
                  <a:cubicBezTo>
                    <a:pt x="1039312" y="378067"/>
                    <a:pt x="1039955" y="376782"/>
                    <a:pt x="1041240" y="376139"/>
                  </a:cubicBezTo>
                  <a:cubicBezTo>
                    <a:pt x="1043810" y="377424"/>
                    <a:pt x="1045095" y="378067"/>
                    <a:pt x="1046380" y="378709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 21">
              <a:extLst>
                <a:ext uri="{FF2B5EF4-FFF2-40B4-BE49-F238E27FC236}">
                  <a16:creationId xmlns:a16="http://schemas.microsoft.com/office/drawing/2014/main" id="{DBFED535-1070-1487-5182-19A4C0932475}"/>
                </a:ext>
              </a:extLst>
            </p:cNvPr>
            <p:cNvSpPr/>
            <p:nvPr/>
          </p:nvSpPr>
          <p:spPr>
            <a:xfrm>
              <a:off x="2608595" y="2432416"/>
              <a:ext cx="36621" cy="32867"/>
            </a:xfrm>
            <a:custGeom>
              <a:avLst/>
              <a:gdLst>
                <a:gd name="connsiteX0" fmla="*/ 13492 w 36621"/>
                <a:gd name="connsiteY0" fmla="*/ 5241 h 32867"/>
                <a:gd name="connsiteX1" fmla="*/ 21202 w 36621"/>
                <a:gd name="connsiteY1" fmla="*/ 101 h 32867"/>
                <a:gd name="connsiteX2" fmla="*/ 31482 w 36621"/>
                <a:gd name="connsiteY2" fmla="*/ 3956 h 32867"/>
                <a:gd name="connsiteX3" fmla="*/ 36622 w 36621"/>
                <a:gd name="connsiteY3" fmla="*/ 17448 h 32867"/>
                <a:gd name="connsiteX4" fmla="*/ 35979 w 36621"/>
                <a:gd name="connsiteY4" fmla="*/ 21945 h 32867"/>
                <a:gd name="connsiteX5" fmla="*/ 24414 w 36621"/>
                <a:gd name="connsiteY5" fmla="*/ 30298 h 32867"/>
                <a:gd name="connsiteX6" fmla="*/ 21845 w 36621"/>
                <a:gd name="connsiteY6" fmla="*/ 32225 h 32867"/>
                <a:gd name="connsiteX7" fmla="*/ 18632 w 36621"/>
                <a:gd name="connsiteY7" fmla="*/ 32867 h 32867"/>
                <a:gd name="connsiteX8" fmla="*/ 6425 w 36621"/>
                <a:gd name="connsiteY8" fmla="*/ 29655 h 32867"/>
                <a:gd name="connsiteX9" fmla="*/ 0 w 36621"/>
                <a:gd name="connsiteY9" fmla="*/ 19375 h 32867"/>
                <a:gd name="connsiteX10" fmla="*/ 2570 w 36621"/>
                <a:gd name="connsiteY10" fmla="*/ 11023 h 32867"/>
                <a:gd name="connsiteX11" fmla="*/ 5782 w 36621"/>
                <a:gd name="connsiteY11" fmla="*/ 7168 h 32867"/>
                <a:gd name="connsiteX12" fmla="*/ 13492 w 36621"/>
                <a:gd name="connsiteY12" fmla="*/ 5241 h 3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621" h="32867">
                  <a:moveTo>
                    <a:pt x="13492" y="5241"/>
                  </a:moveTo>
                  <a:cubicBezTo>
                    <a:pt x="16062" y="3956"/>
                    <a:pt x="17990" y="743"/>
                    <a:pt x="21202" y="101"/>
                  </a:cubicBezTo>
                  <a:cubicBezTo>
                    <a:pt x="24414" y="-542"/>
                    <a:pt x="29554" y="2028"/>
                    <a:pt x="31482" y="3956"/>
                  </a:cubicBezTo>
                  <a:cubicBezTo>
                    <a:pt x="34694" y="7168"/>
                    <a:pt x="36622" y="12950"/>
                    <a:pt x="36622" y="17448"/>
                  </a:cubicBezTo>
                  <a:cubicBezTo>
                    <a:pt x="36622" y="18733"/>
                    <a:pt x="36622" y="20660"/>
                    <a:pt x="35979" y="21945"/>
                  </a:cubicBezTo>
                  <a:cubicBezTo>
                    <a:pt x="34052" y="25800"/>
                    <a:pt x="28269" y="27085"/>
                    <a:pt x="24414" y="30298"/>
                  </a:cubicBezTo>
                  <a:cubicBezTo>
                    <a:pt x="23772" y="30940"/>
                    <a:pt x="22487" y="32225"/>
                    <a:pt x="21845" y="32225"/>
                  </a:cubicBezTo>
                  <a:cubicBezTo>
                    <a:pt x="20560" y="32867"/>
                    <a:pt x="19917" y="32867"/>
                    <a:pt x="18632" y="32867"/>
                  </a:cubicBezTo>
                  <a:cubicBezTo>
                    <a:pt x="14135" y="32867"/>
                    <a:pt x="9637" y="32225"/>
                    <a:pt x="6425" y="29655"/>
                  </a:cubicBezTo>
                  <a:cubicBezTo>
                    <a:pt x="2570" y="27085"/>
                    <a:pt x="642" y="23230"/>
                    <a:pt x="0" y="19375"/>
                  </a:cubicBezTo>
                  <a:cubicBezTo>
                    <a:pt x="0" y="16805"/>
                    <a:pt x="1285" y="13593"/>
                    <a:pt x="2570" y="11023"/>
                  </a:cubicBezTo>
                  <a:cubicBezTo>
                    <a:pt x="3212" y="9738"/>
                    <a:pt x="3855" y="8453"/>
                    <a:pt x="5782" y="7168"/>
                  </a:cubicBezTo>
                  <a:cubicBezTo>
                    <a:pt x="7710" y="5883"/>
                    <a:pt x="10922" y="6526"/>
                    <a:pt x="13492" y="5241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 23">
              <a:extLst>
                <a:ext uri="{FF2B5EF4-FFF2-40B4-BE49-F238E27FC236}">
                  <a16:creationId xmlns:a16="http://schemas.microsoft.com/office/drawing/2014/main" id="{09BEE0D8-B6BB-F94E-4C35-F39A27241EBC}"/>
                </a:ext>
              </a:extLst>
            </p:cNvPr>
            <p:cNvSpPr/>
            <p:nvPr/>
          </p:nvSpPr>
          <p:spPr>
            <a:xfrm>
              <a:off x="2608595" y="2432416"/>
              <a:ext cx="36621" cy="32867"/>
            </a:xfrm>
            <a:custGeom>
              <a:avLst/>
              <a:gdLst>
                <a:gd name="connsiteX0" fmla="*/ 13492 w 36621"/>
                <a:gd name="connsiteY0" fmla="*/ 5241 h 32867"/>
                <a:gd name="connsiteX1" fmla="*/ 21202 w 36621"/>
                <a:gd name="connsiteY1" fmla="*/ 101 h 32867"/>
                <a:gd name="connsiteX2" fmla="*/ 31482 w 36621"/>
                <a:gd name="connsiteY2" fmla="*/ 3956 h 32867"/>
                <a:gd name="connsiteX3" fmla="*/ 36622 w 36621"/>
                <a:gd name="connsiteY3" fmla="*/ 17448 h 32867"/>
                <a:gd name="connsiteX4" fmla="*/ 35979 w 36621"/>
                <a:gd name="connsiteY4" fmla="*/ 21945 h 32867"/>
                <a:gd name="connsiteX5" fmla="*/ 24414 w 36621"/>
                <a:gd name="connsiteY5" fmla="*/ 30298 h 32867"/>
                <a:gd name="connsiteX6" fmla="*/ 21845 w 36621"/>
                <a:gd name="connsiteY6" fmla="*/ 32225 h 32867"/>
                <a:gd name="connsiteX7" fmla="*/ 18632 w 36621"/>
                <a:gd name="connsiteY7" fmla="*/ 32867 h 32867"/>
                <a:gd name="connsiteX8" fmla="*/ 6425 w 36621"/>
                <a:gd name="connsiteY8" fmla="*/ 29655 h 32867"/>
                <a:gd name="connsiteX9" fmla="*/ 0 w 36621"/>
                <a:gd name="connsiteY9" fmla="*/ 19375 h 32867"/>
                <a:gd name="connsiteX10" fmla="*/ 2570 w 36621"/>
                <a:gd name="connsiteY10" fmla="*/ 11023 h 32867"/>
                <a:gd name="connsiteX11" fmla="*/ 5782 w 36621"/>
                <a:gd name="connsiteY11" fmla="*/ 7168 h 32867"/>
                <a:gd name="connsiteX12" fmla="*/ 13492 w 36621"/>
                <a:gd name="connsiteY12" fmla="*/ 5241 h 3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621" h="32867">
                  <a:moveTo>
                    <a:pt x="13492" y="5241"/>
                  </a:moveTo>
                  <a:cubicBezTo>
                    <a:pt x="16062" y="3956"/>
                    <a:pt x="17990" y="743"/>
                    <a:pt x="21202" y="101"/>
                  </a:cubicBezTo>
                  <a:cubicBezTo>
                    <a:pt x="24414" y="-542"/>
                    <a:pt x="29554" y="2028"/>
                    <a:pt x="31482" y="3956"/>
                  </a:cubicBezTo>
                  <a:cubicBezTo>
                    <a:pt x="34694" y="7168"/>
                    <a:pt x="36622" y="12950"/>
                    <a:pt x="36622" y="17448"/>
                  </a:cubicBezTo>
                  <a:cubicBezTo>
                    <a:pt x="36622" y="18733"/>
                    <a:pt x="36622" y="20660"/>
                    <a:pt x="35979" y="21945"/>
                  </a:cubicBezTo>
                  <a:cubicBezTo>
                    <a:pt x="34052" y="25800"/>
                    <a:pt x="28269" y="27085"/>
                    <a:pt x="24414" y="30298"/>
                  </a:cubicBezTo>
                  <a:cubicBezTo>
                    <a:pt x="23772" y="30940"/>
                    <a:pt x="22487" y="32225"/>
                    <a:pt x="21845" y="32225"/>
                  </a:cubicBezTo>
                  <a:cubicBezTo>
                    <a:pt x="20560" y="32867"/>
                    <a:pt x="19917" y="32867"/>
                    <a:pt x="18632" y="32867"/>
                  </a:cubicBezTo>
                  <a:cubicBezTo>
                    <a:pt x="14135" y="32867"/>
                    <a:pt x="9637" y="32225"/>
                    <a:pt x="6425" y="29655"/>
                  </a:cubicBezTo>
                  <a:cubicBezTo>
                    <a:pt x="2570" y="27085"/>
                    <a:pt x="642" y="23230"/>
                    <a:pt x="0" y="19375"/>
                  </a:cubicBezTo>
                  <a:cubicBezTo>
                    <a:pt x="0" y="16805"/>
                    <a:pt x="1285" y="13593"/>
                    <a:pt x="2570" y="11023"/>
                  </a:cubicBezTo>
                  <a:cubicBezTo>
                    <a:pt x="3212" y="9738"/>
                    <a:pt x="3855" y="8453"/>
                    <a:pt x="5782" y="7168"/>
                  </a:cubicBezTo>
                  <a:cubicBezTo>
                    <a:pt x="7710" y="5883"/>
                    <a:pt x="10922" y="6526"/>
                    <a:pt x="13492" y="5241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 24">
              <a:extLst>
                <a:ext uri="{FF2B5EF4-FFF2-40B4-BE49-F238E27FC236}">
                  <a16:creationId xmlns:a16="http://schemas.microsoft.com/office/drawing/2014/main" id="{D796077C-36FA-335C-E0E8-23061F603D32}"/>
                </a:ext>
              </a:extLst>
            </p:cNvPr>
            <p:cNvSpPr/>
            <p:nvPr/>
          </p:nvSpPr>
          <p:spPr>
            <a:xfrm>
              <a:off x="2546817" y="2419827"/>
              <a:ext cx="33509" cy="36727"/>
            </a:xfrm>
            <a:custGeom>
              <a:avLst/>
              <a:gdLst>
                <a:gd name="connsiteX0" fmla="*/ 20017 w 33509"/>
                <a:gd name="connsiteY0" fmla="*/ 1767 h 36727"/>
                <a:gd name="connsiteX1" fmla="*/ 23229 w 33509"/>
                <a:gd name="connsiteY1" fmla="*/ 482 h 36727"/>
                <a:gd name="connsiteX2" fmla="*/ 28369 w 33509"/>
                <a:gd name="connsiteY2" fmla="*/ 482 h 36727"/>
                <a:gd name="connsiteX3" fmla="*/ 31582 w 33509"/>
                <a:gd name="connsiteY3" fmla="*/ 1124 h 36727"/>
                <a:gd name="connsiteX4" fmla="*/ 32867 w 33509"/>
                <a:gd name="connsiteY4" fmla="*/ 4337 h 36727"/>
                <a:gd name="connsiteX5" fmla="*/ 33509 w 33509"/>
                <a:gd name="connsiteY5" fmla="*/ 16544 h 36727"/>
                <a:gd name="connsiteX6" fmla="*/ 32867 w 33509"/>
                <a:gd name="connsiteY6" fmla="*/ 21041 h 36727"/>
                <a:gd name="connsiteX7" fmla="*/ 31582 w 33509"/>
                <a:gd name="connsiteY7" fmla="*/ 23611 h 36727"/>
                <a:gd name="connsiteX8" fmla="*/ 28369 w 33509"/>
                <a:gd name="connsiteY8" fmla="*/ 28751 h 36727"/>
                <a:gd name="connsiteX9" fmla="*/ 25157 w 33509"/>
                <a:gd name="connsiteY9" fmla="*/ 32606 h 36727"/>
                <a:gd name="connsiteX10" fmla="*/ 17447 w 33509"/>
                <a:gd name="connsiteY10" fmla="*/ 35819 h 36727"/>
                <a:gd name="connsiteX11" fmla="*/ 11665 w 33509"/>
                <a:gd name="connsiteY11" fmla="*/ 36461 h 36727"/>
                <a:gd name="connsiteX12" fmla="*/ 8452 w 33509"/>
                <a:gd name="connsiteY12" fmla="*/ 35176 h 36727"/>
                <a:gd name="connsiteX13" fmla="*/ 1385 w 33509"/>
                <a:gd name="connsiteY13" fmla="*/ 24896 h 36727"/>
                <a:gd name="connsiteX14" fmla="*/ 2670 w 33509"/>
                <a:gd name="connsiteY14" fmla="*/ 10762 h 36727"/>
                <a:gd name="connsiteX15" fmla="*/ 100 w 33509"/>
                <a:gd name="connsiteY15" fmla="*/ 6264 h 36727"/>
                <a:gd name="connsiteX16" fmla="*/ 4597 w 33509"/>
                <a:gd name="connsiteY16" fmla="*/ 1124 h 36727"/>
                <a:gd name="connsiteX17" fmla="*/ 12307 w 33509"/>
                <a:gd name="connsiteY17" fmla="*/ 1767 h 36727"/>
                <a:gd name="connsiteX18" fmla="*/ 20017 w 33509"/>
                <a:gd name="connsiteY18" fmla="*/ 176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509" h="36727">
                  <a:moveTo>
                    <a:pt x="20017" y="1767"/>
                  </a:moveTo>
                  <a:cubicBezTo>
                    <a:pt x="21302" y="1124"/>
                    <a:pt x="21944" y="482"/>
                    <a:pt x="23229" y="482"/>
                  </a:cubicBezTo>
                  <a:cubicBezTo>
                    <a:pt x="25157" y="-161"/>
                    <a:pt x="26442" y="-161"/>
                    <a:pt x="28369" y="482"/>
                  </a:cubicBezTo>
                  <a:cubicBezTo>
                    <a:pt x="29654" y="482"/>
                    <a:pt x="30297" y="482"/>
                    <a:pt x="31582" y="1124"/>
                  </a:cubicBezTo>
                  <a:cubicBezTo>
                    <a:pt x="32224" y="1767"/>
                    <a:pt x="32867" y="3052"/>
                    <a:pt x="32867" y="4337"/>
                  </a:cubicBezTo>
                  <a:cubicBezTo>
                    <a:pt x="32867" y="8192"/>
                    <a:pt x="32867" y="12689"/>
                    <a:pt x="33509" y="16544"/>
                  </a:cubicBezTo>
                  <a:cubicBezTo>
                    <a:pt x="33509" y="17829"/>
                    <a:pt x="33509" y="19756"/>
                    <a:pt x="32867" y="21041"/>
                  </a:cubicBezTo>
                  <a:cubicBezTo>
                    <a:pt x="32224" y="22326"/>
                    <a:pt x="32224" y="22969"/>
                    <a:pt x="31582" y="23611"/>
                  </a:cubicBezTo>
                  <a:cubicBezTo>
                    <a:pt x="30297" y="25539"/>
                    <a:pt x="29654" y="26824"/>
                    <a:pt x="28369" y="28751"/>
                  </a:cubicBezTo>
                  <a:cubicBezTo>
                    <a:pt x="27727" y="30036"/>
                    <a:pt x="26442" y="31321"/>
                    <a:pt x="25157" y="32606"/>
                  </a:cubicBezTo>
                  <a:cubicBezTo>
                    <a:pt x="23229" y="34534"/>
                    <a:pt x="20017" y="35176"/>
                    <a:pt x="17447" y="35819"/>
                  </a:cubicBezTo>
                  <a:cubicBezTo>
                    <a:pt x="15520" y="36461"/>
                    <a:pt x="13592" y="37104"/>
                    <a:pt x="11665" y="36461"/>
                  </a:cubicBezTo>
                  <a:cubicBezTo>
                    <a:pt x="10380" y="36461"/>
                    <a:pt x="9095" y="35819"/>
                    <a:pt x="8452" y="35176"/>
                  </a:cubicBezTo>
                  <a:cubicBezTo>
                    <a:pt x="4597" y="32606"/>
                    <a:pt x="1385" y="29394"/>
                    <a:pt x="1385" y="24896"/>
                  </a:cubicBezTo>
                  <a:cubicBezTo>
                    <a:pt x="1385" y="20399"/>
                    <a:pt x="5240" y="15259"/>
                    <a:pt x="2670" y="10762"/>
                  </a:cubicBezTo>
                  <a:cubicBezTo>
                    <a:pt x="2027" y="9477"/>
                    <a:pt x="742" y="8192"/>
                    <a:pt x="100" y="6264"/>
                  </a:cubicBezTo>
                  <a:cubicBezTo>
                    <a:pt x="-543" y="3694"/>
                    <a:pt x="2027" y="1767"/>
                    <a:pt x="4597" y="1124"/>
                  </a:cubicBezTo>
                  <a:cubicBezTo>
                    <a:pt x="7167" y="482"/>
                    <a:pt x="9737" y="1124"/>
                    <a:pt x="12307" y="1767"/>
                  </a:cubicBezTo>
                  <a:cubicBezTo>
                    <a:pt x="14877" y="1767"/>
                    <a:pt x="17447" y="2409"/>
                    <a:pt x="20017" y="1767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 25">
              <a:extLst>
                <a:ext uri="{FF2B5EF4-FFF2-40B4-BE49-F238E27FC236}">
                  <a16:creationId xmlns:a16="http://schemas.microsoft.com/office/drawing/2014/main" id="{CF99DA24-1BCA-E6B1-FE8D-2610CCD90C68}"/>
                </a:ext>
              </a:extLst>
            </p:cNvPr>
            <p:cNvSpPr/>
            <p:nvPr/>
          </p:nvSpPr>
          <p:spPr>
            <a:xfrm>
              <a:off x="2546817" y="2419827"/>
              <a:ext cx="33509" cy="36727"/>
            </a:xfrm>
            <a:custGeom>
              <a:avLst/>
              <a:gdLst>
                <a:gd name="connsiteX0" fmla="*/ 20017 w 33509"/>
                <a:gd name="connsiteY0" fmla="*/ 1767 h 36727"/>
                <a:gd name="connsiteX1" fmla="*/ 23229 w 33509"/>
                <a:gd name="connsiteY1" fmla="*/ 482 h 36727"/>
                <a:gd name="connsiteX2" fmla="*/ 28369 w 33509"/>
                <a:gd name="connsiteY2" fmla="*/ 482 h 36727"/>
                <a:gd name="connsiteX3" fmla="*/ 31582 w 33509"/>
                <a:gd name="connsiteY3" fmla="*/ 1124 h 36727"/>
                <a:gd name="connsiteX4" fmla="*/ 32867 w 33509"/>
                <a:gd name="connsiteY4" fmla="*/ 4337 h 36727"/>
                <a:gd name="connsiteX5" fmla="*/ 33509 w 33509"/>
                <a:gd name="connsiteY5" fmla="*/ 16544 h 36727"/>
                <a:gd name="connsiteX6" fmla="*/ 32867 w 33509"/>
                <a:gd name="connsiteY6" fmla="*/ 21041 h 36727"/>
                <a:gd name="connsiteX7" fmla="*/ 31582 w 33509"/>
                <a:gd name="connsiteY7" fmla="*/ 23611 h 36727"/>
                <a:gd name="connsiteX8" fmla="*/ 28369 w 33509"/>
                <a:gd name="connsiteY8" fmla="*/ 28751 h 36727"/>
                <a:gd name="connsiteX9" fmla="*/ 25157 w 33509"/>
                <a:gd name="connsiteY9" fmla="*/ 32606 h 36727"/>
                <a:gd name="connsiteX10" fmla="*/ 17447 w 33509"/>
                <a:gd name="connsiteY10" fmla="*/ 35819 h 36727"/>
                <a:gd name="connsiteX11" fmla="*/ 11665 w 33509"/>
                <a:gd name="connsiteY11" fmla="*/ 36461 h 36727"/>
                <a:gd name="connsiteX12" fmla="*/ 8452 w 33509"/>
                <a:gd name="connsiteY12" fmla="*/ 35176 h 36727"/>
                <a:gd name="connsiteX13" fmla="*/ 1385 w 33509"/>
                <a:gd name="connsiteY13" fmla="*/ 24896 h 36727"/>
                <a:gd name="connsiteX14" fmla="*/ 2670 w 33509"/>
                <a:gd name="connsiteY14" fmla="*/ 10762 h 36727"/>
                <a:gd name="connsiteX15" fmla="*/ 100 w 33509"/>
                <a:gd name="connsiteY15" fmla="*/ 6264 h 36727"/>
                <a:gd name="connsiteX16" fmla="*/ 4597 w 33509"/>
                <a:gd name="connsiteY16" fmla="*/ 1124 h 36727"/>
                <a:gd name="connsiteX17" fmla="*/ 12307 w 33509"/>
                <a:gd name="connsiteY17" fmla="*/ 1767 h 36727"/>
                <a:gd name="connsiteX18" fmla="*/ 20017 w 33509"/>
                <a:gd name="connsiteY18" fmla="*/ 176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509" h="36727">
                  <a:moveTo>
                    <a:pt x="20017" y="1767"/>
                  </a:moveTo>
                  <a:cubicBezTo>
                    <a:pt x="21302" y="1124"/>
                    <a:pt x="21944" y="482"/>
                    <a:pt x="23229" y="482"/>
                  </a:cubicBezTo>
                  <a:cubicBezTo>
                    <a:pt x="25157" y="-161"/>
                    <a:pt x="26442" y="-161"/>
                    <a:pt x="28369" y="482"/>
                  </a:cubicBezTo>
                  <a:cubicBezTo>
                    <a:pt x="29654" y="482"/>
                    <a:pt x="30297" y="482"/>
                    <a:pt x="31582" y="1124"/>
                  </a:cubicBezTo>
                  <a:cubicBezTo>
                    <a:pt x="32224" y="1767"/>
                    <a:pt x="32867" y="3052"/>
                    <a:pt x="32867" y="4337"/>
                  </a:cubicBezTo>
                  <a:cubicBezTo>
                    <a:pt x="32867" y="8192"/>
                    <a:pt x="32867" y="12689"/>
                    <a:pt x="33509" y="16544"/>
                  </a:cubicBezTo>
                  <a:cubicBezTo>
                    <a:pt x="33509" y="17829"/>
                    <a:pt x="33509" y="19756"/>
                    <a:pt x="32867" y="21041"/>
                  </a:cubicBezTo>
                  <a:cubicBezTo>
                    <a:pt x="32224" y="22326"/>
                    <a:pt x="32224" y="22969"/>
                    <a:pt x="31582" y="23611"/>
                  </a:cubicBezTo>
                  <a:cubicBezTo>
                    <a:pt x="30297" y="25539"/>
                    <a:pt x="29654" y="26824"/>
                    <a:pt x="28369" y="28751"/>
                  </a:cubicBezTo>
                  <a:cubicBezTo>
                    <a:pt x="27727" y="30036"/>
                    <a:pt x="26442" y="31321"/>
                    <a:pt x="25157" y="32606"/>
                  </a:cubicBezTo>
                  <a:cubicBezTo>
                    <a:pt x="23229" y="34534"/>
                    <a:pt x="20017" y="35176"/>
                    <a:pt x="17447" y="35819"/>
                  </a:cubicBezTo>
                  <a:cubicBezTo>
                    <a:pt x="15520" y="36461"/>
                    <a:pt x="13592" y="37104"/>
                    <a:pt x="11665" y="36461"/>
                  </a:cubicBezTo>
                  <a:cubicBezTo>
                    <a:pt x="10380" y="36461"/>
                    <a:pt x="9095" y="35819"/>
                    <a:pt x="8452" y="35176"/>
                  </a:cubicBezTo>
                  <a:cubicBezTo>
                    <a:pt x="4597" y="32606"/>
                    <a:pt x="1385" y="29394"/>
                    <a:pt x="1385" y="24896"/>
                  </a:cubicBezTo>
                  <a:cubicBezTo>
                    <a:pt x="1385" y="20399"/>
                    <a:pt x="5240" y="15259"/>
                    <a:pt x="2670" y="10762"/>
                  </a:cubicBezTo>
                  <a:cubicBezTo>
                    <a:pt x="2027" y="9477"/>
                    <a:pt x="742" y="8192"/>
                    <a:pt x="100" y="6264"/>
                  </a:cubicBezTo>
                  <a:cubicBezTo>
                    <a:pt x="-543" y="3694"/>
                    <a:pt x="2027" y="1767"/>
                    <a:pt x="4597" y="1124"/>
                  </a:cubicBezTo>
                  <a:cubicBezTo>
                    <a:pt x="7167" y="482"/>
                    <a:pt x="9737" y="1124"/>
                    <a:pt x="12307" y="1767"/>
                  </a:cubicBezTo>
                  <a:cubicBezTo>
                    <a:pt x="14877" y="1767"/>
                    <a:pt x="17447" y="2409"/>
                    <a:pt x="20017" y="1767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 28">
              <a:extLst>
                <a:ext uri="{FF2B5EF4-FFF2-40B4-BE49-F238E27FC236}">
                  <a16:creationId xmlns:a16="http://schemas.microsoft.com/office/drawing/2014/main" id="{D84BF0DE-887E-C81D-0E84-2ECB73E13070}"/>
                </a:ext>
              </a:extLst>
            </p:cNvPr>
            <p:cNvSpPr/>
            <p:nvPr/>
          </p:nvSpPr>
          <p:spPr>
            <a:xfrm>
              <a:off x="2498088" y="2332188"/>
              <a:ext cx="57252" cy="37422"/>
            </a:xfrm>
            <a:custGeom>
              <a:avLst/>
              <a:gdLst>
                <a:gd name="connsiteX0" fmla="*/ 36622 w 57252"/>
                <a:gd name="connsiteY0" fmla="*/ 101 h 37422"/>
                <a:gd name="connsiteX1" fmla="*/ 46259 w 57252"/>
                <a:gd name="connsiteY1" fmla="*/ 3956 h 37422"/>
                <a:gd name="connsiteX2" fmla="*/ 55254 w 57252"/>
                <a:gd name="connsiteY2" fmla="*/ 9738 h 37422"/>
                <a:gd name="connsiteX3" fmla="*/ 57181 w 57252"/>
                <a:gd name="connsiteY3" fmla="*/ 20660 h 37422"/>
                <a:gd name="connsiteX4" fmla="*/ 55896 w 57252"/>
                <a:gd name="connsiteY4" fmla="*/ 27728 h 37422"/>
                <a:gd name="connsiteX5" fmla="*/ 52042 w 57252"/>
                <a:gd name="connsiteY5" fmla="*/ 30940 h 37422"/>
                <a:gd name="connsiteX6" fmla="*/ 42404 w 57252"/>
                <a:gd name="connsiteY6" fmla="*/ 36080 h 37422"/>
                <a:gd name="connsiteX7" fmla="*/ 31482 w 57252"/>
                <a:gd name="connsiteY7" fmla="*/ 36722 h 37422"/>
                <a:gd name="connsiteX8" fmla="*/ 18632 w 57252"/>
                <a:gd name="connsiteY8" fmla="*/ 26443 h 37422"/>
                <a:gd name="connsiteX9" fmla="*/ 1927 w 57252"/>
                <a:gd name="connsiteY9" fmla="*/ 20018 h 37422"/>
                <a:gd name="connsiteX10" fmla="*/ 643 w 57252"/>
                <a:gd name="connsiteY10" fmla="*/ 18733 h 37422"/>
                <a:gd name="connsiteX11" fmla="*/ 0 w 57252"/>
                <a:gd name="connsiteY11" fmla="*/ 16805 h 37422"/>
                <a:gd name="connsiteX12" fmla="*/ 0 w 57252"/>
                <a:gd name="connsiteY12" fmla="*/ 11665 h 37422"/>
                <a:gd name="connsiteX13" fmla="*/ 643 w 57252"/>
                <a:gd name="connsiteY13" fmla="*/ 7168 h 37422"/>
                <a:gd name="connsiteX14" fmla="*/ 3855 w 57252"/>
                <a:gd name="connsiteY14" fmla="*/ 4598 h 37422"/>
                <a:gd name="connsiteX15" fmla="*/ 29554 w 57252"/>
                <a:gd name="connsiteY15" fmla="*/ 2028 h 37422"/>
                <a:gd name="connsiteX16" fmla="*/ 36622 w 57252"/>
                <a:gd name="connsiteY16" fmla="*/ 101 h 3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52" h="37422">
                  <a:moveTo>
                    <a:pt x="36622" y="101"/>
                  </a:moveTo>
                  <a:cubicBezTo>
                    <a:pt x="40477" y="-542"/>
                    <a:pt x="43047" y="2028"/>
                    <a:pt x="46259" y="3956"/>
                  </a:cubicBezTo>
                  <a:cubicBezTo>
                    <a:pt x="49472" y="5883"/>
                    <a:pt x="52684" y="7168"/>
                    <a:pt x="55254" y="9738"/>
                  </a:cubicBezTo>
                  <a:cubicBezTo>
                    <a:pt x="57824" y="12308"/>
                    <a:pt x="57181" y="16805"/>
                    <a:pt x="57181" y="20660"/>
                  </a:cubicBezTo>
                  <a:cubicBezTo>
                    <a:pt x="57181" y="23230"/>
                    <a:pt x="57181" y="25800"/>
                    <a:pt x="55896" y="27728"/>
                  </a:cubicBezTo>
                  <a:cubicBezTo>
                    <a:pt x="54611" y="29013"/>
                    <a:pt x="53326" y="30298"/>
                    <a:pt x="52042" y="30940"/>
                  </a:cubicBezTo>
                  <a:cubicBezTo>
                    <a:pt x="48829" y="32867"/>
                    <a:pt x="45617" y="34795"/>
                    <a:pt x="42404" y="36080"/>
                  </a:cubicBezTo>
                  <a:cubicBezTo>
                    <a:pt x="39192" y="37365"/>
                    <a:pt x="34694" y="38007"/>
                    <a:pt x="31482" y="36722"/>
                  </a:cubicBezTo>
                  <a:cubicBezTo>
                    <a:pt x="26342" y="34795"/>
                    <a:pt x="23130" y="29655"/>
                    <a:pt x="18632" y="26443"/>
                  </a:cubicBezTo>
                  <a:cubicBezTo>
                    <a:pt x="13492" y="23230"/>
                    <a:pt x="7067" y="22588"/>
                    <a:pt x="1927" y="20018"/>
                  </a:cubicBezTo>
                  <a:cubicBezTo>
                    <a:pt x="1285" y="20018"/>
                    <a:pt x="643" y="19375"/>
                    <a:pt x="643" y="18733"/>
                  </a:cubicBezTo>
                  <a:cubicBezTo>
                    <a:pt x="0" y="18090"/>
                    <a:pt x="0" y="17448"/>
                    <a:pt x="0" y="16805"/>
                  </a:cubicBezTo>
                  <a:cubicBezTo>
                    <a:pt x="0" y="14878"/>
                    <a:pt x="0" y="13593"/>
                    <a:pt x="0" y="11665"/>
                  </a:cubicBezTo>
                  <a:cubicBezTo>
                    <a:pt x="0" y="10380"/>
                    <a:pt x="0" y="8453"/>
                    <a:pt x="643" y="7168"/>
                  </a:cubicBezTo>
                  <a:cubicBezTo>
                    <a:pt x="1285" y="5883"/>
                    <a:pt x="2570" y="5241"/>
                    <a:pt x="3855" y="4598"/>
                  </a:cubicBezTo>
                  <a:cubicBezTo>
                    <a:pt x="11565" y="1386"/>
                    <a:pt x="21202" y="4598"/>
                    <a:pt x="29554" y="2028"/>
                  </a:cubicBezTo>
                  <a:cubicBezTo>
                    <a:pt x="31482" y="2028"/>
                    <a:pt x="33409" y="101"/>
                    <a:pt x="36622" y="101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 29">
              <a:extLst>
                <a:ext uri="{FF2B5EF4-FFF2-40B4-BE49-F238E27FC236}">
                  <a16:creationId xmlns:a16="http://schemas.microsoft.com/office/drawing/2014/main" id="{EAACBFA3-6043-6692-4333-D819FDC08039}"/>
                </a:ext>
              </a:extLst>
            </p:cNvPr>
            <p:cNvSpPr/>
            <p:nvPr/>
          </p:nvSpPr>
          <p:spPr>
            <a:xfrm>
              <a:off x="2498088" y="2332188"/>
              <a:ext cx="57252" cy="37422"/>
            </a:xfrm>
            <a:custGeom>
              <a:avLst/>
              <a:gdLst>
                <a:gd name="connsiteX0" fmla="*/ 36622 w 57252"/>
                <a:gd name="connsiteY0" fmla="*/ 101 h 37422"/>
                <a:gd name="connsiteX1" fmla="*/ 46259 w 57252"/>
                <a:gd name="connsiteY1" fmla="*/ 3956 h 37422"/>
                <a:gd name="connsiteX2" fmla="*/ 55254 w 57252"/>
                <a:gd name="connsiteY2" fmla="*/ 9738 h 37422"/>
                <a:gd name="connsiteX3" fmla="*/ 57181 w 57252"/>
                <a:gd name="connsiteY3" fmla="*/ 20660 h 37422"/>
                <a:gd name="connsiteX4" fmla="*/ 55896 w 57252"/>
                <a:gd name="connsiteY4" fmla="*/ 27728 h 37422"/>
                <a:gd name="connsiteX5" fmla="*/ 52042 w 57252"/>
                <a:gd name="connsiteY5" fmla="*/ 30940 h 37422"/>
                <a:gd name="connsiteX6" fmla="*/ 42404 w 57252"/>
                <a:gd name="connsiteY6" fmla="*/ 36080 h 37422"/>
                <a:gd name="connsiteX7" fmla="*/ 31482 w 57252"/>
                <a:gd name="connsiteY7" fmla="*/ 36722 h 37422"/>
                <a:gd name="connsiteX8" fmla="*/ 18632 w 57252"/>
                <a:gd name="connsiteY8" fmla="*/ 26443 h 37422"/>
                <a:gd name="connsiteX9" fmla="*/ 1927 w 57252"/>
                <a:gd name="connsiteY9" fmla="*/ 20018 h 37422"/>
                <a:gd name="connsiteX10" fmla="*/ 643 w 57252"/>
                <a:gd name="connsiteY10" fmla="*/ 18733 h 37422"/>
                <a:gd name="connsiteX11" fmla="*/ 0 w 57252"/>
                <a:gd name="connsiteY11" fmla="*/ 16805 h 37422"/>
                <a:gd name="connsiteX12" fmla="*/ 0 w 57252"/>
                <a:gd name="connsiteY12" fmla="*/ 11665 h 37422"/>
                <a:gd name="connsiteX13" fmla="*/ 643 w 57252"/>
                <a:gd name="connsiteY13" fmla="*/ 7168 h 37422"/>
                <a:gd name="connsiteX14" fmla="*/ 3855 w 57252"/>
                <a:gd name="connsiteY14" fmla="*/ 4598 h 37422"/>
                <a:gd name="connsiteX15" fmla="*/ 29554 w 57252"/>
                <a:gd name="connsiteY15" fmla="*/ 2028 h 37422"/>
                <a:gd name="connsiteX16" fmla="*/ 36622 w 57252"/>
                <a:gd name="connsiteY16" fmla="*/ 101 h 3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52" h="37422">
                  <a:moveTo>
                    <a:pt x="36622" y="101"/>
                  </a:moveTo>
                  <a:cubicBezTo>
                    <a:pt x="40477" y="-542"/>
                    <a:pt x="43047" y="2028"/>
                    <a:pt x="46259" y="3956"/>
                  </a:cubicBezTo>
                  <a:cubicBezTo>
                    <a:pt x="49472" y="5883"/>
                    <a:pt x="52684" y="7168"/>
                    <a:pt x="55254" y="9738"/>
                  </a:cubicBezTo>
                  <a:cubicBezTo>
                    <a:pt x="57824" y="12308"/>
                    <a:pt x="57181" y="16805"/>
                    <a:pt x="57181" y="20660"/>
                  </a:cubicBezTo>
                  <a:cubicBezTo>
                    <a:pt x="57181" y="23230"/>
                    <a:pt x="57181" y="25800"/>
                    <a:pt x="55896" y="27728"/>
                  </a:cubicBezTo>
                  <a:cubicBezTo>
                    <a:pt x="54611" y="29013"/>
                    <a:pt x="53326" y="30298"/>
                    <a:pt x="52042" y="30940"/>
                  </a:cubicBezTo>
                  <a:cubicBezTo>
                    <a:pt x="48829" y="32867"/>
                    <a:pt x="45617" y="34795"/>
                    <a:pt x="42404" y="36080"/>
                  </a:cubicBezTo>
                  <a:cubicBezTo>
                    <a:pt x="39192" y="37365"/>
                    <a:pt x="34694" y="38007"/>
                    <a:pt x="31482" y="36722"/>
                  </a:cubicBezTo>
                  <a:cubicBezTo>
                    <a:pt x="26342" y="34795"/>
                    <a:pt x="23130" y="29655"/>
                    <a:pt x="18632" y="26443"/>
                  </a:cubicBezTo>
                  <a:cubicBezTo>
                    <a:pt x="13492" y="23230"/>
                    <a:pt x="7067" y="22588"/>
                    <a:pt x="1927" y="20018"/>
                  </a:cubicBezTo>
                  <a:cubicBezTo>
                    <a:pt x="1285" y="20018"/>
                    <a:pt x="643" y="19375"/>
                    <a:pt x="643" y="18733"/>
                  </a:cubicBezTo>
                  <a:cubicBezTo>
                    <a:pt x="0" y="18090"/>
                    <a:pt x="0" y="17448"/>
                    <a:pt x="0" y="16805"/>
                  </a:cubicBezTo>
                  <a:cubicBezTo>
                    <a:pt x="0" y="14878"/>
                    <a:pt x="0" y="13593"/>
                    <a:pt x="0" y="11665"/>
                  </a:cubicBezTo>
                  <a:cubicBezTo>
                    <a:pt x="0" y="10380"/>
                    <a:pt x="0" y="8453"/>
                    <a:pt x="643" y="7168"/>
                  </a:cubicBezTo>
                  <a:cubicBezTo>
                    <a:pt x="1285" y="5883"/>
                    <a:pt x="2570" y="5241"/>
                    <a:pt x="3855" y="4598"/>
                  </a:cubicBezTo>
                  <a:cubicBezTo>
                    <a:pt x="11565" y="1386"/>
                    <a:pt x="21202" y="4598"/>
                    <a:pt x="29554" y="2028"/>
                  </a:cubicBezTo>
                  <a:cubicBezTo>
                    <a:pt x="31482" y="2028"/>
                    <a:pt x="33409" y="101"/>
                    <a:pt x="36622" y="101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 30">
              <a:extLst>
                <a:ext uri="{FF2B5EF4-FFF2-40B4-BE49-F238E27FC236}">
                  <a16:creationId xmlns:a16="http://schemas.microsoft.com/office/drawing/2014/main" id="{2E73D63C-2971-0378-8C6D-DB0A20BB7533}"/>
                </a:ext>
              </a:extLst>
            </p:cNvPr>
            <p:cNvSpPr/>
            <p:nvPr/>
          </p:nvSpPr>
          <p:spPr>
            <a:xfrm>
              <a:off x="2471884" y="2353837"/>
              <a:ext cx="26846" cy="47450"/>
            </a:xfrm>
            <a:custGeom>
              <a:avLst/>
              <a:gdLst>
                <a:gd name="connsiteX0" fmla="*/ 3074 w 26846"/>
                <a:gd name="connsiteY0" fmla="*/ 6078 h 47450"/>
                <a:gd name="connsiteX1" fmla="*/ 20421 w 26846"/>
                <a:gd name="connsiteY1" fmla="*/ 1581 h 47450"/>
                <a:gd name="connsiteX2" fmla="*/ 19779 w 26846"/>
                <a:gd name="connsiteY2" fmla="*/ 17643 h 47450"/>
                <a:gd name="connsiteX3" fmla="*/ 20421 w 26846"/>
                <a:gd name="connsiteY3" fmla="*/ 20213 h 47450"/>
                <a:gd name="connsiteX4" fmla="*/ 22991 w 26846"/>
                <a:gd name="connsiteY4" fmla="*/ 22783 h 47450"/>
                <a:gd name="connsiteX5" fmla="*/ 26846 w 26846"/>
                <a:gd name="connsiteY5" fmla="*/ 34990 h 47450"/>
                <a:gd name="connsiteX6" fmla="*/ 23634 w 26846"/>
                <a:gd name="connsiteY6" fmla="*/ 45913 h 47450"/>
                <a:gd name="connsiteX7" fmla="*/ 15281 w 26846"/>
                <a:gd name="connsiteY7" fmla="*/ 46555 h 47450"/>
                <a:gd name="connsiteX8" fmla="*/ 8214 w 26846"/>
                <a:gd name="connsiteY8" fmla="*/ 42058 h 47450"/>
                <a:gd name="connsiteX9" fmla="*/ 3717 w 26846"/>
                <a:gd name="connsiteY9" fmla="*/ 37560 h 47450"/>
                <a:gd name="connsiteX10" fmla="*/ 2432 w 26846"/>
                <a:gd name="connsiteY10" fmla="*/ 33705 h 47450"/>
                <a:gd name="connsiteX11" fmla="*/ 504 w 26846"/>
                <a:gd name="connsiteY11" fmla="*/ 17643 h 47450"/>
                <a:gd name="connsiteX12" fmla="*/ 3074 w 26846"/>
                <a:gd name="connsiteY12" fmla="*/ 6078 h 4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846" h="47450">
                  <a:moveTo>
                    <a:pt x="3074" y="6078"/>
                  </a:moveTo>
                  <a:cubicBezTo>
                    <a:pt x="6287" y="1581"/>
                    <a:pt x="15281" y="-2274"/>
                    <a:pt x="20421" y="1581"/>
                  </a:cubicBezTo>
                  <a:cubicBezTo>
                    <a:pt x="25561" y="5436"/>
                    <a:pt x="19779" y="12503"/>
                    <a:pt x="19779" y="17643"/>
                  </a:cubicBezTo>
                  <a:cubicBezTo>
                    <a:pt x="19779" y="18286"/>
                    <a:pt x="19779" y="19571"/>
                    <a:pt x="20421" y="20213"/>
                  </a:cubicBezTo>
                  <a:cubicBezTo>
                    <a:pt x="21064" y="21498"/>
                    <a:pt x="22349" y="22141"/>
                    <a:pt x="22991" y="22783"/>
                  </a:cubicBezTo>
                  <a:cubicBezTo>
                    <a:pt x="26204" y="25996"/>
                    <a:pt x="26204" y="30493"/>
                    <a:pt x="26846" y="34990"/>
                  </a:cubicBezTo>
                  <a:cubicBezTo>
                    <a:pt x="26846" y="38845"/>
                    <a:pt x="26846" y="43343"/>
                    <a:pt x="23634" y="45913"/>
                  </a:cubicBezTo>
                  <a:cubicBezTo>
                    <a:pt x="21064" y="47840"/>
                    <a:pt x="17851" y="47840"/>
                    <a:pt x="15281" y="46555"/>
                  </a:cubicBezTo>
                  <a:cubicBezTo>
                    <a:pt x="12711" y="45913"/>
                    <a:pt x="10141" y="43985"/>
                    <a:pt x="8214" y="42058"/>
                  </a:cubicBezTo>
                  <a:cubicBezTo>
                    <a:pt x="6287" y="40773"/>
                    <a:pt x="5002" y="39488"/>
                    <a:pt x="3717" y="37560"/>
                  </a:cubicBezTo>
                  <a:cubicBezTo>
                    <a:pt x="3074" y="36275"/>
                    <a:pt x="2432" y="34990"/>
                    <a:pt x="2432" y="33705"/>
                  </a:cubicBezTo>
                  <a:cubicBezTo>
                    <a:pt x="1147" y="28565"/>
                    <a:pt x="504" y="22783"/>
                    <a:pt x="504" y="17643"/>
                  </a:cubicBezTo>
                  <a:cubicBezTo>
                    <a:pt x="-781" y="13788"/>
                    <a:pt x="504" y="9933"/>
                    <a:pt x="3074" y="6078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 32">
              <a:extLst>
                <a:ext uri="{FF2B5EF4-FFF2-40B4-BE49-F238E27FC236}">
                  <a16:creationId xmlns:a16="http://schemas.microsoft.com/office/drawing/2014/main" id="{6F4BFF97-CB50-8FA0-CBF1-695329D1A2E1}"/>
                </a:ext>
              </a:extLst>
            </p:cNvPr>
            <p:cNvSpPr/>
            <p:nvPr/>
          </p:nvSpPr>
          <p:spPr>
            <a:xfrm>
              <a:off x="2471884" y="2353837"/>
              <a:ext cx="26846" cy="47450"/>
            </a:xfrm>
            <a:custGeom>
              <a:avLst/>
              <a:gdLst>
                <a:gd name="connsiteX0" fmla="*/ 3074 w 26846"/>
                <a:gd name="connsiteY0" fmla="*/ 6078 h 47450"/>
                <a:gd name="connsiteX1" fmla="*/ 20421 w 26846"/>
                <a:gd name="connsiteY1" fmla="*/ 1581 h 47450"/>
                <a:gd name="connsiteX2" fmla="*/ 19779 w 26846"/>
                <a:gd name="connsiteY2" fmla="*/ 17643 h 47450"/>
                <a:gd name="connsiteX3" fmla="*/ 20421 w 26846"/>
                <a:gd name="connsiteY3" fmla="*/ 20213 h 47450"/>
                <a:gd name="connsiteX4" fmla="*/ 22991 w 26846"/>
                <a:gd name="connsiteY4" fmla="*/ 22783 h 47450"/>
                <a:gd name="connsiteX5" fmla="*/ 26846 w 26846"/>
                <a:gd name="connsiteY5" fmla="*/ 34990 h 47450"/>
                <a:gd name="connsiteX6" fmla="*/ 23634 w 26846"/>
                <a:gd name="connsiteY6" fmla="*/ 45913 h 47450"/>
                <a:gd name="connsiteX7" fmla="*/ 15281 w 26846"/>
                <a:gd name="connsiteY7" fmla="*/ 46555 h 47450"/>
                <a:gd name="connsiteX8" fmla="*/ 8214 w 26846"/>
                <a:gd name="connsiteY8" fmla="*/ 42058 h 47450"/>
                <a:gd name="connsiteX9" fmla="*/ 3717 w 26846"/>
                <a:gd name="connsiteY9" fmla="*/ 37560 h 47450"/>
                <a:gd name="connsiteX10" fmla="*/ 2432 w 26846"/>
                <a:gd name="connsiteY10" fmla="*/ 33705 h 47450"/>
                <a:gd name="connsiteX11" fmla="*/ 504 w 26846"/>
                <a:gd name="connsiteY11" fmla="*/ 17643 h 47450"/>
                <a:gd name="connsiteX12" fmla="*/ 3074 w 26846"/>
                <a:gd name="connsiteY12" fmla="*/ 6078 h 4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846" h="47450">
                  <a:moveTo>
                    <a:pt x="3074" y="6078"/>
                  </a:moveTo>
                  <a:cubicBezTo>
                    <a:pt x="6287" y="1581"/>
                    <a:pt x="15281" y="-2274"/>
                    <a:pt x="20421" y="1581"/>
                  </a:cubicBezTo>
                  <a:cubicBezTo>
                    <a:pt x="25561" y="5436"/>
                    <a:pt x="19779" y="12503"/>
                    <a:pt x="19779" y="17643"/>
                  </a:cubicBezTo>
                  <a:cubicBezTo>
                    <a:pt x="19779" y="18286"/>
                    <a:pt x="19779" y="19571"/>
                    <a:pt x="20421" y="20213"/>
                  </a:cubicBezTo>
                  <a:cubicBezTo>
                    <a:pt x="21064" y="21498"/>
                    <a:pt x="22349" y="22141"/>
                    <a:pt x="22991" y="22783"/>
                  </a:cubicBezTo>
                  <a:cubicBezTo>
                    <a:pt x="26204" y="25996"/>
                    <a:pt x="26204" y="30493"/>
                    <a:pt x="26846" y="34990"/>
                  </a:cubicBezTo>
                  <a:cubicBezTo>
                    <a:pt x="26846" y="38845"/>
                    <a:pt x="26846" y="43343"/>
                    <a:pt x="23634" y="45913"/>
                  </a:cubicBezTo>
                  <a:cubicBezTo>
                    <a:pt x="21064" y="47840"/>
                    <a:pt x="17851" y="47840"/>
                    <a:pt x="15281" y="46555"/>
                  </a:cubicBezTo>
                  <a:cubicBezTo>
                    <a:pt x="12711" y="45913"/>
                    <a:pt x="10141" y="43985"/>
                    <a:pt x="8214" y="42058"/>
                  </a:cubicBezTo>
                  <a:cubicBezTo>
                    <a:pt x="6287" y="40773"/>
                    <a:pt x="5002" y="39488"/>
                    <a:pt x="3717" y="37560"/>
                  </a:cubicBezTo>
                  <a:cubicBezTo>
                    <a:pt x="3074" y="36275"/>
                    <a:pt x="2432" y="34990"/>
                    <a:pt x="2432" y="33705"/>
                  </a:cubicBezTo>
                  <a:cubicBezTo>
                    <a:pt x="1147" y="28565"/>
                    <a:pt x="504" y="22783"/>
                    <a:pt x="504" y="17643"/>
                  </a:cubicBezTo>
                  <a:cubicBezTo>
                    <a:pt x="-781" y="13788"/>
                    <a:pt x="504" y="9933"/>
                    <a:pt x="3074" y="6078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 33">
              <a:extLst>
                <a:ext uri="{FF2B5EF4-FFF2-40B4-BE49-F238E27FC236}">
                  <a16:creationId xmlns:a16="http://schemas.microsoft.com/office/drawing/2014/main" id="{40262950-BC52-0967-2968-22100B133C6C}"/>
                </a:ext>
              </a:extLst>
            </p:cNvPr>
            <p:cNvSpPr/>
            <p:nvPr/>
          </p:nvSpPr>
          <p:spPr>
            <a:xfrm>
              <a:off x="2497445" y="2677304"/>
              <a:ext cx="22376" cy="19274"/>
            </a:xfrm>
            <a:custGeom>
              <a:avLst/>
              <a:gdLst>
                <a:gd name="connsiteX0" fmla="*/ 11565 w 22376"/>
                <a:gd name="connsiteY0" fmla="*/ 14135 h 19274"/>
                <a:gd name="connsiteX1" fmla="*/ 12850 w 22376"/>
                <a:gd name="connsiteY1" fmla="*/ 12207 h 19274"/>
                <a:gd name="connsiteX2" fmla="*/ 14777 w 22376"/>
                <a:gd name="connsiteY2" fmla="*/ 11565 h 19274"/>
                <a:gd name="connsiteX3" fmla="*/ 20560 w 22376"/>
                <a:gd name="connsiteY3" fmla="*/ 8995 h 19274"/>
                <a:gd name="connsiteX4" fmla="*/ 21845 w 22376"/>
                <a:gd name="connsiteY4" fmla="*/ 3855 h 19274"/>
                <a:gd name="connsiteX5" fmla="*/ 16062 w 22376"/>
                <a:gd name="connsiteY5" fmla="*/ 1285 h 19274"/>
                <a:gd name="connsiteX6" fmla="*/ 8352 w 22376"/>
                <a:gd name="connsiteY6" fmla="*/ 0 h 19274"/>
                <a:gd name="connsiteX7" fmla="*/ 6425 w 22376"/>
                <a:gd name="connsiteY7" fmla="*/ 0 h 19274"/>
                <a:gd name="connsiteX8" fmla="*/ 3855 w 22376"/>
                <a:gd name="connsiteY8" fmla="*/ 2570 h 19274"/>
                <a:gd name="connsiteX9" fmla="*/ 0 w 22376"/>
                <a:gd name="connsiteY9" fmla="*/ 12207 h 19274"/>
                <a:gd name="connsiteX10" fmla="*/ 0 w 22376"/>
                <a:gd name="connsiteY10" fmla="*/ 13492 h 19274"/>
                <a:gd name="connsiteX11" fmla="*/ 642 w 22376"/>
                <a:gd name="connsiteY11" fmla="*/ 14777 h 19274"/>
                <a:gd name="connsiteX12" fmla="*/ 4497 w 22376"/>
                <a:gd name="connsiteY12" fmla="*/ 18632 h 19274"/>
                <a:gd name="connsiteX13" fmla="*/ 5782 w 22376"/>
                <a:gd name="connsiteY13" fmla="*/ 19275 h 19274"/>
                <a:gd name="connsiteX14" fmla="*/ 7067 w 22376"/>
                <a:gd name="connsiteY14" fmla="*/ 18632 h 19274"/>
                <a:gd name="connsiteX15" fmla="*/ 11565 w 22376"/>
                <a:gd name="connsiteY15" fmla="*/ 14135 h 1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376" h="19274">
                  <a:moveTo>
                    <a:pt x="11565" y="14135"/>
                  </a:moveTo>
                  <a:cubicBezTo>
                    <a:pt x="11565" y="13492"/>
                    <a:pt x="12207" y="12850"/>
                    <a:pt x="12850" y="12207"/>
                  </a:cubicBezTo>
                  <a:cubicBezTo>
                    <a:pt x="13492" y="11565"/>
                    <a:pt x="14135" y="11565"/>
                    <a:pt x="14777" y="11565"/>
                  </a:cubicBezTo>
                  <a:cubicBezTo>
                    <a:pt x="16705" y="10922"/>
                    <a:pt x="19275" y="10280"/>
                    <a:pt x="20560" y="8995"/>
                  </a:cubicBezTo>
                  <a:cubicBezTo>
                    <a:pt x="21845" y="7710"/>
                    <a:pt x="23129" y="5140"/>
                    <a:pt x="21845" y="3855"/>
                  </a:cubicBezTo>
                  <a:cubicBezTo>
                    <a:pt x="20560" y="1927"/>
                    <a:pt x="18632" y="1285"/>
                    <a:pt x="16062" y="1285"/>
                  </a:cubicBezTo>
                  <a:cubicBezTo>
                    <a:pt x="13492" y="642"/>
                    <a:pt x="10922" y="642"/>
                    <a:pt x="8352" y="0"/>
                  </a:cubicBezTo>
                  <a:cubicBezTo>
                    <a:pt x="7710" y="0"/>
                    <a:pt x="7067" y="0"/>
                    <a:pt x="6425" y="0"/>
                  </a:cubicBezTo>
                  <a:cubicBezTo>
                    <a:pt x="5140" y="642"/>
                    <a:pt x="4497" y="1285"/>
                    <a:pt x="3855" y="2570"/>
                  </a:cubicBezTo>
                  <a:cubicBezTo>
                    <a:pt x="2570" y="5782"/>
                    <a:pt x="1285" y="8995"/>
                    <a:pt x="0" y="12207"/>
                  </a:cubicBezTo>
                  <a:cubicBezTo>
                    <a:pt x="0" y="12850"/>
                    <a:pt x="0" y="13492"/>
                    <a:pt x="0" y="13492"/>
                  </a:cubicBezTo>
                  <a:cubicBezTo>
                    <a:pt x="0" y="14135"/>
                    <a:pt x="0" y="14135"/>
                    <a:pt x="642" y="14777"/>
                  </a:cubicBezTo>
                  <a:cubicBezTo>
                    <a:pt x="1927" y="16062"/>
                    <a:pt x="3212" y="17347"/>
                    <a:pt x="4497" y="18632"/>
                  </a:cubicBezTo>
                  <a:cubicBezTo>
                    <a:pt x="5140" y="19275"/>
                    <a:pt x="5140" y="19275"/>
                    <a:pt x="5782" y="19275"/>
                  </a:cubicBezTo>
                  <a:cubicBezTo>
                    <a:pt x="6425" y="19275"/>
                    <a:pt x="6425" y="19275"/>
                    <a:pt x="7067" y="18632"/>
                  </a:cubicBezTo>
                  <a:cubicBezTo>
                    <a:pt x="8352" y="17990"/>
                    <a:pt x="10280" y="16705"/>
                    <a:pt x="11565" y="14135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 37">
              <a:extLst>
                <a:ext uri="{FF2B5EF4-FFF2-40B4-BE49-F238E27FC236}">
                  <a16:creationId xmlns:a16="http://schemas.microsoft.com/office/drawing/2014/main" id="{0177ED8E-6F37-5901-F053-7C90AFBBD884}"/>
                </a:ext>
              </a:extLst>
            </p:cNvPr>
            <p:cNvSpPr/>
            <p:nvPr/>
          </p:nvSpPr>
          <p:spPr>
            <a:xfrm>
              <a:off x="2497445" y="2677304"/>
              <a:ext cx="22376" cy="19274"/>
            </a:xfrm>
            <a:custGeom>
              <a:avLst/>
              <a:gdLst>
                <a:gd name="connsiteX0" fmla="*/ 11565 w 22376"/>
                <a:gd name="connsiteY0" fmla="*/ 14135 h 19274"/>
                <a:gd name="connsiteX1" fmla="*/ 12850 w 22376"/>
                <a:gd name="connsiteY1" fmla="*/ 12207 h 19274"/>
                <a:gd name="connsiteX2" fmla="*/ 14777 w 22376"/>
                <a:gd name="connsiteY2" fmla="*/ 11565 h 19274"/>
                <a:gd name="connsiteX3" fmla="*/ 20560 w 22376"/>
                <a:gd name="connsiteY3" fmla="*/ 8995 h 19274"/>
                <a:gd name="connsiteX4" fmla="*/ 21845 w 22376"/>
                <a:gd name="connsiteY4" fmla="*/ 3855 h 19274"/>
                <a:gd name="connsiteX5" fmla="*/ 16062 w 22376"/>
                <a:gd name="connsiteY5" fmla="*/ 1285 h 19274"/>
                <a:gd name="connsiteX6" fmla="*/ 8352 w 22376"/>
                <a:gd name="connsiteY6" fmla="*/ 0 h 19274"/>
                <a:gd name="connsiteX7" fmla="*/ 6425 w 22376"/>
                <a:gd name="connsiteY7" fmla="*/ 0 h 19274"/>
                <a:gd name="connsiteX8" fmla="*/ 3855 w 22376"/>
                <a:gd name="connsiteY8" fmla="*/ 2570 h 19274"/>
                <a:gd name="connsiteX9" fmla="*/ 0 w 22376"/>
                <a:gd name="connsiteY9" fmla="*/ 12207 h 19274"/>
                <a:gd name="connsiteX10" fmla="*/ 0 w 22376"/>
                <a:gd name="connsiteY10" fmla="*/ 13492 h 19274"/>
                <a:gd name="connsiteX11" fmla="*/ 642 w 22376"/>
                <a:gd name="connsiteY11" fmla="*/ 14777 h 19274"/>
                <a:gd name="connsiteX12" fmla="*/ 4497 w 22376"/>
                <a:gd name="connsiteY12" fmla="*/ 18632 h 19274"/>
                <a:gd name="connsiteX13" fmla="*/ 5782 w 22376"/>
                <a:gd name="connsiteY13" fmla="*/ 19275 h 19274"/>
                <a:gd name="connsiteX14" fmla="*/ 7067 w 22376"/>
                <a:gd name="connsiteY14" fmla="*/ 18632 h 19274"/>
                <a:gd name="connsiteX15" fmla="*/ 11565 w 22376"/>
                <a:gd name="connsiteY15" fmla="*/ 14135 h 1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376" h="19274">
                  <a:moveTo>
                    <a:pt x="11565" y="14135"/>
                  </a:moveTo>
                  <a:cubicBezTo>
                    <a:pt x="11565" y="13492"/>
                    <a:pt x="12207" y="12850"/>
                    <a:pt x="12850" y="12207"/>
                  </a:cubicBezTo>
                  <a:cubicBezTo>
                    <a:pt x="13492" y="11565"/>
                    <a:pt x="14135" y="11565"/>
                    <a:pt x="14777" y="11565"/>
                  </a:cubicBezTo>
                  <a:cubicBezTo>
                    <a:pt x="16705" y="10922"/>
                    <a:pt x="19275" y="10280"/>
                    <a:pt x="20560" y="8995"/>
                  </a:cubicBezTo>
                  <a:cubicBezTo>
                    <a:pt x="21845" y="7710"/>
                    <a:pt x="23129" y="5140"/>
                    <a:pt x="21845" y="3855"/>
                  </a:cubicBezTo>
                  <a:cubicBezTo>
                    <a:pt x="20560" y="1927"/>
                    <a:pt x="18632" y="1285"/>
                    <a:pt x="16062" y="1285"/>
                  </a:cubicBezTo>
                  <a:cubicBezTo>
                    <a:pt x="13492" y="642"/>
                    <a:pt x="10922" y="642"/>
                    <a:pt x="8352" y="0"/>
                  </a:cubicBezTo>
                  <a:cubicBezTo>
                    <a:pt x="7710" y="0"/>
                    <a:pt x="7067" y="0"/>
                    <a:pt x="6425" y="0"/>
                  </a:cubicBezTo>
                  <a:cubicBezTo>
                    <a:pt x="5140" y="642"/>
                    <a:pt x="4497" y="1285"/>
                    <a:pt x="3855" y="2570"/>
                  </a:cubicBezTo>
                  <a:cubicBezTo>
                    <a:pt x="2570" y="5782"/>
                    <a:pt x="1285" y="8995"/>
                    <a:pt x="0" y="12207"/>
                  </a:cubicBezTo>
                  <a:cubicBezTo>
                    <a:pt x="0" y="12850"/>
                    <a:pt x="0" y="13492"/>
                    <a:pt x="0" y="13492"/>
                  </a:cubicBezTo>
                  <a:cubicBezTo>
                    <a:pt x="0" y="14135"/>
                    <a:pt x="0" y="14135"/>
                    <a:pt x="642" y="14777"/>
                  </a:cubicBezTo>
                  <a:cubicBezTo>
                    <a:pt x="1927" y="16062"/>
                    <a:pt x="3212" y="17347"/>
                    <a:pt x="4497" y="18632"/>
                  </a:cubicBezTo>
                  <a:cubicBezTo>
                    <a:pt x="5140" y="19275"/>
                    <a:pt x="5140" y="19275"/>
                    <a:pt x="5782" y="19275"/>
                  </a:cubicBezTo>
                  <a:cubicBezTo>
                    <a:pt x="6425" y="19275"/>
                    <a:pt x="6425" y="19275"/>
                    <a:pt x="7067" y="18632"/>
                  </a:cubicBezTo>
                  <a:cubicBezTo>
                    <a:pt x="8352" y="17990"/>
                    <a:pt x="10280" y="16705"/>
                    <a:pt x="11565" y="14135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 38">
              <a:extLst>
                <a:ext uri="{FF2B5EF4-FFF2-40B4-BE49-F238E27FC236}">
                  <a16:creationId xmlns:a16="http://schemas.microsoft.com/office/drawing/2014/main" id="{FF71B76B-753F-E242-A9F2-D8CA6A0F81F6}"/>
                </a:ext>
              </a:extLst>
            </p:cNvPr>
            <p:cNvSpPr/>
            <p:nvPr/>
          </p:nvSpPr>
          <p:spPr>
            <a:xfrm>
              <a:off x="2567191" y="2623978"/>
              <a:ext cx="19092" cy="22487"/>
            </a:xfrm>
            <a:custGeom>
              <a:avLst/>
              <a:gdLst>
                <a:gd name="connsiteX0" fmla="*/ 3498 w 19092"/>
                <a:gd name="connsiteY0" fmla="*/ 19275 h 22487"/>
                <a:gd name="connsiteX1" fmla="*/ 5425 w 19092"/>
                <a:gd name="connsiteY1" fmla="*/ 21845 h 22487"/>
                <a:gd name="connsiteX2" fmla="*/ 9923 w 19092"/>
                <a:gd name="connsiteY2" fmla="*/ 22487 h 22487"/>
                <a:gd name="connsiteX3" fmla="*/ 14420 w 19092"/>
                <a:gd name="connsiteY3" fmla="*/ 19917 h 22487"/>
                <a:gd name="connsiteX4" fmla="*/ 18918 w 19092"/>
                <a:gd name="connsiteY4" fmla="*/ 14777 h 22487"/>
                <a:gd name="connsiteX5" fmla="*/ 17633 w 19092"/>
                <a:gd name="connsiteY5" fmla="*/ 9637 h 22487"/>
                <a:gd name="connsiteX6" fmla="*/ 15705 w 19092"/>
                <a:gd name="connsiteY6" fmla="*/ 5140 h 22487"/>
                <a:gd name="connsiteX7" fmla="*/ 12493 w 19092"/>
                <a:gd name="connsiteY7" fmla="*/ 643 h 22487"/>
                <a:gd name="connsiteX8" fmla="*/ 7353 w 19092"/>
                <a:gd name="connsiteY8" fmla="*/ 0 h 22487"/>
                <a:gd name="connsiteX9" fmla="*/ 4140 w 19092"/>
                <a:gd name="connsiteY9" fmla="*/ 1927 h 22487"/>
                <a:gd name="connsiteX10" fmla="*/ 2856 w 19092"/>
                <a:gd name="connsiteY10" fmla="*/ 4497 h 22487"/>
                <a:gd name="connsiteX11" fmla="*/ 286 w 19092"/>
                <a:gd name="connsiteY11" fmla="*/ 12850 h 22487"/>
                <a:gd name="connsiteX12" fmla="*/ 286 w 19092"/>
                <a:gd name="connsiteY12" fmla="*/ 14777 h 22487"/>
                <a:gd name="connsiteX13" fmla="*/ 928 w 19092"/>
                <a:gd name="connsiteY13" fmla="*/ 16705 h 22487"/>
                <a:gd name="connsiteX14" fmla="*/ 3498 w 19092"/>
                <a:gd name="connsiteY14" fmla="*/ 19275 h 2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092" h="22487">
                  <a:moveTo>
                    <a:pt x="3498" y="19275"/>
                  </a:moveTo>
                  <a:cubicBezTo>
                    <a:pt x="4140" y="19917"/>
                    <a:pt x="4783" y="21202"/>
                    <a:pt x="5425" y="21845"/>
                  </a:cubicBezTo>
                  <a:cubicBezTo>
                    <a:pt x="6710" y="22487"/>
                    <a:pt x="8638" y="22487"/>
                    <a:pt x="9923" y="22487"/>
                  </a:cubicBezTo>
                  <a:cubicBezTo>
                    <a:pt x="11208" y="21845"/>
                    <a:pt x="13135" y="21202"/>
                    <a:pt x="14420" y="19917"/>
                  </a:cubicBezTo>
                  <a:cubicBezTo>
                    <a:pt x="16348" y="18632"/>
                    <a:pt x="18275" y="16705"/>
                    <a:pt x="18918" y="14777"/>
                  </a:cubicBezTo>
                  <a:cubicBezTo>
                    <a:pt x="19560" y="12850"/>
                    <a:pt x="18275" y="11565"/>
                    <a:pt x="17633" y="9637"/>
                  </a:cubicBezTo>
                  <a:cubicBezTo>
                    <a:pt x="16990" y="8352"/>
                    <a:pt x="16348" y="7067"/>
                    <a:pt x="15705" y="5140"/>
                  </a:cubicBezTo>
                  <a:cubicBezTo>
                    <a:pt x="15063" y="3212"/>
                    <a:pt x="14420" y="1927"/>
                    <a:pt x="12493" y="643"/>
                  </a:cubicBezTo>
                  <a:cubicBezTo>
                    <a:pt x="11208" y="0"/>
                    <a:pt x="9280" y="0"/>
                    <a:pt x="7353" y="0"/>
                  </a:cubicBezTo>
                  <a:cubicBezTo>
                    <a:pt x="6068" y="643"/>
                    <a:pt x="4783" y="643"/>
                    <a:pt x="4140" y="1927"/>
                  </a:cubicBezTo>
                  <a:cubicBezTo>
                    <a:pt x="3498" y="2570"/>
                    <a:pt x="3498" y="3212"/>
                    <a:pt x="2856" y="4497"/>
                  </a:cubicBezTo>
                  <a:cubicBezTo>
                    <a:pt x="2213" y="7067"/>
                    <a:pt x="928" y="10280"/>
                    <a:pt x="286" y="12850"/>
                  </a:cubicBezTo>
                  <a:cubicBezTo>
                    <a:pt x="286" y="13492"/>
                    <a:pt x="-357" y="14135"/>
                    <a:pt x="286" y="14777"/>
                  </a:cubicBezTo>
                  <a:cubicBezTo>
                    <a:pt x="286" y="15420"/>
                    <a:pt x="928" y="16062"/>
                    <a:pt x="928" y="16705"/>
                  </a:cubicBezTo>
                  <a:cubicBezTo>
                    <a:pt x="2213" y="17347"/>
                    <a:pt x="2856" y="17990"/>
                    <a:pt x="3498" y="19275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 39">
              <a:extLst>
                <a:ext uri="{FF2B5EF4-FFF2-40B4-BE49-F238E27FC236}">
                  <a16:creationId xmlns:a16="http://schemas.microsoft.com/office/drawing/2014/main" id="{35F84FC0-83D6-0426-C441-44985443FCD7}"/>
                </a:ext>
              </a:extLst>
            </p:cNvPr>
            <p:cNvSpPr/>
            <p:nvPr/>
          </p:nvSpPr>
          <p:spPr>
            <a:xfrm>
              <a:off x="2567191" y="2623978"/>
              <a:ext cx="19092" cy="22487"/>
            </a:xfrm>
            <a:custGeom>
              <a:avLst/>
              <a:gdLst>
                <a:gd name="connsiteX0" fmla="*/ 3498 w 19092"/>
                <a:gd name="connsiteY0" fmla="*/ 19275 h 22487"/>
                <a:gd name="connsiteX1" fmla="*/ 5425 w 19092"/>
                <a:gd name="connsiteY1" fmla="*/ 21845 h 22487"/>
                <a:gd name="connsiteX2" fmla="*/ 9923 w 19092"/>
                <a:gd name="connsiteY2" fmla="*/ 22487 h 22487"/>
                <a:gd name="connsiteX3" fmla="*/ 14420 w 19092"/>
                <a:gd name="connsiteY3" fmla="*/ 19917 h 22487"/>
                <a:gd name="connsiteX4" fmla="*/ 18918 w 19092"/>
                <a:gd name="connsiteY4" fmla="*/ 14777 h 22487"/>
                <a:gd name="connsiteX5" fmla="*/ 17633 w 19092"/>
                <a:gd name="connsiteY5" fmla="*/ 9637 h 22487"/>
                <a:gd name="connsiteX6" fmla="*/ 15705 w 19092"/>
                <a:gd name="connsiteY6" fmla="*/ 5140 h 22487"/>
                <a:gd name="connsiteX7" fmla="*/ 12493 w 19092"/>
                <a:gd name="connsiteY7" fmla="*/ 643 h 22487"/>
                <a:gd name="connsiteX8" fmla="*/ 7353 w 19092"/>
                <a:gd name="connsiteY8" fmla="*/ 0 h 22487"/>
                <a:gd name="connsiteX9" fmla="*/ 4140 w 19092"/>
                <a:gd name="connsiteY9" fmla="*/ 1927 h 22487"/>
                <a:gd name="connsiteX10" fmla="*/ 2856 w 19092"/>
                <a:gd name="connsiteY10" fmla="*/ 4497 h 22487"/>
                <a:gd name="connsiteX11" fmla="*/ 286 w 19092"/>
                <a:gd name="connsiteY11" fmla="*/ 12850 h 22487"/>
                <a:gd name="connsiteX12" fmla="*/ 286 w 19092"/>
                <a:gd name="connsiteY12" fmla="*/ 14777 h 22487"/>
                <a:gd name="connsiteX13" fmla="*/ 928 w 19092"/>
                <a:gd name="connsiteY13" fmla="*/ 16705 h 22487"/>
                <a:gd name="connsiteX14" fmla="*/ 3498 w 19092"/>
                <a:gd name="connsiteY14" fmla="*/ 19275 h 2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092" h="22487">
                  <a:moveTo>
                    <a:pt x="3498" y="19275"/>
                  </a:moveTo>
                  <a:cubicBezTo>
                    <a:pt x="4140" y="19917"/>
                    <a:pt x="4783" y="21202"/>
                    <a:pt x="5425" y="21845"/>
                  </a:cubicBezTo>
                  <a:cubicBezTo>
                    <a:pt x="6710" y="22487"/>
                    <a:pt x="8638" y="22487"/>
                    <a:pt x="9923" y="22487"/>
                  </a:cubicBezTo>
                  <a:cubicBezTo>
                    <a:pt x="11208" y="21845"/>
                    <a:pt x="13135" y="21202"/>
                    <a:pt x="14420" y="19917"/>
                  </a:cubicBezTo>
                  <a:cubicBezTo>
                    <a:pt x="16348" y="18632"/>
                    <a:pt x="18275" y="16705"/>
                    <a:pt x="18918" y="14777"/>
                  </a:cubicBezTo>
                  <a:cubicBezTo>
                    <a:pt x="19560" y="12850"/>
                    <a:pt x="18275" y="11565"/>
                    <a:pt x="17633" y="9637"/>
                  </a:cubicBezTo>
                  <a:cubicBezTo>
                    <a:pt x="16990" y="8352"/>
                    <a:pt x="16348" y="7067"/>
                    <a:pt x="15705" y="5140"/>
                  </a:cubicBezTo>
                  <a:cubicBezTo>
                    <a:pt x="15063" y="3212"/>
                    <a:pt x="14420" y="1927"/>
                    <a:pt x="12493" y="643"/>
                  </a:cubicBezTo>
                  <a:cubicBezTo>
                    <a:pt x="11208" y="0"/>
                    <a:pt x="9280" y="0"/>
                    <a:pt x="7353" y="0"/>
                  </a:cubicBezTo>
                  <a:cubicBezTo>
                    <a:pt x="6068" y="643"/>
                    <a:pt x="4783" y="643"/>
                    <a:pt x="4140" y="1927"/>
                  </a:cubicBezTo>
                  <a:cubicBezTo>
                    <a:pt x="3498" y="2570"/>
                    <a:pt x="3498" y="3212"/>
                    <a:pt x="2856" y="4497"/>
                  </a:cubicBezTo>
                  <a:cubicBezTo>
                    <a:pt x="2213" y="7067"/>
                    <a:pt x="928" y="10280"/>
                    <a:pt x="286" y="12850"/>
                  </a:cubicBezTo>
                  <a:cubicBezTo>
                    <a:pt x="286" y="13492"/>
                    <a:pt x="-357" y="14135"/>
                    <a:pt x="286" y="14777"/>
                  </a:cubicBezTo>
                  <a:cubicBezTo>
                    <a:pt x="286" y="15420"/>
                    <a:pt x="928" y="16062"/>
                    <a:pt x="928" y="16705"/>
                  </a:cubicBezTo>
                  <a:cubicBezTo>
                    <a:pt x="2213" y="17347"/>
                    <a:pt x="2856" y="17990"/>
                    <a:pt x="3498" y="19275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 40">
              <a:extLst>
                <a:ext uri="{FF2B5EF4-FFF2-40B4-BE49-F238E27FC236}">
                  <a16:creationId xmlns:a16="http://schemas.microsoft.com/office/drawing/2014/main" id="{890C8731-9B57-6074-AC01-9684E2C3415A}"/>
                </a:ext>
              </a:extLst>
            </p:cNvPr>
            <p:cNvSpPr/>
            <p:nvPr/>
          </p:nvSpPr>
          <p:spPr>
            <a:xfrm>
              <a:off x="2417010" y="2775525"/>
              <a:ext cx="24824" cy="19620"/>
            </a:xfrm>
            <a:custGeom>
              <a:avLst/>
              <a:gdLst>
                <a:gd name="connsiteX0" fmla="*/ 2052 w 24824"/>
                <a:gd name="connsiteY0" fmla="*/ 19355 h 19620"/>
                <a:gd name="connsiteX1" fmla="*/ 5907 w 24824"/>
                <a:gd name="connsiteY1" fmla="*/ 18712 h 19620"/>
                <a:gd name="connsiteX2" fmla="*/ 8477 w 24824"/>
                <a:gd name="connsiteY2" fmla="*/ 15500 h 19620"/>
                <a:gd name="connsiteX3" fmla="*/ 18757 w 24824"/>
                <a:gd name="connsiteY3" fmla="*/ 10360 h 19620"/>
                <a:gd name="connsiteX4" fmla="*/ 21969 w 24824"/>
                <a:gd name="connsiteY4" fmla="*/ 10360 h 19620"/>
                <a:gd name="connsiteX5" fmla="*/ 24539 w 24824"/>
                <a:gd name="connsiteY5" fmla="*/ 8432 h 19620"/>
                <a:gd name="connsiteX6" fmla="*/ 24539 w 24824"/>
                <a:gd name="connsiteY6" fmla="*/ 6505 h 19620"/>
                <a:gd name="connsiteX7" fmla="*/ 24539 w 24824"/>
                <a:gd name="connsiteY7" fmla="*/ 3935 h 19620"/>
                <a:gd name="connsiteX8" fmla="*/ 23254 w 24824"/>
                <a:gd name="connsiteY8" fmla="*/ 3293 h 19620"/>
                <a:gd name="connsiteX9" fmla="*/ 7834 w 24824"/>
                <a:gd name="connsiteY9" fmla="*/ 1365 h 19620"/>
                <a:gd name="connsiteX10" fmla="*/ 3979 w 24824"/>
                <a:gd name="connsiteY10" fmla="*/ 6505 h 19620"/>
                <a:gd name="connsiteX11" fmla="*/ 125 w 24824"/>
                <a:gd name="connsiteY11" fmla="*/ 17427 h 19620"/>
                <a:gd name="connsiteX12" fmla="*/ 2052 w 24824"/>
                <a:gd name="connsiteY12" fmla="*/ 19355 h 1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24" h="19620">
                  <a:moveTo>
                    <a:pt x="2052" y="19355"/>
                  </a:moveTo>
                  <a:cubicBezTo>
                    <a:pt x="3337" y="19997"/>
                    <a:pt x="5264" y="19355"/>
                    <a:pt x="5907" y="18712"/>
                  </a:cubicBezTo>
                  <a:cubicBezTo>
                    <a:pt x="7192" y="18070"/>
                    <a:pt x="7834" y="16142"/>
                    <a:pt x="8477" y="15500"/>
                  </a:cubicBezTo>
                  <a:cubicBezTo>
                    <a:pt x="10404" y="12287"/>
                    <a:pt x="14259" y="10360"/>
                    <a:pt x="18757" y="10360"/>
                  </a:cubicBezTo>
                  <a:cubicBezTo>
                    <a:pt x="20042" y="10360"/>
                    <a:pt x="21327" y="10360"/>
                    <a:pt x="21969" y="10360"/>
                  </a:cubicBezTo>
                  <a:cubicBezTo>
                    <a:pt x="23254" y="10360"/>
                    <a:pt x="23897" y="9717"/>
                    <a:pt x="24539" y="8432"/>
                  </a:cubicBezTo>
                  <a:cubicBezTo>
                    <a:pt x="24539" y="7790"/>
                    <a:pt x="24539" y="7148"/>
                    <a:pt x="24539" y="6505"/>
                  </a:cubicBezTo>
                  <a:cubicBezTo>
                    <a:pt x="24539" y="5863"/>
                    <a:pt x="25182" y="4578"/>
                    <a:pt x="24539" y="3935"/>
                  </a:cubicBezTo>
                  <a:cubicBezTo>
                    <a:pt x="24539" y="3293"/>
                    <a:pt x="23897" y="3293"/>
                    <a:pt x="23254" y="3293"/>
                  </a:cubicBezTo>
                  <a:cubicBezTo>
                    <a:pt x="19399" y="1365"/>
                    <a:pt x="12332" y="-1847"/>
                    <a:pt x="7834" y="1365"/>
                  </a:cubicBezTo>
                  <a:cubicBezTo>
                    <a:pt x="6549" y="2650"/>
                    <a:pt x="5264" y="4578"/>
                    <a:pt x="3979" y="6505"/>
                  </a:cubicBezTo>
                  <a:cubicBezTo>
                    <a:pt x="1409" y="9717"/>
                    <a:pt x="-518" y="13572"/>
                    <a:pt x="125" y="17427"/>
                  </a:cubicBezTo>
                  <a:cubicBezTo>
                    <a:pt x="767" y="17427"/>
                    <a:pt x="1409" y="18712"/>
                    <a:pt x="2052" y="19355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 41">
              <a:extLst>
                <a:ext uri="{FF2B5EF4-FFF2-40B4-BE49-F238E27FC236}">
                  <a16:creationId xmlns:a16="http://schemas.microsoft.com/office/drawing/2014/main" id="{CA0BC607-6346-EC39-48D9-32D9191D5C09}"/>
                </a:ext>
              </a:extLst>
            </p:cNvPr>
            <p:cNvSpPr/>
            <p:nvPr/>
          </p:nvSpPr>
          <p:spPr>
            <a:xfrm>
              <a:off x="2417010" y="2775525"/>
              <a:ext cx="24824" cy="19620"/>
            </a:xfrm>
            <a:custGeom>
              <a:avLst/>
              <a:gdLst>
                <a:gd name="connsiteX0" fmla="*/ 2052 w 24824"/>
                <a:gd name="connsiteY0" fmla="*/ 19355 h 19620"/>
                <a:gd name="connsiteX1" fmla="*/ 5907 w 24824"/>
                <a:gd name="connsiteY1" fmla="*/ 18712 h 19620"/>
                <a:gd name="connsiteX2" fmla="*/ 8477 w 24824"/>
                <a:gd name="connsiteY2" fmla="*/ 15500 h 19620"/>
                <a:gd name="connsiteX3" fmla="*/ 18757 w 24824"/>
                <a:gd name="connsiteY3" fmla="*/ 10360 h 19620"/>
                <a:gd name="connsiteX4" fmla="*/ 21969 w 24824"/>
                <a:gd name="connsiteY4" fmla="*/ 10360 h 19620"/>
                <a:gd name="connsiteX5" fmla="*/ 24539 w 24824"/>
                <a:gd name="connsiteY5" fmla="*/ 8432 h 19620"/>
                <a:gd name="connsiteX6" fmla="*/ 24539 w 24824"/>
                <a:gd name="connsiteY6" fmla="*/ 6505 h 19620"/>
                <a:gd name="connsiteX7" fmla="*/ 24539 w 24824"/>
                <a:gd name="connsiteY7" fmla="*/ 3935 h 19620"/>
                <a:gd name="connsiteX8" fmla="*/ 23254 w 24824"/>
                <a:gd name="connsiteY8" fmla="*/ 3293 h 19620"/>
                <a:gd name="connsiteX9" fmla="*/ 7834 w 24824"/>
                <a:gd name="connsiteY9" fmla="*/ 1365 h 19620"/>
                <a:gd name="connsiteX10" fmla="*/ 3979 w 24824"/>
                <a:gd name="connsiteY10" fmla="*/ 6505 h 19620"/>
                <a:gd name="connsiteX11" fmla="*/ 125 w 24824"/>
                <a:gd name="connsiteY11" fmla="*/ 17427 h 19620"/>
                <a:gd name="connsiteX12" fmla="*/ 2052 w 24824"/>
                <a:gd name="connsiteY12" fmla="*/ 19355 h 1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24" h="19620">
                  <a:moveTo>
                    <a:pt x="2052" y="19355"/>
                  </a:moveTo>
                  <a:cubicBezTo>
                    <a:pt x="3337" y="19997"/>
                    <a:pt x="5264" y="19355"/>
                    <a:pt x="5907" y="18712"/>
                  </a:cubicBezTo>
                  <a:cubicBezTo>
                    <a:pt x="7192" y="18070"/>
                    <a:pt x="7834" y="16142"/>
                    <a:pt x="8477" y="15500"/>
                  </a:cubicBezTo>
                  <a:cubicBezTo>
                    <a:pt x="10404" y="12287"/>
                    <a:pt x="14259" y="10360"/>
                    <a:pt x="18757" y="10360"/>
                  </a:cubicBezTo>
                  <a:cubicBezTo>
                    <a:pt x="20042" y="10360"/>
                    <a:pt x="21327" y="10360"/>
                    <a:pt x="21969" y="10360"/>
                  </a:cubicBezTo>
                  <a:cubicBezTo>
                    <a:pt x="23254" y="10360"/>
                    <a:pt x="23897" y="9717"/>
                    <a:pt x="24539" y="8432"/>
                  </a:cubicBezTo>
                  <a:cubicBezTo>
                    <a:pt x="24539" y="7790"/>
                    <a:pt x="24539" y="7148"/>
                    <a:pt x="24539" y="6505"/>
                  </a:cubicBezTo>
                  <a:cubicBezTo>
                    <a:pt x="24539" y="5863"/>
                    <a:pt x="25182" y="4578"/>
                    <a:pt x="24539" y="3935"/>
                  </a:cubicBezTo>
                  <a:cubicBezTo>
                    <a:pt x="24539" y="3293"/>
                    <a:pt x="23897" y="3293"/>
                    <a:pt x="23254" y="3293"/>
                  </a:cubicBezTo>
                  <a:cubicBezTo>
                    <a:pt x="19399" y="1365"/>
                    <a:pt x="12332" y="-1847"/>
                    <a:pt x="7834" y="1365"/>
                  </a:cubicBezTo>
                  <a:cubicBezTo>
                    <a:pt x="6549" y="2650"/>
                    <a:pt x="5264" y="4578"/>
                    <a:pt x="3979" y="6505"/>
                  </a:cubicBezTo>
                  <a:cubicBezTo>
                    <a:pt x="1409" y="9717"/>
                    <a:pt x="-518" y="13572"/>
                    <a:pt x="125" y="17427"/>
                  </a:cubicBezTo>
                  <a:cubicBezTo>
                    <a:pt x="767" y="17427"/>
                    <a:pt x="1409" y="18712"/>
                    <a:pt x="2052" y="19355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 43">
              <a:extLst>
                <a:ext uri="{FF2B5EF4-FFF2-40B4-BE49-F238E27FC236}">
                  <a16:creationId xmlns:a16="http://schemas.microsoft.com/office/drawing/2014/main" id="{B70B04B2-A113-8DC5-F773-CF25BBB4E173}"/>
                </a:ext>
              </a:extLst>
            </p:cNvPr>
            <p:cNvSpPr/>
            <p:nvPr/>
          </p:nvSpPr>
          <p:spPr>
            <a:xfrm>
              <a:off x="2292882" y="2753385"/>
              <a:ext cx="46031" cy="15528"/>
            </a:xfrm>
            <a:custGeom>
              <a:avLst/>
              <a:gdLst>
                <a:gd name="connsiteX0" fmla="*/ 43941 w 46031"/>
                <a:gd name="connsiteY0" fmla="*/ 9370 h 15528"/>
                <a:gd name="connsiteX1" fmla="*/ 32376 w 46031"/>
                <a:gd name="connsiteY1" fmla="*/ 13225 h 15528"/>
                <a:gd name="connsiteX2" fmla="*/ 24667 w 46031"/>
                <a:gd name="connsiteY2" fmla="*/ 14510 h 15528"/>
                <a:gd name="connsiteX3" fmla="*/ 6034 w 46031"/>
                <a:gd name="connsiteY3" fmla="*/ 14510 h 15528"/>
                <a:gd name="connsiteX4" fmla="*/ 1537 w 46031"/>
                <a:gd name="connsiteY4" fmla="*/ 12583 h 15528"/>
                <a:gd name="connsiteX5" fmla="*/ 252 w 46031"/>
                <a:gd name="connsiteY5" fmla="*/ 8728 h 15528"/>
                <a:gd name="connsiteX6" fmla="*/ 5392 w 46031"/>
                <a:gd name="connsiteY6" fmla="*/ 4230 h 15528"/>
                <a:gd name="connsiteX7" fmla="*/ 12459 w 46031"/>
                <a:gd name="connsiteY7" fmla="*/ 1660 h 15528"/>
                <a:gd name="connsiteX8" fmla="*/ 24667 w 46031"/>
                <a:gd name="connsiteY8" fmla="*/ 1018 h 15528"/>
                <a:gd name="connsiteX9" fmla="*/ 38801 w 46031"/>
                <a:gd name="connsiteY9" fmla="*/ 1018 h 15528"/>
                <a:gd name="connsiteX10" fmla="*/ 43941 w 46031"/>
                <a:gd name="connsiteY10" fmla="*/ 9370 h 1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31" h="15528">
                  <a:moveTo>
                    <a:pt x="43941" y="9370"/>
                  </a:moveTo>
                  <a:cubicBezTo>
                    <a:pt x="40729" y="11940"/>
                    <a:pt x="36231" y="12583"/>
                    <a:pt x="32376" y="13225"/>
                  </a:cubicBezTo>
                  <a:cubicBezTo>
                    <a:pt x="29807" y="13868"/>
                    <a:pt x="27237" y="13868"/>
                    <a:pt x="24667" y="14510"/>
                  </a:cubicBezTo>
                  <a:cubicBezTo>
                    <a:pt x="18242" y="15153"/>
                    <a:pt x="11817" y="16438"/>
                    <a:pt x="6034" y="14510"/>
                  </a:cubicBezTo>
                  <a:cubicBezTo>
                    <a:pt x="4749" y="13868"/>
                    <a:pt x="2822" y="13225"/>
                    <a:pt x="1537" y="12583"/>
                  </a:cubicBezTo>
                  <a:cubicBezTo>
                    <a:pt x="252" y="11298"/>
                    <a:pt x="-390" y="10013"/>
                    <a:pt x="252" y="8728"/>
                  </a:cubicBezTo>
                  <a:cubicBezTo>
                    <a:pt x="895" y="6800"/>
                    <a:pt x="2822" y="5515"/>
                    <a:pt x="5392" y="4230"/>
                  </a:cubicBezTo>
                  <a:cubicBezTo>
                    <a:pt x="7962" y="2945"/>
                    <a:pt x="9889" y="2303"/>
                    <a:pt x="12459" y="1660"/>
                  </a:cubicBezTo>
                  <a:cubicBezTo>
                    <a:pt x="16314" y="1018"/>
                    <a:pt x="20812" y="1660"/>
                    <a:pt x="24667" y="1018"/>
                  </a:cubicBezTo>
                  <a:cubicBezTo>
                    <a:pt x="29164" y="376"/>
                    <a:pt x="34946" y="-909"/>
                    <a:pt x="38801" y="1018"/>
                  </a:cubicBezTo>
                  <a:cubicBezTo>
                    <a:pt x="42014" y="2303"/>
                    <a:pt x="49724" y="5515"/>
                    <a:pt x="43941" y="9370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 45">
              <a:extLst>
                <a:ext uri="{FF2B5EF4-FFF2-40B4-BE49-F238E27FC236}">
                  <a16:creationId xmlns:a16="http://schemas.microsoft.com/office/drawing/2014/main" id="{1232B957-D63A-8C8B-A736-6BE1115253CE}"/>
                </a:ext>
              </a:extLst>
            </p:cNvPr>
            <p:cNvSpPr/>
            <p:nvPr/>
          </p:nvSpPr>
          <p:spPr>
            <a:xfrm>
              <a:off x="2292882" y="2753385"/>
              <a:ext cx="46031" cy="15528"/>
            </a:xfrm>
            <a:custGeom>
              <a:avLst/>
              <a:gdLst>
                <a:gd name="connsiteX0" fmla="*/ 43941 w 46031"/>
                <a:gd name="connsiteY0" fmla="*/ 9370 h 15528"/>
                <a:gd name="connsiteX1" fmla="*/ 32376 w 46031"/>
                <a:gd name="connsiteY1" fmla="*/ 13225 h 15528"/>
                <a:gd name="connsiteX2" fmla="*/ 24667 w 46031"/>
                <a:gd name="connsiteY2" fmla="*/ 14510 h 15528"/>
                <a:gd name="connsiteX3" fmla="*/ 6034 w 46031"/>
                <a:gd name="connsiteY3" fmla="*/ 14510 h 15528"/>
                <a:gd name="connsiteX4" fmla="*/ 1537 w 46031"/>
                <a:gd name="connsiteY4" fmla="*/ 12583 h 15528"/>
                <a:gd name="connsiteX5" fmla="*/ 252 w 46031"/>
                <a:gd name="connsiteY5" fmla="*/ 8728 h 15528"/>
                <a:gd name="connsiteX6" fmla="*/ 5392 w 46031"/>
                <a:gd name="connsiteY6" fmla="*/ 4230 h 15528"/>
                <a:gd name="connsiteX7" fmla="*/ 12459 w 46031"/>
                <a:gd name="connsiteY7" fmla="*/ 1660 h 15528"/>
                <a:gd name="connsiteX8" fmla="*/ 24667 w 46031"/>
                <a:gd name="connsiteY8" fmla="*/ 1018 h 15528"/>
                <a:gd name="connsiteX9" fmla="*/ 38801 w 46031"/>
                <a:gd name="connsiteY9" fmla="*/ 1018 h 15528"/>
                <a:gd name="connsiteX10" fmla="*/ 43941 w 46031"/>
                <a:gd name="connsiteY10" fmla="*/ 9370 h 1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31" h="15528">
                  <a:moveTo>
                    <a:pt x="43941" y="9370"/>
                  </a:moveTo>
                  <a:cubicBezTo>
                    <a:pt x="40729" y="11940"/>
                    <a:pt x="36231" y="12583"/>
                    <a:pt x="32376" y="13225"/>
                  </a:cubicBezTo>
                  <a:cubicBezTo>
                    <a:pt x="29807" y="13868"/>
                    <a:pt x="27237" y="13868"/>
                    <a:pt x="24667" y="14510"/>
                  </a:cubicBezTo>
                  <a:cubicBezTo>
                    <a:pt x="18242" y="15153"/>
                    <a:pt x="11817" y="16438"/>
                    <a:pt x="6034" y="14510"/>
                  </a:cubicBezTo>
                  <a:cubicBezTo>
                    <a:pt x="4749" y="13868"/>
                    <a:pt x="2822" y="13225"/>
                    <a:pt x="1537" y="12583"/>
                  </a:cubicBezTo>
                  <a:cubicBezTo>
                    <a:pt x="252" y="11298"/>
                    <a:pt x="-390" y="10013"/>
                    <a:pt x="252" y="8728"/>
                  </a:cubicBezTo>
                  <a:cubicBezTo>
                    <a:pt x="895" y="6800"/>
                    <a:pt x="2822" y="5515"/>
                    <a:pt x="5392" y="4230"/>
                  </a:cubicBezTo>
                  <a:cubicBezTo>
                    <a:pt x="7962" y="2945"/>
                    <a:pt x="9889" y="2303"/>
                    <a:pt x="12459" y="1660"/>
                  </a:cubicBezTo>
                  <a:cubicBezTo>
                    <a:pt x="16314" y="1018"/>
                    <a:pt x="20812" y="1660"/>
                    <a:pt x="24667" y="1018"/>
                  </a:cubicBezTo>
                  <a:cubicBezTo>
                    <a:pt x="29164" y="376"/>
                    <a:pt x="34946" y="-909"/>
                    <a:pt x="38801" y="1018"/>
                  </a:cubicBezTo>
                  <a:cubicBezTo>
                    <a:pt x="42014" y="2303"/>
                    <a:pt x="49724" y="5515"/>
                    <a:pt x="43941" y="9370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 46">
              <a:extLst>
                <a:ext uri="{FF2B5EF4-FFF2-40B4-BE49-F238E27FC236}">
                  <a16:creationId xmlns:a16="http://schemas.microsoft.com/office/drawing/2014/main" id="{74328D2A-8074-CFCD-D268-705DE3A72221}"/>
                </a:ext>
              </a:extLst>
            </p:cNvPr>
            <p:cNvSpPr/>
            <p:nvPr/>
          </p:nvSpPr>
          <p:spPr>
            <a:xfrm>
              <a:off x="2232905" y="2761444"/>
              <a:ext cx="55732" cy="21494"/>
            </a:xfrm>
            <a:custGeom>
              <a:avLst/>
              <a:gdLst>
                <a:gd name="connsiteX0" fmla="*/ 1121 w 55732"/>
                <a:gd name="connsiteY0" fmla="*/ 21228 h 21494"/>
                <a:gd name="connsiteX1" fmla="*/ 2406 w 55732"/>
                <a:gd name="connsiteY1" fmla="*/ 10306 h 21494"/>
                <a:gd name="connsiteX2" fmla="*/ 6903 w 55732"/>
                <a:gd name="connsiteY2" fmla="*/ 6451 h 21494"/>
                <a:gd name="connsiteX3" fmla="*/ 17183 w 55732"/>
                <a:gd name="connsiteY3" fmla="*/ 1954 h 21494"/>
                <a:gd name="connsiteX4" fmla="*/ 36458 w 55732"/>
                <a:gd name="connsiteY4" fmla="*/ 669 h 21494"/>
                <a:gd name="connsiteX5" fmla="*/ 42882 w 55732"/>
                <a:gd name="connsiteY5" fmla="*/ 2596 h 21494"/>
                <a:gd name="connsiteX6" fmla="*/ 51877 w 55732"/>
                <a:gd name="connsiteY6" fmla="*/ 5808 h 21494"/>
                <a:gd name="connsiteX7" fmla="*/ 55732 w 55732"/>
                <a:gd name="connsiteY7" fmla="*/ 8378 h 21494"/>
                <a:gd name="connsiteX8" fmla="*/ 55090 w 55732"/>
                <a:gd name="connsiteY8" fmla="*/ 10948 h 21494"/>
                <a:gd name="connsiteX9" fmla="*/ 46737 w 55732"/>
                <a:gd name="connsiteY9" fmla="*/ 14161 h 21494"/>
                <a:gd name="connsiteX10" fmla="*/ 39027 w 55732"/>
                <a:gd name="connsiteY10" fmla="*/ 14803 h 21494"/>
                <a:gd name="connsiteX11" fmla="*/ 30675 w 55732"/>
                <a:gd name="connsiteY11" fmla="*/ 14161 h 21494"/>
                <a:gd name="connsiteX12" fmla="*/ 22323 w 55732"/>
                <a:gd name="connsiteY12" fmla="*/ 12233 h 21494"/>
                <a:gd name="connsiteX13" fmla="*/ 16540 w 55732"/>
                <a:gd name="connsiteY13" fmla="*/ 17373 h 21494"/>
                <a:gd name="connsiteX14" fmla="*/ 10115 w 55732"/>
                <a:gd name="connsiteY14" fmla="*/ 20586 h 21494"/>
                <a:gd name="connsiteX15" fmla="*/ 1121 w 55732"/>
                <a:gd name="connsiteY15" fmla="*/ 21228 h 21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732" h="21494">
                  <a:moveTo>
                    <a:pt x="1121" y="21228"/>
                  </a:moveTo>
                  <a:cubicBezTo>
                    <a:pt x="-807" y="18016"/>
                    <a:pt x="-164" y="13518"/>
                    <a:pt x="2406" y="10306"/>
                  </a:cubicBezTo>
                  <a:cubicBezTo>
                    <a:pt x="3691" y="9021"/>
                    <a:pt x="5618" y="7736"/>
                    <a:pt x="6903" y="6451"/>
                  </a:cubicBezTo>
                  <a:cubicBezTo>
                    <a:pt x="10115" y="4523"/>
                    <a:pt x="13328" y="2596"/>
                    <a:pt x="17183" y="1954"/>
                  </a:cubicBezTo>
                  <a:cubicBezTo>
                    <a:pt x="22965" y="26"/>
                    <a:pt x="30675" y="-616"/>
                    <a:pt x="36458" y="669"/>
                  </a:cubicBezTo>
                  <a:cubicBezTo>
                    <a:pt x="38385" y="1311"/>
                    <a:pt x="40955" y="1954"/>
                    <a:pt x="42882" y="2596"/>
                  </a:cubicBezTo>
                  <a:cubicBezTo>
                    <a:pt x="46095" y="3238"/>
                    <a:pt x="48665" y="4523"/>
                    <a:pt x="51877" y="5808"/>
                  </a:cubicBezTo>
                  <a:cubicBezTo>
                    <a:pt x="53162" y="6451"/>
                    <a:pt x="55090" y="7093"/>
                    <a:pt x="55732" y="8378"/>
                  </a:cubicBezTo>
                  <a:cubicBezTo>
                    <a:pt x="55732" y="9021"/>
                    <a:pt x="55732" y="10306"/>
                    <a:pt x="55090" y="10948"/>
                  </a:cubicBezTo>
                  <a:cubicBezTo>
                    <a:pt x="53162" y="13518"/>
                    <a:pt x="49950" y="14161"/>
                    <a:pt x="46737" y="14161"/>
                  </a:cubicBezTo>
                  <a:cubicBezTo>
                    <a:pt x="44167" y="14161"/>
                    <a:pt x="41597" y="14803"/>
                    <a:pt x="39027" y="14803"/>
                  </a:cubicBezTo>
                  <a:cubicBezTo>
                    <a:pt x="36458" y="14803"/>
                    <a:pt x="33245" y="14803"/>
                    <a:pt x="30675" y="14161"/>
                  </a:cubicBezTo>
                  <a:cubicBezTo>
                    <a:pt x="28105" y="13518"/>
                    <a:pt x="24893" y="10948"/>
                    <a:pt x="22323" y="12233"/>
                  </a:cubicBezTo>
                  <a:cubicBezTo>
                    <a:pt x="19753" y="12876"/>
                    <a:pt x="18468" y="15446"/>
                    <a:pt x="16540" y="17373"/>
                  </a:cubicBezTo>
                  <a:cubicBezTo>
                    <a:pt x="14613" y="19301"/>
                    <a:pt x="12043" y="19943"/>
                    <a:pt x="10115" y="20586"/>
                  </a:cubicBezTo>
                  <a:cubicBezTo>
                    <a:pt x="6903" y="21228"/>
                    <a:pt x="3691" y="21871"/>
                    <a:pt x="1121" y="21228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 47">
              <a:extLst>
                <a:ext uri="{FF2B5EF4-FFF2-40B4-BE49-F238E27FC236}">
                  <a16:creationId xmlns:a16="http://schemas.microsoft.com/office/drawing/2014/main" id="{6162EB56-3891-76BE-79A6-D32C20931BD9}"/>
                </a:ext>
              </a:extLst>
            </p:cNvPr>
            <p:cNvSpPr/>
            <p:nvPr/>
          </p:nvSpPr>
          <p:spPr>
            <a:xfrm>
              <a:off x="2232905" y="2761444"/>
              <a:ext cx="55732" cy="21494"/>
            </a:xfrm>
            <a:custGeom>
              <a:avLst/>
              <a:gdLst>
                <a:gd name="connsiteX0" fmla="*/ 1121 w 55732"/>
                <a:gd name="connsiteY0" fmla="*/ 21228 h 21494"/>
                <a:gd name="connsiteX1" fmla="*/ 2406 w 55732"/>
                <a:gd name="connsiteY1" fmla="*/ 10306 h 21494"/>
                <a:gd name="connsiteX2" fmla="*/ 6903 w 55732"/>
                <a:gd name="connsiteY2" fmla="*/ 6451 h 21494"/>
                <a:gd name="connsiteX3" fmla="*/ 17183 w 55732"/>
                <a:gd name="connsiteY3" fmla="*/ 1954 h 21494"/>
                <a:gd name="connsiteX4" fmla="*/ 36458 w 55732"/>
                <a:gd name="connsiteY4" fmla="*/ 669 h 21494"/>
                <a:gd name="connsiteX5" fmla="*/ 42882 w 55732"/>
                <a:gd name="connsiteY5" fmla="*/ 2596 h 21494"/>
                <a:gd name="connsiteX6" fmla="*/ 51877 w 55732"/>
                <a:gd name="connsiteY6" fmla="*/ 5808 h 21494"/>
                <a:gd name="connsiteX7" fmla="*/ 55732 w 55732"/>
                <a:gd name="connsiteY7" fmla="*/ 8378 h 21494"/>
                <a:gd name="connsiteX8" fmla="*/ 55090 w 55732"/>
                <a:gd name="connsiteY8" fmla="*/ 10948 h 21494"/>
                <a:gd name="connsiteX9" fmla="*/ 46737 w 55732"/>
                <a:gd name="connsiteY9" fmla="*/ 14161 h 21494"/>
                <a:gd name="connsiteX10" fmla="*/ 39027 w 55732"/>
                <a:gd name="connsiteY10" fmla="*/ 14803 h 21494"/>
                <a:gd name="connsiteX11" fmla="*/ 30675 w 55732"/>
                <a:gd name="connsiteY11" fmla="*/ 14161 h 21494"/>
                <a:gd name="connsiteX12" fmla="*/ 22323 w 55732"/>
                <a:gd name="connsiteY12" fmla="*/ 12233 h 21494"/>
                <a:gd name="connsiteX13" fmla="*/ 16540 w 55732"/>
                <a:gd name="connsiteY13" fmla="*/ 17373 h 21494"/>
                <a:gd name="connsiteX14" fmla="*/ 10115 w 55732"/>
                <a:gd name="connsiteY14" fmla="*/ 20586 h 21494"/>
                <a:gd name="connsiteX15" fmla="*/ 1121 w 55732"/>
                <a:gd name="connsiteY15" fmla="*/ 21228 h 21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732" h="21494">
                  <a:moveTo>
                    <a:pt x="1121" y="21228"/>
                  </a:moveTo>
                  <a:cubicBezTo>
                    <a:pt x="-807" y="18016"/>
                    <a:pt x="-164" y="13518"/>
                    <a:pt x="2406" y="10306"/>
                  </a:cubicBezTo>
                  <a:cubicBezTo>
                    <a:pt x="3691" y="9021"/>
                    <a:pt x="5618" y="7736"/>
                    <a:pt x="6903" y="6451"/>
                  </a:cubicBezTo>
                  <a:cubicBezTo>
                    <a:pt x="10115" y="4523"/>
                    <a:pt x="13328" y="2596"/>
                    <a:pt x="17183" y="1954"/>
                  </a:cubicBezTo>
                  <a:cubicBezTo>
                    <a:pt x="22965" y="26"/>
                    <a:pt x="30675" y="-616"/>
                    <a:pt x="36458" y="669"/>
                  </a:cubicBezTo>
                  <a:cubicBezTo>
                    <a:pt x="38385" y="1311"/>
                    <a:pt x="40955" y="1954"/>
                    <a:pt x="42882" y="2596"/>
                  </a:cubicBezTo>
                  <a:cubicBezTo>
                    <a:pt x="46095" y="3238"/>
                    <a:pt x="48665" y="4523"/>
                    <a:pt x="51877" y="5808"/>
                  </a:cubicBezTo>
                  <a:cubicBezTo>
                    <a:pt x="53162" y="6451"/>
                    <a:pt x="55090" y="7093"/>
                    <a:pt x="55732" y="8378"/>
                  </a:cubicBezTo>
                  <a:cubicBezTo>
                    <a:pt x="55732" y="9021"/>
                    <a:pt x="55732" y="10306"/>
                    <a:pt x="55090" y="10948"/>
                  </a:cubicBezTo>
                  <a:cubicBezTo>
                    <a:pt x="53162" y="13518"/>
                    <a:pt x="49950" y="14161"/>
                    <a:pt x="46737" y="14161"/>
                  </a:cubicBezTo>
                  <a:cubicBezTo>
                    <a:pt x="44167" y="14161"/>
                    <a:pt x="41597" y="14803"/>
                    <a:pt x="39027" y="14803"/>
                  </a:cubicBezTo>
                  <a:cubicBezTo>
                    <a:pt x="36458" y="14803"/>
                    <a:pt x="33245" y="14803"/>
                    <a:pt x="30675" y="14161"/>
                  </a:cubicBezTo>
                  <a:cubicBezTo>
                    <a:pt x="28105" y="13518"/>
                    <a:pt x="24893" y="10948"/>
                    <a:pt x="22323" y="12233"/>
                  </a:cubicBezTo>
                  <a:cubicBezTo>
                    <a:pt x="19753" y="12876"/>
                    <a:pt x="18468" y="15446"/>
                    <a:pt x="16540" y="17373"/>
                  </a:cubicBezTo>
                  <a:cubicBezTo>
                    <a:pt x="14613" y="19301"/>
                    <a:pt x="12043" y="19943"/>
                    <a:pt x="10115" y="20586"/>
                  </a:cubicBezTo>
                  <a:cubicBezTo>
                    <a:pt x="6903" y="21228"/>
                    <a:pt x="3691" y="21871"/>
                    <a:pt x="1121" y="21228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 48">
              <a:extLst>
                <a:ext uri="{FF2B5EF4-FFF2-40B4-BE49-F238E27FC236}">
                  <a16:creationId xmlns:a16="http://schemas.microsoft.com/office/drawing/2014/main" id="{057F18F6-C068-B3F6-1746-5F9179B40791}"/>
                </a:ext>
              </a:extLst>
            </p:cNvPr>
            <p:cNvSpPr/>
            <p:nvPr/>
          </p:nvSpPr>
          <p:spPr>
            <a:xfrm>
              <a:off x="2151237" y="2772769"/>
              <a:ext cx="60301" cy="20183"/>
            </a:xfrm>
            <a:custGeom>
              <a:avLst/>
              <a:gdLst>
                <a:gd name="connsiteX0" fmla="*/ 1835 w 60301"/>
                <a:gd name="connsiteY0" fmla="*/ 19541 h 20183"/>
                <a:gd name="connsiteX1" fmla="*/ 1192 w 60301"/>
                <a:gd name="connsiteY1" fmla="*/ 18256 h 20183"/>
                <a:gd name="connsiteX2" fmla="*/ 550 w 60301"/>
                <a:gd name="connsiteY2" fmla="*/ 11831 h 20183"/>
                <a:gd name="connsiteX3" fmla="*/ 1835 w 60301"/>
                <a:gd name="connsiteY3" fmla="*/ 9903 h 20183"/>
                <a:gd name="connsiteX4" fmla="*/ 6975 w 60301"/>
                <a:gd name="connsiteY4" fmla="*/ 5406 h 20183"/>
                <a:gd name="connsiteX5" fmla="*/ 24322 w 60301"/>
                <a:gd name="connsiteY5" fmla="*/ 2836 h 20183"/>
                <a:gd name="connsiteX6" fmla="*/ 40384 w 60301"/>
                <a:gd name="connsiteY6" fmla="*/ 909 h 20183"/>
                <a:gd name="connsiteX7" fmla="*/ 50664 w 60301"/>
                <a:gd name="connsiteY7" fmla="*/ 266 h 20183"/>
                <a:gd name="connsiteX8" fmla="*/ 58374 w 60301"/>
                <a:gd name="connsiteY8" fmla="*/ 909 h 20183"/>
                <a:gd name="connsiteX9" fmla="*/ 60301 w 60301"/>
                <a:gd name="connsiteY9" fmla="*/ 6691 h 20183"/>
                <a:gd name="connsiteX10" fmla="*/ 60301 w 60301"/>
                <a:gd name="connsiteY10" fmla="*/ 7976 h 20183"/>
                <a:gd name="connsiteX11" fmla="*/ 59016 w 60301"/>
                <a:gd name="connsiteY11" fmla="*/ 9261 h 20183"/>
                <a:gd name="connsiteX12" fmla="*/ 41669 w 60301"/>
                <a:gd name="connsiteY12" fmla="*/ 14401 h 20183"/>
                <a:gd name="connsiteX13" fmla="*/ 33317 w 60301"/>
                <a:gd name="connsiteY13" fmla="*/ 14401 h 20183"/>
                <a:gd name="connsiteX14" fmla="*/ 24322 w 60301"/>
                <a:gd name="connsiteY14" fmla="*/ 16328 h 20183"/>
                <a:gd name="connsiteX15" fmla="*/ 3120 w 60301"/>
                <a:gd name="connsiteY15" fmla="*/ 20183 h 20183"/>
                <a:gd name="connsiteX16" fmla="*/ 1835 w 60301"/>
                <a:gd name="connsiteY16" fmla="*/ 19541 h 20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301" h="20183">
                  <a:moveTo>
                    <a:pt x="1835" y="19541"/>
                  </a:moveTo>
                  <a:cubicBezTo>
                    <a:pt x="1192" y="19541"/>
                    <a:pt x="1192" y="18898"/>
                    <a:pt x="1192" y="18256"/>
                  </a:cubicBezTo>
                  <a:cubicBezTo>
                    <a:pt x="550" y="16328"/>
                    <a:pt x="-735" y="13758"/>
                    <a:pt x="550" y="11831"/>
                  </a:cubicBezTo>
                  <a:cubicBezTo>
                    <a:pt x="1192" y="11188"/>
                    <a:pt x="1192" y="10546"/>
                    <a:pt x="1835" y="9903"/>
                  </a:cubicBezTo>
                  <a:cubicBezTo>
                    <a:pt x="3120" y="7976"/>
                    <a:pt x="5047" y="6691"/>
                    <a:pt x="6975" y="5406"/>
                  </a:cubicBezTo>
                  <a:cubicBezTo>
                    <a:pt x="12115" y="2836"/>
                    <a:pt x="18539" y="2836"/>
                    <a:pt x="24322" y="2836"/>
                  </a:cubicBezTo>
                  <a:cubicBezTo>
                    <a:pt x="30104" y="2194"/>
                    <a:pt x="35244" y="1551"/>
                    <a:pt x="40384" y="909"/>
                  </a:cubicBezTo>
                  <a:cubicBezTo>
                    <a:pt x="43596" y="266"/>
                    <a:pt x="47451" y="-376"/>
                    <a:pt x="50664" y="266"/>
                  </a:cubicBezTo>
                  <a:cubicBezTo>
                    <a:pt x="53234" y="266"/>
                    <a:pt x="56446" y="-376"/>
                    <a:pt x="58374" y="909"/>
                  </a:cubicBezTo>
                  <a:cubicBezTo>
                    <a:pt x="59659" y="1551"/>
                    <a:pt x="60301" y="5406"/>
                    <a:pt x="60301" y="6691"/>
                  </a:cubicBezTo>
                  <a:cubicBezTo>
                    <a:pt x="60301" y="7333"/>
                    <a:pt x="60301" y="7976"/>
                    <a:pt x="60301" y="7976"/>
                  </a:cubicBezTo>
                  <a:cubicBezTo>
                    <a:pt x="60301" y="8618"/>
                    <a:pt x="59659" y="8618"/>
                    <a:pt x="59016" y="9261"/>
                  </a:cubicBezTo>
                  <a:cubicBezTo>
                    <a:pt x="53876" y="12473"/>
                    <a:pt x="48094" y="14401"/>
                    <a:pt x="41669" y="14401"/>
                  </a:cubicBezTo>
                  <a:cubicBezTo>
                    <a:pt x="39099" y="14401"/>
                    <a:pt x="35887" y="14401"/>
                    <a:pt x="33317" y="14401"/>
                  </a:cubicBezTo>
                  <a:cubicBezTo>
                    <a:pt x="30104" y="14401"/>
                    <a:pt x="27534" y="15686"/>
                    <a:pt x="24322" y="16328"/>
                  </a:cubicBezTo>
                  <a:cubicBezTo>
                    <a:pt x="17255" y="18256"/>
                    <a:pt x="10187" y="19541"/>
                    <a:pt x="3120" y="20183"/>
                  </a:cubicBezTo>
                  <a:cubicBezTo>
                    <a:pt x="2477" y="19541"/>
                    <a:pt x="1835" y="20183"/>
                    <a:pt x="1835" y="19541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 49">
              <a:extLst>
                <a:ext uri="{FF2B5EF4-FFF2-40B4-BE49-F238E27FC236}">
                  <a16:creationId xmlns:a16="http://schemas.microsoft.com/office/drawing/2014/main" id="{F81306A1-67F2-BAFD-B413-E3FCDD58F483}"/>
                </a:ext>
              </a:extLst>
            </p:cNvPr>
            <p:cNvSpPr/>
            <p:nvPr/>
          </p:nvSpPr>
          <p:spPr>
            <a:xfrm>
              <a:off x="2151237" y="2772769"/>
              <a:ext cx="60301" cy="20183"/>
            </a:xfrm>
            <a:custGeom>
              <a:avLst/>
              <a:gdLst>
                <a:gd name="connsiteX0" fmla="*/ 1835 w 60301"/>
                <a:gd name="connsiteY0" fmla="*/ 19541 h 20183"/>
                <a:gd name="connsiteX1" fmla="*/ 1192 w 60301"/>
                <a:gd name="connsiteY1" fmla="*/ 18256 h 20183"/>
                <a:gd name="connsiteX2" fmla="*/ 550 w 60301"/>
                <a:gd name="connsiteY2" fmla="*/ 11831 h 20183"/>
                <a:gd name="connsiteX3" fmla="*/ 1835 w 60301"/>
                <a:gd name="connsiteY3" fmla="*/ 9903 h 20183"/>
                <a:gd name="connsiteX4" fmla="*/ 6975 w 60301"/>
                <a:gd name="connsiteY4" fmla="*/ 5406 h 20183"/>
                <a:gd name="connsiteX5" fmla="*/ 24322 w 60301"/>
                <a:gd name="connsiteY5" fmla="*/ 2836 h 20183"/>
                <a:gd name="connsiteX6" fmla="*/ 40384 w 60301"/>
                <a:gd name="connsiteY6" fmla="*/ 909 h 20183"/>
                <a:gd name="connsiteX7" fmla="*/ 50664 w 60301"/>
                <a:gd name="connsiteY7" fmla="*/ 266 h 20183"/>
                <a:gd name="connsiteX8" fmla="*/ 58374 w 60301"/>
                <a:gd name="connsiteY8" fmla="*/ 909 h 20183"/>
                <a:gd name="connsiteX9" fmla="*/ 60301 w 60301"/>
                <a:gd name="connsiteY9" fmla="*/ 6691 h 20183"/>
                <a:gd name="connsiteX10" fmla="*/ 60301 w 60301"/>
                <a:gd name="connsiteY10" fmla="*/ 7976 h 20183"/>
                <a:gd name="connsiteX11" fmla="*/ 59016 w 60301"/>
                <a:gd name="connsiteY11" fmla="*/ 9261 h 20183"/>
                <a:gd name="connsiteX12" fmla="*/ 41669 w 60301"/>
                <a:gd name="connsiteY12" fmla="*/ 14401 h 20183"/>
                <a:gd name="connsiteX13" fmla="*/ 33317 w 60301"/>
                <a:gd name="connsiteY13" fmla="*/ 14401 h 20183"/>
                <a:gd name="connsiteX14" fmla="*/ 24322 w 60301"/>
                <a:gd name="connsiteY14" fmla="*/ 16328 h 20183"/>
                <a:gd name="connsiteX15" fmla="*/ 3120 w 60301"/>
                <a:gd name="connsiteY15" fmla="*/ 20183 h 20183"/>
                <a:gd name="connsiteX16" fmla="*/ 1835 w 60301"/>
                <a:gd name="connsiteY16" fmla="*/ 19541 h 20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301" h="20183">
                  <a:moveTo>
                    <a:pt x="1835" y="19541"/>
                  </a:moveTo>
                  <a:cubicBezTo>
                    <a:pt x="1192" y="19541"/>
                    <a:pt x="1192" y="18898"/>
                    <a:pt x="1192" y="18256"/>
                  </a:cubicBezTo>
                  <a:cubicBezTo>
                    <a:pt x="550" y="16328"/>
                    <a:pt x="-735" y="13758"/>
                    <a:pt x="550" y="11831"/>
                  </a:cubicBezTo>
                  <a:cubicBezTo>
                    <a:pt x="1192" y="11188"/>
                    <a:pt x="1192" y="10546"/>
                    <a:pt x="1835" y="9903"/>
                  </a:cubicBezTo>
                  <a:cubicBezTo>
                    <a:pt x="3120" y="7976"/>
                    <a:pt x="5047" y="6691"/>
                    <a:pt x="6975" y="5406"/>
                  </a:cubicBezTo>
                  <a:cubicBezTo>
                    <a:pt x="12115" y="2836"/>
                    <a:pt x="18539" y="2836"/>
                    <a:pt x="24322" y="2836"/>
                  </a:cubicBezTo>
                  <a:cubicBezTo>
                    <a:pt x="30104" y="2194"/>
                    <a:pt x="35244" y="1551"/>
                    <a:pt x="40384" y="909"/>
                  </a:cubicBezTo>
                  <a:cubicBezTo>
                    <a:pt x="43596" y="266"/>
                    <a:pt x="47451" y="-376"/>
                    <a:pt x="50664" y="266"/>
                  </a:cubicBezTo>
                  <a:cubicBezTo>
                    <a:pt x="53234" y="266"/>
                    <a:pt x="56446" y="-376"/>
                    <a:pt x="58374" y="909"/>
                  </a:cubicBezTo>
                  <a:cubicBezTo>
                    <a:pt x="59659" y="1551"/>
                    <a:pt x="60301" y="5406"/>
                    <a:pt x="60301" y="6691"/>
                  </a:cubicBezTo>
                  <a:cubicBezTo>
                    <a:pt x="60301" y="7333"/>
                    <a:pt x="60301" y="7976"/>
                    <a:pt x="60301" y="7976"/>
                  </a:cubicBezTo>
                  <a:cubicBezTo>
                    <a:pt x="60301" y="8618"/>
                    <a:pt x="59659" y="8618"/>
                    <a:pt x="59016" y="9261"/>
                  </a:cubicBezTo>
                  <a:cubicBezTo>
                    <a:pt x="53876" y="12473"/>
                    <a:pt x="48094" y="14401"/>
                    <a:pt x="41669" y="14401"/>
                  </a:cubicBezTo>
                  <a:cubicBezTo>
                    <a:pt x="39099" y="14401"/>
                    <a:pt x="35887" y="14401"/>
                    <a:pt x="33317" y="14401"/>
                  </a:cubicBezTo>
                  <a:cubicBezTo>
                    <a:pt x="30104" y="14401"/>
                    <a:pt x="27534" y="15686"/>
                    <a:pt x="24322" y="16328"/>
                  </a:cubicBezTo>
                  <a:cubicBezTo>
                    <a:pt x="17255" y="18256"/>
                    <a:pt x="10187" y="19541"/>
                    <a:pt x="3120" y="20183"/>
                  </a:cubicBezTo>
                  <a:cubicBezTo>
                    <a:pt x="2477" y="19541"/>
                    <a:pt x="1835" y="20183"/>
                    <a:pt x="1835" y="19541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 50">
              <a:extLst>
                <a:ext uri="{FF2B5EF4-FFF2-40B4-BE49-F238E27FC236}">
                  <a16:creationId xmlns:a16="http://schemas.microsoft.com/office/drawing/2014/main" id="{79A969F2-F508-6D47-47AB-5418FFC4D95D}"/>
                </a:ext>
              </a:extLst>
            </p:cNvPr>
            <p:cNvSpPr/>
            <p:nvPr/>
          </p:nvSpPr>
          <p:spPr>
            <a:xfrm>
              <a:off x="2076616" y="2789739"/>
              <a:ext cx="53493" cy="12336"/>
            </a:xfrm>
            <a:custGeom>
              <a:avLst/>
              <a:gdLst>
                <a:gd name="connsiteX0" fmla="*/ 642 w 53493"/>
                <a:gd name="connsiteY0" fmla="*/ 9637 h 12336"/>
                <a:gd name="connsiteX1" fmla="*/ 642 w 53493"/>
                <a:gd name="connsiteY1" fmla="*/ 5140 h 12336"/>
                <a:gd name="connsiteX2" fmla="*/ 8352 w 53493"/>
                <a:gd name="connsiteY2" fmla="*/ 1927 h 12336"/>
                <a:gd name="connsiteX3" fmla="*/ 22487 w 53493"/>
                <a:gd name="connsiteY3" fmla="*/ 1285 h 12336"/>
                <a:gd name="connsiteX4" fmla="*/ 44974 w 53493"/>
                <a:gd name="connsiteY4" fmla="*/ 0 h 12336"/>
                <a:gd name="connsiteX5" fmla="*/ 50756 w 53493"/>
                <a:gd name="connsiteY5" fmla="*/ 642 h 12336"/>
                <a:gd name="connsiteX6" fmla="*/ 53326 w 53493"/>
                <a:gd name="connsiteY6" fmla="*/ 5140 h 12336"/>
                <a:gd name="connsiteX7" fmla="*/ 48829 w 53493"/>
                <a:gd name="connsiteY7" fmla="*/ 8352 h 12336"/>
                <a:gd name="connsiteX8" fmla="*/ 38549 w 53493"/>
                <a:gd name="connsiteY8" fmla="*/ 10280 h 12336"/>
                <a:gd name="connsiteX9" fmla="*/ 26342 w 53493"/>
                <a:gd name="connsiteY9" fmla="*/ 10280 h 12336"/>
                <a:gd name="connsiteX10" fmla="*/ 1927 w 53493"/>
                <a:gd name="connsiteY10" fmla="*/ 12207 h 12336"/>
                <a:gd name="connsiteX11" fmla="*/ 0 w 53493"/>
                <a:gd name="connsiteY11" fmla="*/ 11565 h 12336"/>
                <a:gd name="connsiteX12" fmla="*/ 642 w 53493"/>
                <a:gd name="connsiteY12" fmla="*/ 9637 h 12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493" h="12336">
                  <a:moveTo>
                    <a:pt x="642" y="9637"/>
                  </a:moveTo>
                  <a:cubicBezTo>
                    <a:pt x="642" y="8352"/>
                    <a:pt x="0" y="6425"/>
                    <a:pt x="642" y="5140"/>
                  </a:cubicBezTo>
                  <a:cubicBezTo>
                    <a:pt x="1927" y="2570"/>
                    <a:pt x="5782" y="1927"/>
                    <a:pt x="8352" y="1927"/>
                  </a:cubicBezTo>
                  <a:cubicBezTo>
                    <a:pt x="12850" y="1927"/>
                    <a:pt x="17990" y="1285"/>
                    <a:pt x="22487" y="1285"/>
                  </a:cubicBezTo>
                  <a:cubicBezTo>
                    <a:pt x="30197" y="642"/>
                    <a:pt x="37907" y="642"/>
                    <a:pt x="44974" y="0"/>
                  </a:cubicBezTo>
                  <a:cubicBezTo>
                    <a:pt x="46902" y="0"/>
                    <a:pt x="48829" y="0"/>
                    <a:pt x="50756" y="642"/>
                  </a:cubicBezTo>
                  <a:cubicBezTo>
                    <a:pt x="52684" y="1285"/>
                    <a:pt x="53969" y="3212"/>
                    <a:pt x="53326" y="5140"/>
                  </a:cubicBezTo>
                  <a:cubicBezTo>
                    <a:pt x="52684" y="7067"/>
                    <a:pt x="50756" y="7710"/>
                    <a:pt x="48829" y="8352"/>
                  </a:cubicBezTo>
                  <a:cubicBezTo>
                    <a:pt x="45617" y="9637"/>
                    <a:pt x="42404" y="10280"/>
                    <a:pt x="38549" y="10280"/>
                  </a:cubicBezTo>
                  <a:cubicBezTo>
                    <a:pt x="34694" y="10280"/>
                    <a:pt x="30839" y="10280"/>
                    <a:pt x="26342" y="10280"/>
                  </a:cubicBezTo>
                  <a:cubicBezTo>
                    <a:pt x="17990" y="10922"/>
                    <a:pt x="10280" y="12850"/>
                    <a:pt x="1927" y="12207"/>
                  </a:cubicBezTo>
                  <a:cubicBezTo>
                    <a:pt x="1285" y="12207"/>
                    <a:pt x="642" y="12207"/>
                    <a:pt x="0" y="11565"/>
                  </a:cubicBezTo>
                  <a:cubicBezTo>
                    <a:pt x="1285" y="11565"/>
                    <a:pt x="642" y="10922"/>
                    <a:pt x="642" y="9637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 51">
              <a:extLst>
                <a:ext uri="{FF2B5EF4-FFF2-40B4-BE49-F238E27FC236}">
                  <a16:creationId xmlns:a16="http://schemas.microsoft.com/office/drawing/2014/main" id="{2BCF3257-4664-D877-DB58-C4C0281D8419}"/>
                </a:ext>
              </a:extLst>
            </p:cNvPr>
            <p:cNvSpPr/>
            <p:nvPr/>
          </p:nvSpPr>
          <p:spPr>
            <a:xfrm>
              <a:off x="2076616" y="2789739"/>
              <a:ext cx="53493" cy="12336"/>
            </a:xfrm>
            <a:custGeom>
              <a:avLst/>
              <a:gdLst>
                <a:gd name="connsiteX0" fmla="*/ 642 w 53493"/>
                <a:gd name="connsiteY0" fmla="*/ 9637 h 12336"/>
                <a:gd name="connsiteX1" fmla="*/ 642 w 53493"/>
                <a:gd name="connsiteY1" fmla="*/ 5140 h 12336"/>
                <a:gd name="connsiteX2" fmla="*/ 8352 w 53493"/>
                <a:gd name="connsiteY2" fmla="*/ 1927 h 12336"/>
                <a:gd name="connsiteX3" fmla="*/ 22487 w 53493"/>
                <a:gd name="connsiteY3" fmla="*/ 1285 h 12336"/>
                <a:gd name="connsiteX4" fmla="*/ 44974 w 53493"/>
                <a:gd name="connsiteY4" fmla="*/ 0 h 12336"/>
                <a:gd name="connsiteX5" fmla="*/ 50756 w 53493"/>
                <a:gd name="connsiteY5" fmla="*/ 642 h 12336"/>
                <a:gd name="connsiteX6" fmla="*/ 53326 w 53493"/>
                <a:gd name="connsiteY6" fmla="*/ 5140 h 12336"/>
                <a:gd name="connsiteX7" fmla="*/ 48829 w 53493"/>
                <a:gd name="connsiteY7" fmla="*/ 8352 h 12336"/>
                <a:gd name="connsiteX8" fmla="*/ 38549 w 53493"/>
                <a:gd name="connsiteY8" fmla="*/ 10280 h 12336"/>
                <a:gd name="connsiteX9" fmla="*/ 26342 w 53493"/>
                <a:gd name="connsiteY9" fmla="*/ 10280 h 12336"/>
                <a:gd name="connsiteX10" fmla="*/ 1927 w 53493"/>
                <a:gd name="connsiteY10" fmla="*/ 12207 h 12336"/>
                <a:gd name="connsiteX11" fmla="*/ 0 w 53493"/>
                <a:gd name="connsiteY11" fmla="*/ 11565 h 12336"/>
                <a:gd name="connsiteX12" fmla="*/ 642 w 53493"/>
                <a:gd name="connsiteY12" fmla="*/ 9637 h 12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493" h="12336">
                  <a:moveTo>
                    <a:pt x="642" y="9637"/>
                  </a:moveTo>
                  <a:cubicBezTo>
                    <a:pt x="642" y="8352"/>
                    <a:pt x="0" y="6425"/>
                    <a:pt x="642" y="5140"/>
                  </a:cubicBezTo>
                  <a:cubicBezTo>
                    <a:pt x="1927" y="2570"/>
                    <a:pt x="5782" y="1927"/>
                    <a:pt x="8352" y="1927"/>
                  </a:cubicBezTo>
                  <a:cubicBezTo>
                    <a:pt x="12850" y="1927"/>
                    <a:pt x="17990" y="1285"/>
                    <a:pt x="22487" y="1285"/>
                  </a:cubicBezTo>
                  <a:cubicBezTo>
                    <a:pt x="30197" y="642"/>
                    <a:pt x="37907" y="642"/>
                    <a:pt x="44974" y="0"/>
                  </a:cubicBezTo>
                  <a:cubicBezTo>
                    <a:pt x="46902" y="0"/>
                    <a:pt x="48829" y="0"/>
                    <a:pt x="50756" y="642"/>
                  </a:cubicBezTo>
                  <a:cubicBezTo>
                    <a:pt x="52684" y="1285"/>
                    <a:pt x="53969" y="3212"/>
                    <a:pt x="53326" y="5140"/>
                  </a:cubicBezTo>
                  <a:cubicBezTo>
                    <a:pt x="52684" y="7067"/>
                    <a:pt x="50756" y="7710"/>
                    <a:pt x="48829" y="8352"/>
                  </a:cubicBezTo>
                  <a:cubicBezTo>
                    <a:pt x="45617" y="9637"/>
                    <a:pt x="42404" y="10280"/>
                    <a:pt x="38549" y="10280"/>
                  </a:cubicBezTo>
                  <a:cubicBezTo>
                    <a:pt x="34694" y="10280"/>
                    <a:pt x="30839" y="10280"/>
                    <a:pt x="26342" y="10280"/>
                  </a:cubicBezTo>
                  <a:cubicBezTo>
                    <a:pt x="17990" y="10922"/>
                    <a:pt x="10280" y="12850"/>
                    <a:pt x="1927" y="12207"/>
                  </a:cubicBezTo>
                  <a:cubicBezTo>
                    <a:pt x="1285" y="12207"/>
                    <a:pt x="642" y="12207"/>
                    <a:pt x="0" y="11565"/>
                  </a:cubicBezTo>
                  <a:cubicBezTo>
                    <a:pt x="1285" y="11565"/>
                    <a:pt x="642" y="10922"/>
                    <a:pt x="642" y="9637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 52">
              <a:extLst>
                <a:ext uri="{FF2B5EF4-FFF2-40B4-BE49-F238E27FC236}">
                  <a16:creationId xmlns:a16="http://schemas.microsoft.com/office/drawing/2014/main" id="{64DA697D-10E2-5329-CEF6-84693FA22F88}"/>
                </a:ext>
              </a:extLst>
            </p:cNvPr>
            <p:cNvSpPr/>
            <p:nvPr/>
          </p:nvSpPr>
          <p:spPr>
            <a:xfrm>
              <a:off x="3202736" y="2427274"/>
              <a:ext cx="88538" cy="55998"/>
            </a:xfrm>
            <a:custGeom>
              <a:avLst/>
              <a:gdLst>
                <a:gd name="connsiteX0" fmla="*/ 1446 w 88538"/>
                <a:gd name="connsiteY0" fmla="*/ 40579 h 55998"/>
                <a:gd name="connsiteX1" fmla="*/ 5301 w 88538"/>
                <a:gd name="connsiteY1" fmla="*/ 43149 h 55998"/>
                <a:gd name="connsiteX2" fmla="*/ 18793 w 88538"/>
                <a:gd name="connsiteY2" fmla="*/ 45076 h 55998"/>
                <a:gd name="connsiteX3" fmla="*/ 22648 w 88538"/>
                <a:gd name="connsiteY3" fmla="*/ 45076 h 55998"/>
                <a:gd name="connsiteX4" fmla="*/ 26503 w 88538"/>
                <a:gd name="connsiteY4" fmla="*/ 48289 h 55998"/>
                <a:gd name="connsiteX5" fmla="*/ 41922 w 88538"/>
                <a:gd name="connsiteY5" fmla="*/ 55356 h 55998"/>
                <a:gd name="connsiteX6" fmla="*/ 56057 w 88538"/>
                <a:gd name="connsiteY6" fmla="*/ 54071 h 55998"/>
                <a:gd name="connsiteX7" fmla="*/ 77902 w 88538"/>
                <a:gd name="connsiteY7" fmla="*/ 55356 h 55998"/>
                <a:gd name="connsiteX8" fmla="*/ 83684 w 88538"/>
                <a:gd name="connsiteY8" fmla="*/ 55999 h 55998"/>
                <a:gd name="connsiteX9" fmla="*/ 86254 w 88538"/>
                <a:gd name="connsiteY9" fmla="*/ 54714 h 55998"/>
                <a:gd name="connsiteX10" fmla="*/ 88181 w 88538"/>
                <a:gd name="connsiteY10" fmla="*/ 46361 h 55998"/>
                <a:gd name="connsiteX11" fmla="*/ 83042 w 88538"/>
                <a:gd name="connsiteY11" fmla="*/ 39294 h 55998"/>
                <a:gd name="connsiteX12" fmla="*/ 70834 w 88538"/>
                <a:gd name="connsiteY12" fmla="*/ 25159 h 55998"/>
                <a:gd name="connsiteX13" fmla="*/ 62482 w 88538"/>
                <a:gd name="connsiteY13" fmla="*/ 12952 h 55998"/>
                <a:gd name="connsiteX14" fmla="*/ 50917 w 88538"/>
                <a:gd name="connsiteY14" fmla="*/ 3315 h 55998"/>
                <a:gd name="connsiteX15" fmla="*/ 34212 w 88538"/>
                <a:gd name="connsiteY15" fmla="*/ 2030 h 55998"/>
                <a:gd name="connsiteX16" fmla="*/ 24575 w 88538"/>
                <a:gd name="connsiteY16" fmla="*/ 2672 h 55998"/>
                <a:gd name="connsiteX17" fmla="*/ 13653 w 88538"/>
                <a:gd name="connsiteY17" fmla="*/ 102 h 55998"/>
                <a:gd name="connsiteX18" fmla="*/ 7228 w 88538"/>
                <a:gd name="connsiteY18" fmla="*/ 6527 h 55998"/>
                <a:gd name="connsiteX19" fmla="*/ 4658 w 88538"/>
                <a:gd name="connsiteY19" fmla="*/ 16807 h 55998"/>
                <a:gd name="connsiteX20" fmla="*/ 4658 w 88538"/>
                <a:gd name="connsiteY20" fmla="*/ 23232 h 55998"/>
                <a:gd name="connsiteX21" fmla="*/ 1446 w 88538"/>
                <a:gd name="connsiteY21" fmla="*/ 31584 h 55998"/>
                <a:gd name="connsiteX22" fmla="*/ 1446 w 88538"/>
                <a:gd name="connsiteY22" fmla="*/ 40579 h 5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8538" h="55998">
                  <a:moveTo>
                    <a:pt x="1446" y="40579"/>
                  </a:moveTo>
                  <a:cubicBezTo>
                    <a:pt x="2731" y="41864"/>
                    <a:pt x="4016" y="42506"/>
                    <a:pt x="5301" y="43149"/>
                  </a:cubicBezTo>
                  <a:cubicBezTo>
                    <a:pt x="9155" y="45076"/>
                    <a:pt x="14295" y="45719"/>
                    <a:pt x="18793" y="45076"/>
                  </a:cubicBezTo>
                  <a:cubicBezTo>
                    <a:pt x="20078" y="45076"/>
                    <a:pt x="21363" y="45076"/>
                    <a:pt x="22648" y="45076"/>
                  </a:cubicBezTo>
                  <a:cubicBezTo>
                    <a:pt x="23933" y="45719"/>
                    <a:pt x="25218" y="47004"/>
                    <a:pt x="26503" y="48289"/>
                  </a:cubicBezTo>
                  <a:cubicBezTo>
                    <a:pt x="30357" y="52786"/>
                    <a:pt x="36140" y="55356"/>
                    <a:pt x="41922" y="55356"/>
                  </a:cubicBezTo>
                  <a:cubicBezTo>
                    <a:pt x="46420" y="55356"/>
                    <a:pt x="51560" y="54714"/>
                    <a:pt x="56057" y="54071"/>
                  </a:cubicBezTo>
                  <a:cubicBezTo>
                    <a:pt x="63124" y="53429"/>
                    <a:pt x="70834" y="53429"/>
                    <a:pt x="77902" y="55356"/>
                  </a:cubicBezTo>
                  <a:cubicBezTo>
                    <a:pt x="79829" y="55999"/>
                    <a:pt x="81756" y="55999"/>
                    <a:pt x="83684" y="55999"/>
                  </a:cubicBezTo>
                  <a:cubicBezTo>
                    <a:pt x="84969" y="55999"/>
                    <a:pt x="85611" y="55356"/>
                    <a:pt x="86254" y="54714"/>
                  </a:cubicBezTo>
                  <a:cubicBezTo>
                    <a:pt x="88824" y="52786"/>
                    <a:pt x="88824" y="49574"/>
                    <a:pt x="88181" y="46361"/>
                  </a:cubicBezTo>
                  <a:cubicBezTo>
                    <a:pt x="86896" y="43791"/>
                    <a:pt x="84969" y="41221"/>
                    <a:pt x="83042" y="39294"/>
                  </a:cubicBezTo>
                  <a:cubicBezTo>
                    <a:pt x="78544" y="34797"/>
                    <a:pt x="74689" y="29657"/>
                    <a:pt x="70834" y="25159"/>
                  </a:cubicBezTo>
                  <a:cubicBezTo>
                    <a:pt x="68264" y="21304"/>
                    <a:pt x="65694" y="16807"/>
                    <a:pt x="62482" y="12952"/>
                  </a:cubicBezTo>
                  <a:cubicBezTo>
                    <a:pt x="59269" y="9097"/>
                    <a:pt x="56057" y="5242"/>
                    <a:pt x="50917" y="3315"/>
                  </a:cubicBezTo>
                  <a:cubicBezTo>
                    <a:pt x="45777" y="745"/>
                    <a:pt x="39352" y="745"/>
                    <a:pt x="34212" y="2030"/>
                  </a:cubicBezTo>
                  <a:cubicBezTo>
                    <a:pt x="31000" y="2672"/>
                    <a:pt x="27788" y="3315"/>
                    <a:pt x="24575" y="2672"/>
                  </a:cubicBezTo>
                  <a:cubicBezTo>
                    <a:pt x="20720" y="2030"/>
                    <a:pt x="17508" y="-540"/>
                    <a:pt x="13653" y="102"/>
                  </a:cubicBezTo>
                  <a:cubicBezTo>
                    <a:pt x="10441" y="745"/>
                    <a:pt x="8513" y="3957"/>
                    <a:pt x="7228" y="6527"/>
                  </a:cubicBezTo>
                  <a:cubicBezTo>
                    <a:pt x="5943" y="9740"/>
                    <a:pt x="4658" y="13594"/>
                    <a:pt x="4658" y="16807"/>
                  </a:cubicBezTo>
                  <a:cubicBezTo>
                    <a:pt x="4658" y="18734"/>
                    <a:pt x="4658" y="21304"/>
                    <a:pt x="4658" y="23232"/>
                  </a:cubicBezTo>
                  <a:cubicBezTo>
                    <a:pt x="4016" y="26444"/>
                    <a:pt x="2088" y="29014"/>
                    <a:pt x="1446" y="31584"/>
                  </a:cubicBezTo>
                  <a:cubicBezTo>
                    <a:pt x="-482" y="34797"/>
                    <a:pt x="-482" y="38009"/>
                    <a:pt x="1446" y="40579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 53">
              <a:extLst>
                <a:ext uri="{FF2B5EF4-FFF2-40B4-BE49-F238E27FC236}">
                  <a16:creationId xmlns:a16="http://schemas.microsoft.com/office/drawing/2014/main" id="{1374EF2F-7CFA-3ED5-3B16-C923BDC92CE9}"/>
                </a:ext>
              </a:extLst>
            </p:cNvPr>
            <p:cNvSpPr/>
            <p:nvPr/>
          </p:nvSpPr>
          <p:spPr>
            <a:xfrm>
              <a:off x="3202736" y="2427274"/>
              <a:ext cx="88538" cy="55998"/>
            </a:xfrm>
            <a:custGeom>
              <a:avLst/>
              <a:gdLst>
                <a:gd name="connsiteX0" fmla="*/ 1446 w 88538"/>
                <a:gd name="connsiteY0" fmla="*/ 40579 h 55998"/>
                <a:gd name="connsiteX1" fmla="*/ 5301 w 88538"/>
                <a:gd name="connsiteY1" fmla="*/ 43149 h 55998"/>
                <a:gd name="connsiteX2" fmla="*/ 18793 w 88538"/>
                <a:gd name="connsiteY2" fmla="*/ 45076 h 55998"/>
                <a:gd name="connsiteX3" fmla="*/ 22648 w 88538"/>
                <a:gd name="connsiteY3" fmla="*/ 45076 h 55998"/>
                <a:gd name="connsiteX4" fmla="*/ 26503 w 88538"/>
                <a:gd name="connsiteY4" fmla="*/ 48289 h 55998"/>
                <a:gd name="connsiteX5" fmla="*/ 41922 w 88538"/>
                <a:gd name="connsiteY5" fmla="*/ 55356 h 55998"/>
                <a:gd name="connsiteX6" fmla="*/ 56057 w 88538"/>
                <a:gd name="connsiteY6" fmla="*/ 54071 h 55998"/>
                <a:gd name="connsiteX7" fmla="*/ 77902 w 88538"/>
                <a:gd name="connsiteY7" fmla="*/ 55356 h 55998"/>
                <a:gd name="connsiteX8" fmla="*/ 83684 w 88538"/>
                <a:gd name="connsiteY8" fmla="*/ 55999 h 55998"/>
                <a:gd name="connsiteX9" fmla="*/ 86254 w 88538"/>
                <a:gd name="connsiteY9" fmla="*/ 54714 h 55998"/>
                <a:gd name="connsiteX10" fmla="*/ 88181 w 88538"/>
                <a:gd name="connsiteY10" fmla="*/ 46361 h 55998"/>
                <a:gd name="connsiteX11" fmla="*/ 83042 w 88538"/>
                <a:gd name="connsiteY11" fmla="*/ 39294 h 55998"/>
                <a:gd name="connsiteX12" fmla="*/ 70834 w 88538"/>
                <a:gd name="connsiteY12" fmla="*/ 25159 h 55998"/>
                <a:gd name="connsiteX13" fmla="*/ 62482 w 88538"/>
                <a:gd name="connsiteY13" fmla="*/ 12952 h 55998"/>
                <a:gd name="connsiteX14" fmla="*/ 50917 w 88538"/>
                <a:gd name="connsiteY14" fmla="*/ 3315 h 55998"/>
                <a:gd name="connsiteX15" fmla="*/ 34212 w 88538"/>
                <a:gd name="connsiteY15" fmla="*/ 2030 h 55998"/>
                <a:gd name="connsiteX16" fmla="*/ 24575 w 88538"/>
                <a:gd name="connsiteY16" fmla="*/ 2672 h 55998"/>
                <a:gd name="connsiteX17" fmla="*/ 13653 w 88538"/>
                <a:gd name="connsiteY17" fmla="*/ 102 h 55998"/>
                <a:gd name="connsiteX18" fmla="*/ 7228 w 88538"/>
                <a:gd name="connsiteY18" fmla="*/ 6527 h 55998"/>
                <a:gd name="connsiteX19" fmla="*/ 4658 w 88538"/>
                <a:gd name="connsiteY19" fmla="*/ 16807 h 55998"/>
                <a:gd name="connsiteX20" fmla="*/ 4658 w 88538"/>
                <a:gd name="connsiteY20" fmla="*/ 23232 h 55998"/>
                <a:gd name="connsiteX21" fmla="*/ 1446 w 88538"/>
                <a:gd name="connsiteY21" fmla="*/ 31584 h 55998"/>
                <a:gd name="connsiteX22" fmla="*/ 1446 w 88538"/>
                <a:gd name="connsiteY22" fmla="*/ 40579 h 5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8538" h="55998">
                  <a:moveTo>
                    <a:pt x="1446" y="40579"/>
                  </a:moveTo>
                  <a:cubicBezTo>
                    <a:pt x="2731" y="41864"/>
                    <a:pt x="4016" y="42506"/>
                    <a:pt x="5301" y="43149"/>
                  </a:cubicBezTo>
                  <a:cubicBezTo>
                    <a:pt x="9155" y="45076"/>
                    <a:pt x="14295" y="45719"/>
                    <a:pt x="18793" y="45076"/>
                  </a:cubicBezTo>
                  <a:cubicBezTo>
                    <a:pt x="20078" y="45076"/>
                    <a:pt x="21363" y="45076"/>
                    <a:pt x="22648" y="45076"/>
                  </a:cubicBezTo>
                  <a:cubicBezTo>
                    <a:pt x="23933" y="45719"/>
                    <a:pt x="25218" y="47004"/>
                    <a:pt x="26503" y="48289"/>
                  </a:cubicBezTo>
                  <a:cubicBezTo>
                    <a:pt x="30357" y="52786"/>
                    <a:pt x="36140" y="55356"/>
                    <a:pt x="41922" y="55356"/>
                  </a:cubicBezTo>
                  <a:cubicBezTo>
                    <a:pt x="46420" y="55356"/>
                    <a:pt x="51560" y="54714"/>
                    <a:pt x="56057" y="54071"/>
                  </a:cubicBezTo>
                  <a:cubicBezTo>
                    <a:pt x="63124" y="53429"/>
                    <a:pt x="70834" y="53429"/>
                    <a:pt x="77902" y="55356"/>
                  </a:cubicBezTo>
                  <a:cubicBezTo>
                    <a:pt x="79829" y="55999"/>
                    <a:pt x="81756" y="55999"/>
                    <a:pt x="83684" y="55999"/>
                  </a:cubicBezTo>
                  <a:cubicBezTo>
                    <a:pt x="84969" y="55999"/>
                    <a:pt x="85611" y="55356"/>
                    <a:pt x="86254" y="54714"/>
                  </a:cubicBezTo>
                  <a:cubicBezTo>
                    <a:pt x="88824" y="52786"/>
                    <a:pt x="88824" y="49574"/>
                    <a:pt x="88181" y="46361"/>
                  </a:cubicBezTo>
                  <a:cubicBezTo>
                    <a:pt x="86896" y="43791"/>
                    <a:pt x="84969" y="41221"/>
                    <a:pt x="83042" y="39294"/>
                  </a:cubicBezTo>
                  <a:cubicBezTo>
                    <a:pt x="78544" y="34797"/>
                    <a:pt x="74689" y="29657"/>
                    <a:pt x="70834" y="25159"/>
                  </a:cubicBezTo>
                  <a:cubicBezTo>
                    <a:pt x="68264" y="21304"/>
                    <a:pt x="65694" y="16807"/>
                    <a:pt x="62482" y="12952"/>
                  </a:cubicBezTo>
                  <a:cubicBezTo>
                    <a:pt x="59269" y="9097"/>
                    <a:pt x="56057" y="5242"/>
                    <a:pt x="50917" y="3315"/>
                  </a:cubicBezTo>
                  <a:cubicBezTo>
                    <a:pt x="45777" y="745"/>
                    <a:pt x="39352" y="745"/>
                    <a:pt x="34212" y="2030"/>
                  </a:cubicBezTo>
                  <a:cubicBezTo>
                    <a:pt x="31000" y="2672"/>
                    <a:pt x="27788" y="3315"/>
                    <a:pt x="24575" y="2672"/>
                  </a:cubicBezTo>
                  <a:cubicBezTo>
                    <a:pt x="20720" y="2030"/>
                    <a:pt x="17508" y="-540"/>
                    <a:pt x="13653" y="102"/>
                  </a:cubicBezTo>
                  <a:cubicBezTo>
                    <a:pt x="10441" y="745"/>
                    <a:pt x="8513" y="3957"/>
                    <a:pt x="7228" y="6527"/>
                  </a:cubicBezTo>
                  <a:cubicBezTo>
                    <a:pt x="5943" y="9740"/>
                    <a:pt x="4658" y="13594"/>
                    <a:pt x="4658" y="16807"/>
                  </a:cubicBezTo>
                  <a:cubicBezTo>
                    <a:pt x="4658" y="18734"/>
                    <a:pt x="4658" y="21304"/>
                    <a:pt x="4658" y="23232"/>
                  </a:cubicBezTo>
                  <a:cubicBezTo>
                    <a:pt x="4016" y="26444"/>
                    <a:pt x="2088" y="29014"/>
                    <a:pt x="1446" y="31584"/>
                  </a:cubicBezTo>
                  <a:cubicBezTo>
                    <a:pt x="-482" y="34797"/>
                    <a:pt x="-482" y="38009"/>
                    <a:pt x="1446" y="40579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 54">
              <a:extLst>
                <a:ext uri="{FF2B5EF4-FFF2-40B4-BE49-F238E27FC236}">
                  <a16:creationId xmlns:a16="http://schemas.microsoft.com/office/drawing/2014/main" id="{910624D2-14E7-F322-937E-FB6C8F31010A}"/>
                </a:ext>
              </a:extLst>
            </p:cNvPr>
            <p:cNvSpPr/>
            <p:nvPr/>
          </p:nvSpPr>
          <p:spPr>
            <a:xfrm>
              <a:off x="2467791" y="2204823"/>
              <a:ext cx="774549" cy="729261"/>
            </a:xfrm>
            <a:custGeom>
              <a:avLst/>
              <a:gdLst>
                <a:gd name="connsiteX0" fmla="*/ 755664 w 774549"/>
                <a:gd name="connsiteY0" fmla="*/ 306077 h 729261"/>
                <a:gd name="connsiteX1" fmla="*/ 758877 w 774549"/>
                <a:gd name="connsiteY1" fmla="*/ 313787 h 729261"/>
                <a:gd name="connsiteX2" fmla="*/ 763374 w 774549"/>
                <a:gd name="connsiteY2" fmla="*/ 345911 h 729261"/>
                <a:gd name="connsiteX3" fmla="*/ 765944 w 774549"/>
                <a:gd name="connsiteY3" fmla="*/ 360046 h 729261"/>
                <a:gd name="connsiteX4" fmla="*/ 758877 w 774549"/>
                <a:gd name="connsiteY4" fmla="*/ 377393 h 729261"/>
                <a:gd name="connsiteX5" fmla="*/ 748597 w 774549"/>
                <a:gd name="connsiteY5" fmla="*/ 381891 h 729261"/>
                <a:gd name="connsiteX6" fmla="*/ 731892 w 774549"/>
                <a:gd name="connsiteY6" fmla="*/ 392813 h 729261"/>
                <a:gd name="connsiteX7" fmla="*/ 711975 w 774549"/>
                <a:gd name="connsiteY7" fmla="*/ 412087 h 729261"/>
                <a:gd name="connsiteX8" fmla="*/ 692701 w 774549"/>
                <a:gd name="connsiteY8" fmla="*/ 417870 h 729261"/>
                <a:gd name="connsiteX9" fmla="*/ 675996 w 774549"/>
                <a:gd name="connsiteY9" fmla="*/ 422367 h 729261"/>
                <a:gd name="connsiteX10" fmla="*/ 674069 w 774549"/>
                <a:gd name="connsiteY10" fmla="*/ 444854 h 729261"/>
                <a:gd name="connsiteX11" fmla="*/ 696556 w 774549"/>
                <a:gd name="connsiteY11" fmla="*/ 457704 h 729261"/>
                <a:gd name="connsiteX12" fmla="*/ 711333 w 774549"/>
                <a:gd name="connsiteY12" fmla="*/ 460916 h 729261"/>
                <a:gd name="connsiteX13" fmla="*/ 710048 w 774549"/>
                <a:gd name="connsiteY13" fmla="*/ 471196 h 729261"/>
                <a:gd name="connsiteX14" fmla="*/ 710048 w 774549"/>
                <a:gd name="connsiteY14" fmla="*/ 471196 h 729261"/>
                <a:gd name="connsiteX15" fmla="*/ 711975 w 774549"/>
                <a:gd name="connsiteY15" fmla="*/ 483404 h 729261"/>
                <a:gd name="connsiteX16" fmla="*/ 683063 w 774549"/>
                <a:gd name="connsiteY16" fmla="*/ 500108 h 729261"/>
                <a:gd name="connsiteX17" fmla="*/ 672141 w 774549"/>
                <a:gd name="connsiteY17" fmla="*/ 523880 h 729261"/>
                <a:gd name="connsiteX18" fmla="*/ 681136 w 774549"/>
                <a:gd name="connsiteY18" fmla="*/ 553435 h 729261"/>
                <a:gd name="connsiteX19" fmla="*/ 701053 w 774549"/>
                <a:gd name="connsiteY19" fmla="*/ 588129 h 729261"/>
                <a:gd name="connsiteX20" fmla="*/ 724183 w 774549"/>
                <a:gd name="connsiteY20" fmla="*/ 588129 h 729261"/>
                <a:gd name="connsiteX21" fmla="*/ 737032 w 774549"/>
                <a:gd name="connsiteY21" fmla="*/ 615113 h 729261"/>
                <a:gd name="connsiteX22" fmla="*/ 731892 w 774549"/>
                <a:gd name="connsiteY22" fmla="*/ 621538 h 729261"/>
                <a:gd name="connsiteX23" fmla="*/ 719043 w 774549"/>
                <a:gd name="connsiteY23" fmla="*/ 638885 h 729261"/>
                <a:gd name="connsiteX24" fmla="*/ 705550 w 774549"/>
                <a:gd name="connsiteY24" fmla="*/ 642740 h 729261"/>
                <a:gd name="connsiteX25" fmla="*/ 695271 w 774549"/>
                <a:gd name="connsiteY25" fmla="*/ 665870 h 729261"/>
                <a:gd name="connsiteX26" fmla="*/ 672141 w 774549"/>
                <a:gd name="connsiteY26" fmla="*/ 683217 h 729261"/>
                <a:gd name="connsiteX27" fmla="*/ 646442 w 774549"/>
                <a:gd name="connsiteY27" fmla="*/ 693497 h 729261"/>
                <a:gd name="connsiteX28" fmla="*/ 649654 w 774549"/>
                <a:gd name="connsiteY28" fmla="*/ 724979 h 729261"/>
                <a:gd name="connsiteX29" fmla="*/ 645157 w 774549"/>
                <a:gd name="connsiteY29" fmla="*/ 727549 h 729261"/>
                <a:gd name="connsiteX30" fmla="*/ 625240 w 774549"/>
                <a:gd name="connsiteY30" fmla="*/ 727549 h 729261"/>
                <a:gd name="connsiteX31" fmla="*/ 587333 w 774549"/>
                <a:gd name="connsiteY31" fmla="*/ 719196 h 729261"/>
                <a:gd name="connsiteX32" fmla="*/ 559063 w 774549"/>
                <a:gd name="connsiteY32" fmla="*/ 706989 h 729261"/>
                <a:gd name="connsiteX33" fmla="*/ 554566 w 774549"/>
                <a:gd name="connsiteY33" fmla="*/ 701849 h 729261"/>
                <a:gd name="connsiteX34" fmla="*/ 540431 w 774549"/>
                <a:gd name="connsiteY34" fmla="*/ 678077 h 729261"/>
                <a:gd name="connsiteX35" fmla="*/ 524369 w 774549"/>
                <a:gd name="connsiteY35" fmla="*/ 641455 h 729261"/>
                <a:gd name="connsiteX36" fmla="*/ 532079 w 774549"/>
                <a:gd name="connsiteY36" fmla="*/ 615113 h 729261"/>
                <a:gd name="connsiteX37" fmla="*/ 498027 w 774549"/>
                <a:gd name="connsiteY37" fmla="*/ 584917 h 729261"/>
                <a:gd name="connsiteX38" fmla="*/ 458835 w 774549"/>
                <a:gd name="connsiteY38" fmla="*/ 612544 h 729261"/>
                <a:gd name="connsiteX39" fmla="*/ 426068 w 774549"/>
                <a:gd name="connsiteY39" fmla="*/ 627321 h 729261"/>
                <a:gd name="connsiteX40" fmla="*/ 407436 w 774549"/>
                <a:gd name="connsiteY40" fmla="*/ 619611 h 729261"/>
                <a:gd name="connsiteX41" fmla="*/ 399084 w 774549"/>
                <a:gd name="connsiteY41" fmla="*/ 636316 h 729261"/>
                <a:gd name="connsiteX42" fmla="*/ 395872 w 774549"/>
                <a:gd name="connsiteY42" fmla="*/ 650450 h 729261"/>
                <a:gd name="connsiteX43" fmla="*/ 394587 w 774549"/>
                <a:gd name="connsiteY43" fmla="*/ 650450 h 729261"/>
                <a:gd name="connsiteX44" fmla="*/ 376597 w 774549"/>
                <a:gd name="connsiteY44" fmla="*/ 646595 h 729261"/>
                <a:gd name="connsiteX45" fmla="*/ 350897 w 774549"/>
                <a:gd name="connsiteY45" fmla="*/ 624108 h 729261"/>
                <a:gd name="connsiteX46" fmla="*/ 339975 w 774549"/>
                <a:gd name="connsiteY46" fmla="*/ 602906 h 729261"/>
                <a:gd name="connsiteX47" fmla="*/ 336120 w 774549"/>
                <a:gd name="connsiteY47" fmla="*/ 590056 h 729261"/>
                <a:gd name="connsiteX48" fmla="*/ 321986 w 774549"/>
                <a:gd name="connsiteY48" fmla="*/ 575922 h 729261"/>
                <a:gd name="connsiteX49" fmla="*/ 306566 w 774549"/>
                <a:gd name="connsiteY49" fmla="*/ 555362 h 729261"/>
                <a:gd name="connsiteX50" fmla="*/ 285364 w 774549"/>
                <a:gd name="connsiteY50" fmla="*/ 523238 h 729261"/>
                <a:gd name="connsiteX51" fmla="*/ 250027 w 774549"/>
                <a:gd name="connsiteY51" fmla="*/ 509103 h 729261"/>
                <a:gd name="connsiteX52" fmla="*/ 206980 w 774549"/>
                <a:gd name="connsiteY52" fmla="*/ 506533 h 729261"/>
                <a:gd name="connsiteX53" fmla="*/ 174213 w 774549"/>
                <a:gd name="connsiteY53" fmla="*/ 501393 h 729261"/>
                <a:gd name="connsiteX54" fmla="*/ 155581 w 774549"/>
                <a:gd name="connsiteY54" fmla="*/ 469911 h 729261"/>
                <a:gd name="connsiteX55" fmla="*/ 153011 w 774549"/>
                <a:gd name="connsiteY55" fmla="*/ 439714 h 729261"/>
                <a:gd name="connsiteX56" fmla="*/ 176141 w 774549"/>
                <a:gd name="connsiteY56" fmla="*/ 446782 h 729261"/>
                <a:gd name="connsiteX57" fmla="*/ 194773 w 774549"/>
                <a:gd name="connsiteY57" fmla="*/ 448067 h 729261"/>
                <a:gd name="connsiteX58" fmla="*/ 190918 w 774549"/>
                <a:gd name="connsiteY58" fmla="*/ 421725 h 729261"/>
                <a:gd name="connsiteX59" fmla="*/ 187706 w 774549"/>
                <a:gd name="connsiteY59" fmla="*/ 400523 h 729261"/>
                <a:gd name="connsiteX60" fmla="*/ 171001 w 774549"/>
                <a:gd name="connsiteY60" fmla="*/ 403735 h 729261"/>
                <a:gd name="connsiteX61" fmla="*/ 160079 w 774549"/>
                <a:gd name="connsiteY61" fmla="*/ 410160 h 729261"/>
                <a:gd name="connsiteX62" fmla="*/ 147229 w 774549"/>
                <a:gd name="connsiteY62" fmla="*/ 404378 h 729261"/>
                <a:gd name="connsiteX63" fmla="*/ 145944 w 774549"/>
                <a:gd name="connsiteY63" fmla="*/ 402450 h 729261"/>
                <a:gd name="connsiteX64" fmla="*/ 145302 w 774549"/>
                <a:gd name="connsiteY64" fmla="*/ 399880 h 729261"/>
                <a:gd name="connsiteX65" fmla="*/ 142732 w 774549"/>
                <a:gd name="connsiteY65" fmla="*/ 360046 h 729261"/>
                <a:gd name="connsiteX66" fmla="*/ 152369 w 774549"/>
                <a:gd name="connsiteY66" fmla="*/ 346554 h 729261"/>
                <a:gd name="connsiteX67" fmla="*/ 153654 w 774549"/>
                <a:gd name="connsiteY67" fmla="*/ 329207 h 729261"/>
                <a:gd name="connsiteX68" fmla="*/ 138234 w 774549"/>
                <a:gd name="connsiteY68" fmla="*/ 336916 h 729261"/>
                <a:gd name="connsiteX69" fmla="*/ 123457 w 774549"/>
                <a:gd name="connsiteY69" fmla="*/ 345269 h 729261"/>
                <a:gd name="connsiteX70" fmla="*/ 99042 w 774549"/>
                <a:gd name="connsiteY70" fmla="*/ 347196 h 729261"/>
                <a:gd name="connsiteX71" fmla="*/ 82338 w 774549"/>
                <a:gd name="connsiteY71" fmla="*/ 331777 h 729261"/>
                <a:gd name="connsiteX72" fmla="*/ 82338 w 774549"/>
                <a:gd name="connsiteY72" fmla="*/ 315072 h 729261"/>
                <a:gd name="connsiteX73" fmla="*/ 93903 w 774549"/>
                <a:gd name="connsiteY73" fmla="*/ 288087 h 729261"/>
                <a:gd name="connsiteX74" fmla="*/ 118960 w 774549"/>
                <a:gd name="connsiteY74" fmla="*/ 282305 h 729261"/>
                <a:gd name="connsiteX75" fmla="*/ 149156 w 774549"/>
                <a:gd name="connsiteY75" fmla="*/ 281020 h 729261"/>
                <a:gd name="connsiteX76" fmla="*/ 171643 w 774549"/>
                <a:gd name="connsiteY76" fmla="*/ 276523 h 729261"/>
                <a:gd name="connsiteX77" fmla="*/ 193488 w 774549"/>
                <a:gd name="connsiteY77" fmla="*/ 259175 h 729261"/>
                <a:gd name="connsiteX78" fmla="*/ 199270 w 774549"/>
                <a:gd name="connsiteY78" fmla="*/ 248896 h 729261"/>
                <a:gd name="connsiteX79" fmla="*/ 177426 w 774549"/>
                <a:gd name="connsiteY79" fmla="*/ 218056 h 729261"/>
                <a:gd name="connsiteX80" fmla="*/ 158151 w 774549"/>
                <a:gd name="connsiteY80" fmla="*/ 198139 h 729261"/>
                <a:gd name="connsiteX81" fmla="*/ 148514 w 774549"/>
                <a:gd name="connsiteY81" fmla="*/ 180792 h 729261"/>
                <a:gd name="connsiteX82" fmla="*/ 133737 w 774549"/>
                <a:gd name="connsiteY82" fmla="*/ 161517 h 729261"/>
                <a:gd name="connsiteX83" fmla="*/ 110607 w 774549"/>
                <a:gd name="connsiteY83" fmla="*/ 142885 h 729261"/>
                <a:gd name="connsiteX84" fmla="*/ 96472 w 774549"/>
                <a:gd name="connsiteY84" fmla="*/ 112688 h 729261"/>
                <a:gd name="connsiteX85" fmla="*/ 74628 w 774549"/>
                <a:gd name="connsiteY85" fmla="*/ 84419 h 729261"/>
                <a:gd name="connsiteX86" fmla="*/ 53426 w 774549"/>
                <a:gd name="connsiteY86" fmla="*/ 81206 h 729261"/>
                <a:gd name="connsiteX87" fmla="*/ 20017 w 774549"/>
                <a:gd name="connsiteY87" fmla="*/ 85061 h 729261"/>
                <a:gd name="connsiteX88" fmla="*/ 10379 w 774549"/>
                <a:gd name="connsiteY88" fmla="*/ 99196 h 729261"/>
                <a:gd name="connsiteX89" fmla="*/ 5882 w 774549"/>
                <a:gd name="connsiteY89" fmla="*/ 104978 h 729261"/>
                <a:gd name="connsiteX90" fmla="*/ 742 w 774549"/>
                <a:gd name="connsiteY90" fmla="*/ 96626 h 729261"/>
                <a:gd name="connsiteX91" fmla="*/ 742 w 774549"/>
                <a:gd name="connsiteY91" fmla="*/ 79922 h 729261"/>
                <a:gd name="connsiteX92" fmla="*/ 13592 w 774549"/>
                <a:gd name="connsiteY92" fmla="*/ 46512 h 729261"/>
                <a:gd name="connsiteX93" fmla="*/ 14877 w 774549"/>
                <a:gd name="connsiteY93" fmla="*/ 30450 h 729261"/>
                <a:gd name="connsiteX94" fmla="*/ 17446 w 774549"/>
                <a:gd name="connsiteY94" fmla="*/ 18243 h 729261"/>
                <a:gd name="connsiteX95" fmla="*/ 34151 w 774549"/>
                <a:gd name="connsiteY95" fmla="*/ 3465 h 729261"/>
                <a:gd name="connsiteX96" fmla="*/ 39291 w 774549"/>
                <a:gd name="connsiteY96" fmla="*/ 896 h 729261"/>
                <a:gd name="connsiteX97" fmla="*/ 51498 w 774549"/>
                <a:gd name="connsiteY97" fmla="*/ 1538 h 729261"/>
                <a:gd name="connsiteX98" fmla="*/ 51498 w 774549"/>
                <a:gd name="connsiteY98" fmla="*/ 11175 h 729261"/>
                <a:gd name="connsiteX99" fmla="*/ 37364 w 774549"/>
                <a:gd name="connsiteY99" fmla="*/ 24025 h 729261"/>
                <a:gd name="connsiteX100" fmla="*/ 26441 w 774549"/>
                <a:gd name="connsiteY100" fmla="*/ 27238 h 729261"/>
                <a:gd name="connsiteX101" fmla="*/ 24514 w 774549"/>
                <a:gd name="connsiteY101" fmla="*/ 37517 h 729261"/>
                <a:gd name="connsiteX102" fmla="*/ 32866 w 774549"/>
                <a:gd name="connsiteY102" fmla="*/ 52295 h 729261"/>
                <a:gd name="connsiteX103" fmla="*/ 47001 w 774549"/>
                <a:gd name="connsiteY103" fmla="*/ 63859 h 729261"/>
                <a:gd name="connsiteX104" fmla="*/ 71415 w 774549"/>
                <a:gd name="connsiteY104" fmla="*/ 67714 h 729261"/>
                <a:gd name="connsiteX105" fmla="*/ 91333 w 774549"/>
                <a:gd name="connsiteY105" fmla="*/ 59362 h 729261"/>
                <a:gd name="connsiteX106" fmla="*/ 105467 w 774549"/>
                <a:gd name="connsiteY106" fmla="*/ 56792 h 729261"/>
                <a:gd name="connsiteX107" fmla="*/ 113177 w 774549"/>
                <a:gd name="connsiteY107" fmla="*/ 70284 h 729261"/>
                <a:gd name="connsiteX108" fmla="*/ 126027 w 774549"/>
                <a:gd name="connsiteY108" fmla="*/ 70284 h 729261"/>
                <a:gd name="connsiteX109" fmla="*/ 132452 w 774549"/>
                <a:gd name="connsiteY109" fmla="*/ 65144 h 729261"/>
                <a:gd name="connsiteX110" fmla="*/ 147229 w 774549"/>
                <a:gd name="connsiteY110" fmla="*/ 61289 h 729261"/>
                <a:gd name="connsiteX111" fmla="*/ 162006 w 774549"/>
                <a:gd name="connsiteY111" fmla="*/ 65787 h 729261"/>
                <a:gd name="connsiteX112" fmla="*/ 183208 w 774549"/>
                <a:gd name="connsiteY112" fmla="*/ 67714 h 729261"/>
                <a:gd name="connsiteX113" fmla="*/ 206338 w 774549"/>
                <a:gd name="connsiteY113" fmla="*/ 70927 h 729261"/>
                <a:gd name="connsiteX114" fmla="*/ 222400 w 774549"/>
                <a:gd name="connsiteY114" fmla="*/ 82491 h 729261"/>
                <a:gd name="connsiteX115" fmla="*/ 248742 w 774549"/>
                <a:gd name="connsiteY115" fmla="*/ 86989 h 729261"/>
                <a:gd name="connsiteX116" fmla="*/ 264162 w 774549"/>
                <a:gd name="connsiteY116" fmla="*/ 104336 h 729261"/>
                <a:gd name="connsiteX117" fmla="*/ 291146 w 774549"/>
                <a:gd name="connsiteY117" fmla="*/ 108191 h 729261"/>
                <a:gd name="connsiteX118" fmla="*/ 300783 w 774549"/>
                <a:gd name="connsiteY118" fmla="*/ 98554 h 729261"/>
                <a:gd name="connsiteX119" fmla="*/ 327125 w 774549"/>
                <a:gd name="connsiteY119" fmla="*/ 91486 h 729261"/>
                <a:gd name="connsiteX120" fmla="*/ 312348 w 774549"/>
                <a:gd name="connsiteY120" fmla="*/ 104336 h 729261"/>
                <a:gd name="connsiteX121" fmla="*/ 318773 w 774549"/>
                <a:gd name="connsiteY121" fmla="*/ 109476 h 729261"/>
                <a:gd name="connsiteX122" fmla="*/ 329695 w 774549"/>
                <a:gd name="connsiteY122" fmla="*/ 103051 h 729261"/>
                <a:gd name="connsiteX123" fmla="*/ 348970 w 774549"/>
                <a:gd name="connsiteY123" fmla="*/ 102409 h 729261"/>
                <a:gd name="connsiteX124" fmla="*/ 368245 w 774549"/>
                <a:gd name="connsiteY124" fmla="*/ 104336 h 729261"/>
                <a:gd name="connsiteX125" fmla="*/ 378524 w 774549"/>
                <a:gd name="connsiteY125" fmla="*/ 101766 h 729261"/>
                <a:gd name="connsiteX126" fmla="*/ 399084 w 774549"/>
                <a:gd name="connsiteY126" fmla="*/ 110761 h 729261"/>
                <a:gd name="connsiteX127" fmla="*/ 415146 w 774549"/>
                <a:gd name="connsiteY127" fmla="*/ 115258 h 729261"/>
                <a:gd name="connsiteX128" fmla="*/ 433778 w 774549"/>
                <a:gd name="connsiteY128" fmla="*/ 115901 h 729261"/>
                <a:gd name="connsiteX129" fmla="*/ 444701 w 774549"/>
                <a:gd name="connsiteY129" fmla="*/ 111403 h 729261"/>
                <a:gd name="connsiteX130" fmla="*/ 447913 w 774549"/>
                <a:gd name="connsiteY130" fmla="*/ 121041 h 729261"/>
                <a:gd name="connsiteX131" fmla="*/ 463333 w 774549"/>
                <a:gd name="connsiteY131" fmla="*/ 134533 h 729261"/>
                <a:gd name="connsiteX132" fmla="*/ 467830 w 774549"/>
                <a:gd name="connsiteY132" fmla="*/ 149953 h 729261"/>
                <a:gd name="connsiteX133" fmla="*/ 471043 w 774549"/>
                <a:gd name="connsiteY133" fmla="*/ 159590 h 729261"/>
                <a:gd name="connsiteX134" fmla="*/ 477467 w 774549"/>
                <a:gd name="connsiteY134" fmla="*/ 174367 h 729261"/>
                <a:gd name="connsiteX135" fmla="*/ 478753 w 774549"/>
                <a:gd name="connsiteY135" fmla="*/ 201352 h 729261"/>
                <a:gd name="connsiteX136" fmla="*/ 472970 w 774549"/>
                <a:gd name="connsiteY136" fmla="*/ 216771 h 729261"/>
                <a:gd name="connsiteX137" fmla="*/ 468473 w 774549"/>
                <a:gd name="connsiteY137" fmla="*/ 227694 h 729261"/>
                <a:gd name="connsiteX138" fmla="*/ 453695 w 774549"/>
                <a:gd name="connsiteY138" fmla="*/ 241186 h 729261"/>
                <a:gd name="connsiteX139" fmla="*/ 433778 w 774549"/>
                <a:gd name="connsiteY139" fmla="*/ 250181 h 729261"/>
                <a:gd name="connsiteX140" fmla="*/ 424141 w 774549"/>
                <a:gd name="connsiteY140" fmla="*/ 258533 h 729261"/>
                <a:gd name="connsiteX141" fmla="*/ 441488 w 774549"/>
                <a:gd name="connsiteY141" fmla="*/ 261103 h 729261"/>
                <a:gd name="connsiteX142" fmla="*/ 454338 w 774549"/>
                <a:gd name="connsiteY142" fmla="*/ 253393 h 729261"/>
                <a:gd name="connsiteX143" fmla="*/ 474255 w 774549"/>
                <a:gd name="connsiteY143" fmla="*/ 251466 h 729261"/>
                <a:gd name="connsiteX144" fmla="*/ 485177 w 774549"/>
                <a:gd name="connsiteY144" fmla="*/ 246968 h 729261"/>
                <a:gd name="connsiteX145" fmla="*/ 510877 w 774549"/>
                <a:gd name="connsiteY145" fmla="*/ 248896 h 729261"/>
                <a:gd name="connsiteX146" fmla="*/ 523084 w 774549"/>
                <a:gd name="connsiteY146" fmla="*/ 255321 h 729261"/>
                <a:gd name="connsiteX147" fmla="*/ 550068 w 774549"/>
                <a:gd name="connsiteY147" fmla="*/ 261745 h 729261"/>
                <a:gd name="connsiteX148" fmla="*/ 580265 w 774549"/>
                <a:gd name="connsiteY148" fmla="*/ 272668 h 729261"/>
                <a:gd name="connsiteX149" fmla="*/ 607250 w 774549"/>
                <a:gd name="connsiteY149" fmla="*/ 288087 h 729261"/>
                <a:gd name="connsiteX150" fmla="*/ 635519 w 774549"/>
                <a:gd name="connsiteY150" fmla="*/ 301580 h 729261"/>
                <a:gd name="connsiteX151" fmla="*/ 659291 w 774549"/>
                <a:gd name="connsiteY151" fmla="*/ 318927 h 729261"/>
                <a:gd name="connsiteX152" fmla="*/ 688203 w 774549"/>
                <a:gd name="connsiteY152" fmla="*/ 315072 h 729261"/>
                <a:gd name="connsiteX153" fmla="*/ 704908 w 774549"/>
                <a:gd name="connsiteY153" fmla="*/ 295155 h 729261"/>
                <a:gd name="connsiteX154" fmla="*/ 734462 w 774549"/>
                <a:gd name="connsiteY154" fmla="*/ 283590 h 729261"/>
                <a:gd name="connsiteX155" fmla="*/ 754380 w 774549"/>
                <a:gd name="connsiteY155" fmla="*/ 290657 h 729261"/>
                <a:gd name="connsiteX156" fmla="*/ 769157 w 774549"/>
                <a:gd name="connsiteY156" fmla="*/ 289372 h 729261"/>
                <a:gd name="connsiteX157" fmla="*/ 772369 w 774549"/>
                <a:gd name="connsiteY157" fmla="*/ 296440 h 729261"/>
                <a:gd name="connsiteX158" fmla="*/ 755664 w 774549"/>
                <a:gd name="connsiteY158" fmla="*/ 306077 h 729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774549" h="729261">
                  <a:moveTo>
                    <a:pt x="755664" y="306077"/>
                  </a:moveTo>
                  <a:cubicBezTo>
                    <a:pt x="756307" y="309932"/>
                    <a:pt x="758235" y="311217"/>
                    <a:pt x="758877" y="313787"/>
                  </a:cubicBezTo>
                  <a:cubicBezTo>
                    <a:pt x="758877" y="316357"/>
                    <a:pt x="762732" y="339486"/>
                    <a:pt x="763374" y="345911"/>
                  </a:cubicBezTo>
                  <a:cubicBezTo>
                    <a:pt x="764017" y="352336"/>
                    <a:pt x="766587" y="353621"/>
                    <a:pt x="765944" y="360046"/>
                  </a:cubicBezTo>
                  <a:cubicBezTo>
                    <a:pt x="765302" y="366471"/>
                    <a:pt x="763374" y="374823"/>
                    <a:pt x="758877" y="377393"/>
                  </a:cubicBezTo>
                  <a:cubicBezTo>
                    <a:pt x="755022" y="379963"/>
                    <a:pt x="757592" y="375466"/>
                    <a:pt x="748597" y="381891"/>
                  </a:cubicBezTo>
                  <a:cubicBezTo>
                    <a:pt x="739602" y="387673"/>
                    <a:pt x="737675" y="386388"/>
                    <a:pt x="731892" y="392813"/>
                  </a:cubicBezTo>
                  <a:cubicBezTo>
                    <a:pt x="726752" y="399238"/>
                    <a:pt x="717758" y="406305"/>
                    <a:pt x="711975" y="412087"/>
                  </a:cubicBezTo>
                  <a:cubicBezTo>
                    <a:pt x="706836" y="417870"/>
                    <a:pt x="699126" y="417870"/>
                    <a:pt x="692701" y="417870"/>
                  </a:cubicBezTo>
                  <a:cubicBezTo>
                    <a:pt x="685633" y="417870"/>
                    <a:pt x="676639" y="419797"/>
                    <a:pt x="675996" y="422367"/>
                  </a:cubicBezTo>
                  <a:cubicBezTo>
                    <a:pt x="675996" y="424937"/>
                    <a:pt x="663789" y="435217"/>
                    <a:pt x="674069" y="444854"/>
                  </a:cubicBezTo>
                  <a:cubicBezTo>
                    <a:pt x="683706" y="454492"/>
                    <a:pt x="688203" y="457704"/>
                    <a:pt x="696556" y="457704"/>
                  </a:cubicBezTo>
                  <a:cubicBezTo>
                    <a:pt x="704908" y="457704"/>
                    <a:pt x="710690" y="456419"/>
                    <a:pt x="711333" y="460916"/>
                  </a:cubicBezTo>
                  <a:cubicBezTo>
                    <a:pt x="711975" y="464129"/>
                    <a:pt x="708763" y="469269"/>
                    <a:pt x="710048" y="471196"/>
                  </a:cubicBezTo>
                  <a:lnTo>
                    <a:pt x="710048" y="471196"/>
                  </a:lnTo>
                  <a:cubicBezTo>
                    <a:pt x="710690" y="471839"/>
                    <a:pt x="713903" y="480191"/>
                    <a:pt x="711975" y="483404"/>
                  </a:cubicBezTo>
                  <a:cubicBezTo>
                    <a:pt x="710048" y="486616"/>
                    <a:pt x="684991" y="498181"/>
                    <a:pt x="683063" y="500108"/>
                  </a:cubicBezTo>
                  <a:cubicBezTo>
                    <a:pt x="681778" y="501393"/>
                    <a:pt x="672141" y="516170"/>
                    <a:pt x="672141" y="523880"/>
                  </a:cubicBezTo>
                  <a:cubicBezTo>
                    <a:pt x="672141" y="531590"/>
                    <a:pt x="681136" y="553435"/>
                    <a:pt x="681136" y="553435"/>
                  </a:cubicBezTo>
                  <a:cubicBezTo>
                    <a:pt x="681136" y="553435"/>
                    <a:pt x="694628" y="588129"/>
                    <a:pt x="701053" y="588129"/>
                  </a:cubicBezTo>
                  <a:cubicBezTo>
                    <a:pt x="707478" y="588129"/>
                    <a:pt x="717115" y="582347"/>
                    <a:pt x="724183" y="588129"/>
                  </a:cubicBezTo>
                  <a:cubicBezTo>
                    <a:pt x="730607" y="593269"/>
                    <a:pt x="744742" y="606119"/>
                    <a:pt x="737032" y="615113"/>
                  </a:cubicBezTo>
                  <a:cubicBezTo>
                    <a:pt x="735747" y="617041"/>
                    <a:pt x="733820" y="618968"/>
                    <a:pt x="731892" y="621538"/>
                  </a:cubicBezTo>
                  <a:cubicBezTo>
                    <a:pt x="725468" y="629891"/>
                    <a:pt x="719043" y="638885"/>
                    <a:pt x="719043" y="638885"/>
                  </a:cubicBezTo>
                  <a:lnTo>
                    <a:pt x="705550" y="642740"/>
                  </a:lnTo>
                  <a:cubicBezTo>
                    <a:pt x="705550" y="642740"/>
                    <a:pt x="697841" y="658803"/>
                    <a:pt x="695271" y="665870"/>
                  </a:cubicBezTo>
                  <a:cubicBezTo>
                    <a:pt x="692058" y="672937"/>
                    <a:pt x="672784" y="682575"/>
                    <a:pt x="672141" y="683217"/>
                  </a:cubicBezTo>
                  <a:cubicBezTo>
                    <a:pt x="671499" y="684502"/>
                    <a:pt x="647727" y="683217"/>
                    <a:pt x="646442" y="693497"/>
                  </a:cubicBezTo>
                  <a:cubicBezTo>
                    <a:pt x="645157" y="701849"/>
                    <a:pt x="644514" y="718554"/>
                    <a:pt x="649654" y="724979"/>
                  </a:cubicBezTo>
                  <a:cubicBezTo>
                    <a:pt x="647727" y="726264"/>
                    <a:pt x="645799" y="726906"/>
                    <a:pt x="645157" y="727549"/>
                  </a:cubicBezTo>
                  <a:cubicBezTo>
                    <a:pt x="641944" y="731404"/>
                    <a:pt x="625240" y="727549"/>
                    <a:pt x="625240" y="727549"/>
                  </a:cubicBezTo>
                  <a:cubicBezTo>
                    <a:pt x="625240" y="727549"/>
                    <a:pt x="595043" y="721124"/>
                    <a:pt x="587333" y="719196"/>
                  </a:cubicBezTo>
                  <a:cubicBezTo>
                    <a:pt x="581550" y="717911"/>
                    <a:pt x="568058" y="714057"/>
                    <a:pt x="559063" y="706989"/>
                  </a:cubicBezTo>
                  <a:cubicBezTo>
                    <a:pt x="557136" y="705704"/>
                    <a:pt x="555851" y="703777"/>
                    <a:pt x="554566" y="701849"/>
                  </a:cubicBezTo>
                  <a:cubicBezTo>
                    <a:pt x="546856" y="691569"/>
                    <a:pt x="544929" y="684502"/>
                    <a:pt x="540431" y="678077"/>
                  </a:cubicBezTo>
                  <a:cubicBezTo>
                    <a:pt x="535934" y="671652"/>
                    <a:pt x="524369" y="648523"/>
                    <a:pt x="524369" y="641455"/>
                  </a:cubicBezTo>
                  <a:cubicBezTo>
                    <a:pt x="524369" y="634388"/>
                    <a:pt x="532721" y="627321"/>
                    <a:pt x="532079" y="615113"/>
                  </a:cubicBezTo>
                  <a:cubicBezTo>
                    <a:pt x="531436" y="602906"/>
                    <a:pt x="516659" y="583632"/>
                    <a:pt x="498027" y="584917"/>
                  </a:cubicBezTo>
                  <a:cubicBezTo>
                    <a:pt x="479395" y="585559"/>
                    <a:pt x="478110" y="597124"/>
                    <a:pt x="458835" y="612544"/>
                  </a:cubicBezTo>
                  <a:cubicBezTo>
                    <a:pt x="439561" y="627963"/>
                    <a:pt x="431851" y="626036"/>
                    <a:pt x="426068" y="627321"/>
                  </a:cubicBezTo>
                  <a:cubicBezTo>
                    <a:pt x="420286" y="627963"/>
                    <a:pt x="409364" y="620253"/>
                    <a:pt x="407436" y="619611"/>
                  </a:cubicBezTo>
                  <a:cubicBezTo>
                    <a:pt x="405509" y="618968"/>
                    <a:pt x="401654" y="632461"/>
                    <a:pt x="399084" y="636316"/>
                  </a:cubicBezTo>
                  <a:cubicBezTo>
                    <a:pt x="397157" y="638885"/>
                    <a:pt x="396514" y="645953"/>
                    <a:pt x="395872" y="650450"/>
                  </a:cubicBezTo>
                  <a:cubicBezTo>
                    <a:pt x="395229" y="650450"/>
                    <a:pt x="395229" y="650450"/>
                    <a:pt x="394587" y="650450"/>
                  </a:cubicBezTo>
                  <a:cubicBezTo>
                    <a:pt x="387519" y="649808"/>
                    <a:pt x="380452" y="649165"/>
                    <a:pt x="376597" y="646595"/>
                  </a:cubicBezTo>
                  <a:cubicBezTo>
                    <a:pt x="370172" y="642740"/>
                    <a:pt x="356680" y="631818"/>
                    <a:pt x="350897" y="624108"/>
                  </a:cubicBezTo>
                  <a:cubicBezTo>
                    <a:pt x="345115" y="616398"/>
                    <a:pt x="341903" y="610616"/>
                    <a:pt x="339975" y="602906"/>
                  </a:cubicBezTo>
                  <a:cubicBezTo>
                    <a:pt x="338048" y="595196"/>
                    <a:pt x="336763" y="591341"/>
                    <a:pt x="336120" y="590056"/>
                  </a:cubicBezTo>
                  <a:cubicBezTo>
                    <a:pt x="335478" y="588771"/>
                    <a:pt x="328410" y="581062"/>
                    <a:pt x="321986" y="575922"/>
                  </a:cubicBezTo>
                  <a:cubicBezTo>
                    <a:pt x="316203" y="570782"/>
                    <a:pt x="309778" y="565642"/>
                    <a:pt x="306566" y="555362"/>
                  </a:cubicBezTo>
                  <a:cubicBezTo>
                    <a:pt x="303353" y="545082"/>
                    <a:pt x="290504" y="527093"/>
                    <a:pt x="285364" y="523238"/>
                  </a:cubicBezTo>
                  <a:cubicBezTo>
                    <a:pt x="280224" y="519383"/>
                    <a:pt x="257094" y="511030"/>
                    <a:pt x="250027" y="509103"/>
                  </a:cubicBezTo>
                  <a:cubicBezTo>
                    <a:pt x="242960" y="507176"/>
                    <a:pt x="212120" y="506533"/>
                    <a:pt x="206980" y="506533"/>
                  </a:cubicBezTo>
                  <a:cubicBezTo>
                    <a:pt x="201840" y="506533"/>
                    <a:pt x="181281" y="510388"/>
                    <a:pt x="174213" y="501393"/>
                  </a:cubicBezTo>
                  <a:cubicBezTo>
                    <a:pt x="167146" y="492398"/>
                    <a:pt x="155581" y="470554"/>
                    <a:pt x="155581" y="469911"/>
                  </a:cubicBezTo>
                  <a:cubicBezTo>
                    <a:pt x="155581" y="468626"/>
                    <a:pt x="149799" y="440999"/>
                    <a:pt x="153011" y="439714"/>
                  </a:cubicBezTo>
                  <a:cubicBezTo>
                    <a:pt x="156866" y="438429"/>
                    <a:pt x="167789" y="442284"/>
                    <a:pt x="176141" y="446782"/>
                  </a:cubicBezTo>
                  <a:cubicBezTo>
                    <a:pt x="184493" y="451279"/>
                    <a:pt x="194773" y="457704"/>
                    <a:pt x="194773" y="448067"/>
                  </a:cubicBezTo>
                  <a:cubicBezTo>
                    <a:pt x="194773" y="438429"/>
                    <a:pt x="192846" y="432005"/>
                    <a:pt x="190918" y="421725"/>
                  </a:cubicBezTo>
                  <a:cubicBezTo>
                    <a:pt x="188991" y="411445"/>
                    <a:pt x="193488" y="401165"/>
                    <a:pt x="187706" y="400523"/>
                  </a:cubicBezTo>
                  <a:cubicBezTo>
                    <a:pt x="181923" y="399880"/>
                    <a:pt x="172286" y="401165"/>
                    <a:pt x="171001" y="403735"/>
                  </a:cubicBezTo>
                  <a:cubicBezTo>
                    <a:pt x="169716" y="406305"/>
                    <a:pt x="164576" y="410802"/>
                    <a:pt x="160079" y="410160"/>
                  </a:cubicBezTo>
                  <a:cubicBezTo>
                    <a:pt x="155581" y="409517"/>
                    <a:pt x="152369" y="412087"/>
                    <a:pt x="147229" y="404378"/>
                  </a:cubicBezTo>
                  <a:cubicBezTo>
                    <a:pt x="146586" y="403735"/>
                    <a:pt x="146586" y="403093"/>
                    <a:pt x="145944" y="402450"/>
                  </a:cubicBezTo>
                  <a:cubicBezTo>
                    <a:pt x="145302" y="401808"/>
                    <a:pt x="145302" y="401165"/>
                    <a:pt x="145302" y="399880"/>
                  </a:cubicBezTo>
                  <a:cubicBezTo>
                    <a:pt x="141447" y="388958"/>
                    <a:pt x="140162" y="365828"/>
                    <a:pt x="142732" y="360046"/>
                  </a:cubicBezTo>
                  <a:cubicBezTo>
                    <a:pt x="145944" y="353621"/>
                    <a:pt x="149799" y="352336"/>
                    <a:pt x="152369" y="346554"/>
                  </a:cubicBezTo>
                  <a:cubicBezTo>
                    <a:pt x="154939" y="340771"/>
                    <a:pt x="157509" y="329207"/>
                    <a:pt x="153654" y="329207"/>
                  </a:cubicBezTo>
                  <a:cubicBezTo>
                    <a:pt x="150441" y="329207"/>
                    <a:pt x="141447" y="333704"/>
                    <a:pt x="138234" y="336916"/>
                  </a:cubicBezTo>
                  <a:cubicBezTo>
                    <a:pt x="134379" y="340129"/>
                    <a:pt x="127954" y="342699"/>
                    <a:pt x="123457" y="345269"/>
                  </a:cubicBezTo>
                  <a:cubicBezTo>
                    <a:pt x="118960" y="347196"/>
                    <a:pt x="103540" y="349124"/>
                    <a:pt x="99042" y="347196"/>
                  </a:cubicBezTo>
                  <a:cubicBezTo>
                    <a:pt x="94545" y="345269"/>
                    <a:pt x="84908" y="340129"/>
                    <a:pt x="82338" y="331777"/>
                  </a:cubicBezTo>
                  <a:cubicBezTo>
                    <a:pt x="79768" y="323424"/>
                    <a:pt x="81053" y="319569"/>
                    <a:pt x="82338" y="315072"/>
                  </a:cubicBezTo>
                  <a:cubicBezTo>
                    <a:pt x="83623" y="310574"/>
                    <a:pt x="89405" y="290015"/>
                    <a:pt x="93903" y="288087"/>
                  </a:cubicBezTo>
                  <a:cubicBezTo>
                    <a:pt x="98400" y="286160"/>
                    <a:pt x="109965" y="283590"/>
                    <a:pt x="118960" y="282305"/>
                  </a:cubicBezTo>
                  <a:cubicBezTo>
                    <a:pt x="127954" y="281020"/>
                    <a:pt x="145302" y="281020"/>
                    <a:pt x="149156" y="281020"/>
                  </a:cubicBezTo>
                  <a:cubicBezTo>
                    <a:pt x="153011" y="281020"/>
                    <a:pt x="162006" y="284875"/>
                    <a:pt x="171643" y="276523"/>
                  </a:cubicBezTo>
                  <a:cubicBezTo>
                    <a:pt x="181281" y="268813"/>
                    <a:pt x="188991" y="263030"/>
                    <a:pt x="193488" y="259175"/>
                  </a:cubicBezTo>
                  <a:cubicBezTo>
                    <a:pt x="197985" y="255321"/>
                    <a:pt x="201840" y="255321"/>
                    <a:pt x="199270" y="248896"/>
                  </a:cubicBezTo>
                  <a:cubicBezTo>
                    <a:pt x="196701" y="242471"/>
                    <a:pt x="185778" y="225766"/>
                    <a:pt x="177426" y="218056"/>
                  </a:cubicBezTo>
                  <a:cubicBezTo>
                    <a:pt x="169074" y="210346"/>
                    <a:pt x="161364" y="205207"/>
                    <a:pt x="158151" y="198139"/>
                  </a:cubicBezTo>
                  <a:cubicBezTo>
                    <a:pt x="154939" y="191072"/>
                    <a:pt x="153654" y="187859"/>
                    <a:pt x="148514" y="180792"/>
                  </a:cubicBezTo>
                  <a:cubicBezTo>
                    <a:pt x="143374" y="173082"/>
                    <a:pt x="138234" y="167300"/>
                    <a:pt x="133737" y="161517"/>
                  </a:cubicBezTo>
                  <a:cubicBezTo>
                    <a:pt x="129239" y="156377"/>
                    <a:pt x="113177" y="146740"/>
                    <a:pt x="110607" y="142885"/>
                  </a:cubicBezTo>
                  <a:cubicBezTo>
                    <a:pt x="108037" y="138388"/>
                    <a:pt x="102897" y="124253"/>
                    <a:pt x="96472" y="112688"/>
                  </a:cubicBezTo>
                  <a:cubicBezTo>
                    <a:pt x="90048" y="101124"/>
                    <a:pt x="81053" y="86346"/>
                    <a:pt x="74628" y="84419"/>
                  </a:cubicBezTo>
                  <a:cubicBezTo>
                    <a:pt x="68845" y="82491"/>
                    <a:pt x="62421" y="80564"/>
                    <a:pt x="53426" y="81206"/>
                  </a:cubicBezTo>
                  <a:cubicBezTo>
                    <a:pt x="44431" y="81849"/>
                    <a:pt x="25156" y="81849"/>
                    <a:pt x="20017" y="85061"/>
                  </a:cubicBezTo>
                  <a:cubicBezTo>
                    <a:pt x="14877" y="88274"/>
                    <a:pt x="11022" y="95984"/>
                    <a:pt x="10379" y="99196"/>
                  </a:cubicBezTo>
                  <a:cubicBezTo>
                    <a:pt x="9737" y="101766"/>
                    <a:pt x="6524" y="104978"/>
                    <a:pt x="5882" y="104978"/>
                  </a:cubicBezTo>
                  <a:cubicBezTo>
                    <a:pt x="5239" y="104978"/>
                    <a:pt x="1384" y="104978"/>
                    <a:pt x="742" y="96626"/>
                  </a:cubicBezTo>
                  <a:cubicBezTo>
                    <a:pt x="99" y="88274"/>
                    <a:pt x="-543" y="84419"/>
                    <a:pt x="742" y="79922"/>
                  </a:cubicBezTo>
                  <a:cubicBezTo>
                    <a:pt x="1384" y="76067"/>
                    <a:pt x="12949" y="54222"/>
                    <a:pt x="13592" y="46512"/>
                  </a:cubicBezTo>
                  <a:cubicBezTo>
                    <a:pt x="14234" y="38160"/>
                    <a:pt x="14877" y="34947"/>
                    <a:pt x="14877" y="30450"/>
                  </a:cubicBezTo>
                  <a:cubicBezTo>
                    <a:pt x="14877" y="25953"/>
                    <a:pt x="11664" y="27238"/>
                    <a:pt x="17446" y="18243"/>
                  </a:cubicBezTo>
                  <a:cubicBezTo>
                    <a:pt x="21944" y="11818"/>
                    <a:pt x="29011" y="9248"/>
                    <a:pt x="34151" y="3465"/>
                  </a:cubicBezTo>
                  <a:cubicBezTo>
                    <a:pt x="35436" y="2181"/>
                    <a:pt x="37364" y="1538"/>
                    <a:pt x="39291" y="896"/>
                  </a:cubicBezTo>
                  <a:cubicBezTo>
                    <a:pt x="43146" y="-389"/>
                    <a:pt x="48928" y="-389"/>
                    <a:pt x="51498" y="1538"/>
                  </a:cubicBezTo>
                  <a:cubicBezTo>
                    <a:pt x="55353" y="3465"/>
                    <a:pt x="53426" y="9248"/>
                    <a:pt x="51498" y="11175"/>
                  </a:cubicBezTo>
                  <a:cubicBezTo>
                    <a:pt x="47643" y="16315"/>
                    <a:pt x="39291" y="23383"/>
                    <a:pt x="37364" y="24025"/>
                  </a:cubicBezTo>
                  <a:cubicBezTo>
                    <a:pt x="35436" y="24668"/>
                    <a:pt x="26441" y="27238"/>
                    <a:pt x="26441" y="27238"/>
                  </a:cubicBezTo>
                  <a:cubicBezTo>
                    <a:pt x="26441" y="27238"/>
                    <a:pt x="24514" y="33020"/>
                    <a:pt x="24514" y="37517"/>
                  </a:cubicBezTo>
                  <a:cubicBezTo>
                    <a:pt x="24514" y="42015"/>
                    <a:pt x="29011" y="49082"/>
                    <a:pt x="32866" y="52295"/>
                  </a:cubicBezTo>
                  <a:cubicBezTo>
                    <a:pt x="36721" y="55507"/>
                    <a:pt x="39291" y="61289"/>
                    <a:pt x="47001" y="63859"/>
                  </a:cubicBezTo>
                  <a:cubicBezTo>
                    <a:pt x="54711" y="66429"/>
                    <a:pt x="67561" y="68357"/>
                    <a:pt x="71415" y="67714"/>
                  </a:cubicBezTo>
                  <a:cubicBezTo>
                    <a:pt x="75913" y="67072"/>
                    <a:pt x="88120" y="60647"/>
                    <a:pt x="91333" y="59362"/>
                  </a:cubicBezTo>
                  <a:cubicBezTo>
                    <a:pt x="94545" y="58077"/>
                    <a:pt x="102897" y="53580"/>
                    <a:pt x="105467" y="56792"/>
                  </a:cubicBezTo>
                  <a:cubicBezTo>
                    <a:pt x="107395" y="60004"/>
                    <a:pt x="109322" y="68999"/>
                    <a:pt x="113177" y="70284"/>
                  </a:cubicBezTo>
                  <a:cubicBezTo>
                    <a:pt x="117032" y="70927"/>
                    <a:pt x="123457" y="68999"/>
                    <a:pt x="126027" y="70284"/>
                  </a:cubicBezTo>
                  <a:cubicBezTo>
                    <a:pt x="128597" y="71569"/>
                    <a:pt x="131809" y="67072"/>
                    <a:pt x="132452" y="65144"/>
                  </a:cubicBezTo>
                  <a:cubicBezTo>
                    <a:pt x="133737" y="63217"/>
                    <a:pt x="142089" y="60647"/>
                    <a:pt x="147229" y="61289"/>
                  </a:cubicBezTo>
                  <a:cubicBezTo>
                    <a:pt x="153011" y="61932"/>
                    <a:pt x="158151" y="65144"/>
                    <a:pt x="162006" y="65787"/>
                  </a:cubicBezTo>
                  <a:cubicBezTo>
                    <a:pt x="165861" y="67072"/>
                    <a:pt x="177426" y="67714"/>
                    <a:pt x="183208" y="67714"/>
                  </a:cubicBezTo>
                  <a:cubicBezTo>
                    <a:pt x="188348" y="67714"/>
                    <a:pt x="200555" y="65787"/>
                    <a:pt x="206338" y="70927"/>
                  </a:cubicBezTo>
                  <a:cubicBezTo>
                    <a:pt x="212120" y="76067"/>
                    <a:pt x="220473" y="81206"/>
                    <a:pt x="222400" y="82491"/>
                  </a:cubicBezTo>
                  <a:cubicBezTo>
                    <a:pt x="224327" y="83776"/>
                    <a:pt x="246172" y="85061"/>
                    <a:pt x="248742" y="86989"/>
                  </a:cubicBezTo>
                  <a:cubicBezTo>
                    <a:pt x="251312" y="88274"/>
                    <a:pt x="259664" y="98554"/>
                    <a:pt x="264162" y="104336"/>
                  </a:cubicBezTo>
                  <a:cubicBezTo>
                    <a:pt x="268659" y="110118"/>
                    <a:pt x="287291" y="111403"/>
                    <a:pt x="291146" y="108191"/>
                  </a:cubicBezTo>
                  <a:cubicBezTo>
                    <a:pt x="295001" y="104978"/>
                    <a:pt x="296286" y="101124"/>
                    <a:pt x="300783" y="98554"/>
                  </a:cubicBezTo>
                  <a:cubicBezTo>
                    <a:pt x="305281" y="95984"/>
                    <a:pt x="327768" y="88274"/>
                    <a:pt x="327125" y="91486"/>
                  </a:cubicBezTo>
                  <a:cubicBezTo>
                    <a:pt x="326483" y="94699"/>
                    <a:pt x="312348" y="101124"/>
                    <a:pt x="312348" y="104336"/>
                  </a:cubicBezTo>
                  <a:cubicBezTo>
                    <a:pt x="312348" y="107548"/>
                    <a:pt x="314918" y="112046"/>
                    <a:pt x="318773" y="109476"/>
                  </a:cubicBezTo>
                  <a:cubicBezTo>
                    <a:pt x="323271" y="106263"/>
                    <a:pt x="329695" y="103051"/>
                    <a:pt x="329695" y="103051"/>
                  </a:cubicBezTo>
                  <a:cubicBezTo>
                    <a:pt x="329695" y="103051"/>
                    <a:pt x="341260" y="101766"/>
                    <a:pt x="348970" y="102409"/>
                  </a:cubicBezTo>
                  <a:cubicBezTo>
                    <a:pt x="357322" y="103051"/>
                    <a:pt x="367602" y="104336"/>
                    <a:pt x="368245" y="104336"/>
                  </a:cubicBezTo>
                  <a:cubicBezTo>
                    <a:pt x="368887" y="104336"/>
                    <a:pt x="375954" y="101124"/>
                    <a:pt x="378524" y="101766"/>
                  </a:cubicBezTo>
                  <a:cubicBezTo>
                    <a:pt x="381737" y="102409"/>
                    <a:pt x="395872" y="108191"/>
                    <a:pt x="399084" y="110761"/>
                  </a:cubicBezTo>
                  <a:cubicBezTo>
                    <a:pt x="401654" y="113331"/>
                    <a:pt x="415146" y="115258"/>
                    <a:pt x="415146" y="115258"/>
                  </a:cubicBezTo>
                  <a:cubicBezTo>
                    <a:pt x="415146" y="115258"/>
                    <a:pt x="428638" y="117828"/>
                    <a:pt x="433778" y="115901"/>
                  </a:cubicBezTo>
                  <a:cubicBezTo>
                    <a:pt x="439561" y="113973"/>
                    <a:pt x="442131" y="107548"/>
                    <a:pt x="444701" y="111403"/>
                  </a:cubicBezTo>
                  <a:cubicBezTo>
                    <a:pt x="446628" y="115258"/>
                    <a:pt x="442773" y="117828"/>
                    <a:pt x="447913" y="121041"/>
                  </a:cubicBezTo>
                  <a:cubicBezTo>
                    <a:pt x="453053" y="124896"/>
                    <a:pt x="463333" y="134533"/>
                    <a:pt x="463333" y="134533"/>
                  </a:cubicBezTo>
                  <a:cubicBezTo>
                    <a:pt x="463333" y="134533"/>
                    <a:pt x="467830" y="144813"/>
                    <a:pt x="467830" y="149953"/>
                  </a:cubicBezTo>
                  <a:cubicBezTo>
                    <a:pt x="468473" y="155092"/>
                    <a:pt x="469115" y="157020"/>
                    <a:pt x="471043" y="159590"/>
                  </a:cubicBezTo>
                  <a:cubicBezTo>
                    <a:pt x="472970" y="162802"/>
                    <a:pt x="476825" y="172440"/>
                    <a:pt x="477467" y="174367"/>
                  </a:cubicBezTo>
                  <a:cubicBezTo>
                    <a:pt x="478110" y="176295"/>
                    <a:pt x="483250" y="188502"/>
                    <a:pt x="478753" y="201352"/>
                  </a:cubicBezTo>
                  <a:cubicBezTo>
                    <a:pt x="474255" y="213559"/>
                    <a:pt x="473612" y="210989"/>
                    <a:pt x="472970" y="216771"/>
                  </a:cubicBezTo>
                  <a:cubicBezTo>
                    <a:pt x="472328" y="222554"/>
                    <a:pt x="471685" y="223839"/>
                    <a:pt x="468473" y="227694"/>
                  </a:cubicBezTo>
                  <a:cubicBezTo>
                    <a:pt x="465260" y="231548"/>
                    <a:pt x="462048" y="235403"/>
                    <a:pt x="453695" y="241186"/>
                  </a:cubicBezTo>
                  <a:cubicBezTo>
                    <a:pt x="444701" y="246968"/>
                    <a:pt x="438276" y="248896"/>
                    <a:pt x="433778" y="250181"/>
                  </a:cubicBezTo>
                  <a:cubicBezTo>
                    <a:pt x="429281" y="251466"/>
                    <a:pt x="421571" y="255321"/>
                    <a:pt x="424141" y="258533"/>
                  </a:cubicBezTo>
                  <a:cubicBezTo>
                    <a:pt x="426711" y="261745"/>
                    <a:pt x="434421" y="264315"/>
                    <a:pt x="441488" y="261103"/>
                  </a:cubicBezTo>
                  <a:cubicBezTo>
                    <a:pt x="448556" y="257890"/>
                    <a:pt x="454338" y="253393"/>
                    <a:pt x="454338" y="253393"/>
                  </a:cubicBezTo>
                  <a:cubicBezTo>
                    <a:pt x="454338" y="253393"/>
                    <a:pt x="472970" y="251466"/>
                    <a:pt x="474255" y="251466"/>
                  </a:cubicBezTo>
                  <a:cubicBezTo>
                    <a:pt x="475540" y="251466"/>
                    <a:pt x="478110" y="248896"/>
                    <a:pt x="485177" y="246968"/>
                  </a:cubicBezTo>
                  <a:cubicBezTo>
                    <a:pt x="492245" y="245683"/>
                    <a:pt x="507022" y="246968"/>
                    <a:pt x="510877" y="248896"/>
                  </a:cubicBezTo>
                  <a:cubicBezTo>
                    <a:pt x="514732" y="250823"/>
                    <a:pt x="522442" y="255321"/>
                    <a:pt x="523084" y="255321"/>
                  </a:cubicBezTo>
                  <a:cubicBezTo>
                    <a:pt x="523727" y="255963"/>
                    <a:pt x="532721" y="257248"/>
                    <a:pt x="550068" y="261745"/>
                  </a:cubicBezTo>
                  <a:cubicBezTo>
                    <a:pt x="567416" y="266243"/>
                    <a:pt x="569343" y="265600"/>
                    <a:pt x="580265" y="272668"/>
                  </a:cubicBezTo>
                  <a:cubicBezTo>
                    <a:pt x="591188" y="279735"/>
                    <a:pt x="603395" y="286802"/>
                    <a:pt x="607250" y="288087"/>
                  </a:cubicBezTo>
                  <a:cubicBezTo>
                    <a:pt x="610462" y="289372"/>
                    <a:pt x="622027" y="291300"/>
                    <a:pt x="635519" y="301580"/>
                  </a:cubicBezTo>
                  <a:cubicBezTo>
                    <a:pt x="649012" y="311859"/>
                    <a:pt x="646442" y="318927"/>
                    <a:pt x="659291" y="318927"/>
                  </a:cubicBezTo>
                  <a:cubicBezTo>
                    <a:pt x="672141" y="318927"/>
                    <a:pt x="681778" y="322139"/>
                    <a:pt x="688203" y="315072"/>
                  </a:cubicBezTo>
                  <a:cubicBezTo>
                    <a:pt x="694628" y="308005"/>
                    <a:pt x="695913" y="300937"/>
                    <a:pt x="704908" y="295155"/>
                  </a:cubicBezTo>
                  <a:cubicBezTo>
                    <a:pt x="713260" y="289372"/>
                    <a:pt x="731250" y="283590"/>
                    <a:pt x="734462" y="283590"/>
                  </a:cubicBezTo>
                  <a:cubicBezTo>
                    <a:pt x="737032" y="283590"/>
                    <a:pt x="746670" y="289372"/>
                    <a:pt x="754380" y="290657"/>
                  </a:cubicBezTo>
                  <a:cubicBezTo>
                    <a:pt x="762089" y="291300"/>
                    <a:pt x="765944" y="290015"/>
                    <a:pt x="769157" y="289372"/>
                  </a:cubicBezTo>
                  <a:cubicBezTo>
                    <a:pt x="772369" y="289372"/>
                    <a:pt x="777509" y="291300"/>
                    <a:pt x="772369" y="296440"/>
                  </a:cubicBezTo>
                  <a:cubicBezTo>
                    <a:pt x="764017" y="301580"/>
                    <a:pt x="755022" y="302222"/>
                    <a:pt x="755664" y="306077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 55">
              <a:extLst>
                <a:ext uri="{FF2B5EF4-FFF2-40B4-BE49-F238E27FC236}">
                  <a16:creationId xmlns:a16="http://schemas.microsoft.com/office/drawing/2014/main" id="{830EFEB2-F4A6-86DA-2D2B-387C50521876}"/>
                </a:ext>
              </a:extLst>
            </p:cNvPr>
            <p:cNvSpPr/>
            <p:nvPr/>
          </p:nvSpPr>
          <p:spPr>
            <a:xfrm>
              <a:off x="2467791" y="2204823"/>
              <a:ext cx="774549" cy="729261"/>
            </a:xfrm>
            <a:custGeom>
              <a:avLst/>
              <a:gdLst>
                <a:gd name="connsiteX0" fmla="*/ 755664 w 774549"/>
                <a:gd name="connsiteY0" fmla="*/ 306077 h 729261"/>
                <a:gd name="connsiteX1" fmla="*/ 758877 w 774549"/>
                <a:gd name="connsiteY1" fmla="*/ 313787 h 729261"/>
                <a:gd name="connsiteX2" fmla="*/ 763374 w 774549"/>
                <a:gd name="connsiteY2" fmla="*/ 345911 h 729261"/>
                <a:gd name="connsiteX3" fmla="*/ 765944 w 774549"/>
                <a:gd name="connsiteY3" fmla="*/ 360046 h 729261"/>
                <a:gd name="connsiteX4" fmla="*/ 758877 w 774549"/>
                <a:gd name="connsiteY4" fmla="*/ 377393 h 729261"/>
                <a:gd name="connsiteX5" fmla="*/ 748597 w 774549"/>
                <a:gd name="connsiteY5" fmla="*/ 381891 h 729261"/>
                <a:gd name="connsiteX6" fmla="*/ 731892 w 774549"/>
                <a:gd name="connsiteY6" fmla="*/ 392813 h 729261"/>
                <a:gd name="connsiteX7" fmla="*/ 711975 w 774549"/>
                <a:gd name="connsiteY7" fmla="*/ 412087 h 729261"/>
                <a:gd name="connsiteX8" fmla="*/ 692701 w 774549"/>
                <a:gd name="connsiteY8" fmla="*/ 417870 h 729261"/>
                <a:gd name="connsiteX9" fmla="*/ 675996 w 774549"/>
                <a:gd name="connsiteY9" fmla="*/ 422367 h 729261"/>
                <a:gd name="connsiteX10" fmla="*/ 674069 w 774549"/>
                <a:gd name="connsiteY10" fmla="*/ 444854 h 729261"/>
                <a:gd name="connsiteX11" fmla="*/ 696556 w 774549"/>
                <a:gd name="connsiteY11" fmla="*/ 457704 h 729261"/>
                <a:gd name="connsiteX12" fmla="*/ 711333 w 774549"/>
                <a:gd name="connsiteY12" fmla="*/ 460916 h 729261"/>
                <a:gd name="connsiteX13" fmla="*/ 710048 w 774549"/>
                <a:gd name="connsiteY13" fmla="*/ 471196 h 729261"/>
                <a:gd name="connsiteX14" fmla="*/ 710048 w 774549"/>
                <a:gd name="connsiteY14" fmla="*/ 471196 h 729261"/>
                <a:gd name="connsiteX15" fmla="*/ 711975 w 774549"/>
                <a:gd name="connsiteY15" fmla="*/ 483404 h 729261"/>
                <a:gd name="connsiteX16" fmla="*/ 683063 w 774549"/>
                <a:gd name="connsiteY16" fmla="*/ 500108 h 729261"/>
                <a:gd name="connsiteX17" fmla="*/ 672141 w 774549"/>
                <a:gd name="connsiteY17" fmla="*/ 523880 h 729261"/>
                <a:gd name="connsiteX18" fmla="*/ 681136 w 774549"/>
                <a:gd name="connsiteY18" fmla="*/ 553435 h 729261"/>
                <a:gd name="connsiteX19" fmla="*/ 701053 w 774549"/>
                <a:gd name="connsiteY19" fmla="*/ 588129 h 729261"/>
                <a:gd name="connsiteX20" fmla="*/ 724183 w 774549"/>
                <a:gd name="connsiteY20" fmla="*/ 588129 h 729261"/>
                <a:gd name="connsiteX21" fmla="*/ 737032 w 774549"/>
                <a:gd name="connsiteY21" fmla="*/ 615113 h 729261"/>
                <a:gd name="connsiteX22" fmla="*/ 731892 w 774549"/>
                <a:gd name="connsiteY22" fmla="*/ 621538 h 729261"/>
                <a:gd name="connsiteX23" fmla="*/ 719043 w 774549"/>
                <a:gd name="connsiteY23" fmla="*/ 638885 h 729261"/>
                <a:gd name="connsiteX24" fmla="*/ 705550 w 774549"/>
                <a:gd name="connsiteY24" fmla="*/ 642740 h 729261"/>
                <a:gd name="connsiteX25" fmla="*/ 695271 w 774549"/>
                <a:gd name="connsiteY25" fmla="*/ 665870 h 729261"/>
                <a:gd name="connsiteX26" fmla="*/ 672141 w 774549"/>
                <a:gd name="connsiteY26" fmla="*/ 683217 h 729261"/>
                <a:gd name="connsiteX27" fmla="*/ 646442 w 774549"/>
                <a:gd name="connsiteY27" fmla="*/ 693497 h 729261"/>
                <a:gd name="connsiteX28" fmla="*/ 649654 w 774549"/>
                <a:gd name="connsiteY28" fmla="*/ 724979 h 729261"/>
                <a:gd name="connsiteX29" fmla="*/ 645157 w 774549"/>
                <a:gd name="connsiteY29" fmla="*/ 727549 h 729261"/>
                <a:gd name="connsiteX30" fmla="*/ 625240 w 774549"/>
                <a:gd name="connsiteY30" fmla="*/ 727549 h 729261"/>
                <a:gd name="connsiteX31" fmla="*/ 587333 w 774549"/>
                <a:gd name="connsiteY31" fmla="*/ 719196 h 729261"/>
                <a:gd name="connsiteX32" fmla="*/ 559063 w 774549"/>
                <a:gd name="connsiteY32" fmla="*/ 706989 h 729261"/>
                <a:gd name="connsiteX33" fmla="*/ 554566 w 774549"/>
                <a:gd name="connsiteY33" fmla="*/ 701849 h 729261"/>
                <a:gd name="connsiteX34" fmla="*/ 540431 w 774549"/>
                <a:gd name="connsiteY34" fmla="*/ 678077 h 729261"/>
                <a:gd name="connsiteX35" fmla="*/ 524369 w 774549"/>
                <a:gd name="connsiteY35" fmla="*/ 641455 h 729261"/>
                <a:gd name="connsiteX36" fmla="*/ 532079 w 774549"/>
                <a:gd name="connsiteY36" fmla="*/ 615113 h 729261"/>
                <a:gd name="connsiteX37" fmla="*/ 498027 w 774549"/>
                <a:gd name="connsiteY37" fmla="*/ 584917 h 729261"/>
                <a:gd name="connsiteX38" fmla="*/ 458835 w 774549"/>
                <a:gd name="connsiteY38" fmla="*/ 612544 h 729261"/>
                <a:gd name="connsiteX39" fmla="*/ 426068 w 774549"/>
                <a:gd name="connsiteY39" fmla="*/ 627321 h 729261"/>
                <a:gd name="connsiteX40" fmla="*/ 407436 w 774549"/>
                <a:gd name="connsiteY40" fmla="*/ 619611 h 729261"/>
                <a:gd name="connsiteX41" fmla="*/ 399084 w 774549"/>
                <a:gd name="connsiteY41" fmla="*/ 636316 h 729261"/>
                <a:gd name="connsiteX42" fmla="*/ 395872 w 774549"/>
                <a:gd name="connsiteY42" fmla="*/ 650450 h 729261"/>
                <a:gd name="connsiteX43" fmla="*/ 394587 w 774549"/>
                <a:gd name="connsiteY43" fmla="*/ 650450 h 729261"/>
                <a:gd name="connsiteX44" fmla="*/ 376597 w 774549"/>
                <a:gd name="connsiteY44" fmla="*/ 646595 h 729261"/>
                <a:gd name="connsiteX45" fmla="*/ 350897 w 774549"/>
                <a:gd name="connsiteY45" fmla="*/ 624108 h 729261"/>
                <a:gd name="connsiteX46" fmla="*/ 339975 w 774549"/>
                <a:gd name="connsiteY46" fmla="*/ 602906 h 729261"/>
                <a:gd name="connsiteX47" fmla="*/ 336120 w 774549"/>
                <a:gd name="connsiteY47" fmla="*/ 590056 h 729261"/>
                <a:gd name="connsiteX48" fmla="*/ 321986 w 774549"/>
                <a:gd name="connsiteY48" fmla="*/ 575922 h 729261"/>
                <a:gd name="connsiteX49" fmla="*/ 306566 w 774549"/>
                <a:gd name="connsiteY49" fmla="*/ 555362 h 729261"/>
                <a:gd name="connsiteX50" fmla="*/ 285364 w 774549"/>
                <a:gd name="connsiteY50" fmla="*/ 523238 h 729261"/>
                <a:gd name="connsiteX51" fmla="*/ 250027 w 774549"/>
                <a:gd name="connsiteY51" fmla="*/ 509103 h 729261"/>
                <a:gd name="connsiteX52" fmla="*/ 206980 w 774549"/>
                <a:gd name="connsiteY52" fmla="*/ 506533 h 729261"/>
                <a:gd name="connsiteX53" fmla="*/ 174213 w 774549"/>
                <a:gd name="connsiteY53" fmla="*/ 501393 h 729261"/>
                <a:gd name="connsiteX54" fmla="*/ 155581 w 774549"/>
                <a:gd name="connsiteY54" fmla="*/ 469911 h 729261"/>
                <a:gd name="connsiteX55" fmla="*/ 153011 w 774549"/>
                <a:gd name="connsiteY55" fmla="*/ 439714 h 729261"/>
                <a:gd name="connsiteX56" fmla="*/ 176141 w 774549"/>
                <a:gd name="connsiteY56" fmla="*/ 446782 h 729261"/>
                <a:gd name="connsiteX57" fmla="*/ 194773 w 774549"/>
                <a:gd name="connsiteY57" fmla="*/ 448067 h 729261"/>
                <a:gd name="connsiteX58" fmla="*/ 190918 w 774549"/>
                <a:gd name="connsiteY58" fmla="*/ 421725 h 729261"/>
                <a:gd name="connsiteX59" fmla="*/ 187706 w 774549"/>
                <a:gd name="connsiteY59" fmla="*/ 400523 h 729261"/>
                <a:gd name="connsiteX60" fmla="*/ 171001 w 774549"/>
                <a:gd name="connsiteY60" fmla="*/ 403735 h 729261"/>
                <a:gd name="connsiteX61" fmla="*/ 160079 w 774549"/>
                <a:gd name="connsiteY61" fmla="*/ 410160 h 729261"/>
                <a:gd name="connsiteX62" fmla="*/ 147229 w 774549"/>
                <a:gd name="connsiteY62" fmla="*/ 404378 h 729261"/>
                <a:gd name="connsiteX63" fmla="*/ 145944 w 774549"/>
                <a:gd name="connsiteY63" fmla="*/ 402450 h 729261"/>
                <a:gd name="connsiteX64" fmla="*/ 145302 w 774549"/>
                <a:gd name="connsiteY64" fmla="*/ 399880 h 729261"/>
                <a:gd name="connsiteX65" fmla="*/ 142732 w 774549"/>
                <a:gd name="connsiteY65" fmla="*/ 360046 h 729261"/>
                <a:gd name="connsiteX66" fmla="*/ 152369 w 774549"/>
                <a:gd name="connsiteY66" fmla="*/ 346554 h 729261"/>
                <a:gd name="connsiteX67" fmla="*/ 153654 w 774549"/>
                <a:gd name="connsiteY67" fmla="*/ 329207 h 729261"/>
                <a:gd name="connsiteX68" fmla="*/ 138234 w 774549"/>
                <a:gd name="connsiteY68" fmla="*/ 336916 h 729261"/>
                <a:gd name="connsiteX69" fmla="*/ 123457 w 774549"/>
                <a:gd name="connsiteY69" fmla="*/ 345269 h 729261"/>
                <a:gd name="connsiteX70" fmla="*/ 99042 w 774549"/>
                <a:gd name="connsiteY70" fmla="*/ 347196 h 729261"/>
                <a:gd name="connsiteX71" fmla="*/ 82338 w 774549"/>
                <a:gd name="connsiteY71" fmla="*/ 331777 h 729261"/>
                <a:gd name="connsiteX72" fmla="*/ 82338 w 774549"/>
                <a:gd name="connsiteY72" fmla="*/ 315072 h 729261"/>
                <a:gd name="connsiteX73" fmla="*/ 93903 w 774549"/>
                <a:gd name="connsiteY73" fmla="*/ 288087 h 729261"/>
                <a:gd name="connsiteX74" fmla="*/ 118960 w 774549"/>
                <a:gd name="connsiteY74" fmla="*/ 282305 h 729261"/>
                <a:gd name="connsiteX75" fmla="*/ 149156 w 774549"/>
                <a:gd name="connsiteY75" fmla="*/ 281020 h 729261"/>
                <a:gd name="connsiteX76" fmla="*/ 171643 w 774549"/>
                <a:gd name="connsiteY76" fmla="*/ 276523 h 729261"/>
                <a:gd name="connsiteX77" fmla="*/ 193488 w 774549"/>
                <a:gd name="connsiteY77" fmla="*/ 259175 h 729261"/>
                <a:gd name="connsiteX78" fmla="*/ 199270 w 774549"/>
                <a:gd name="connsiteY78" fmla="*/ 248896 h 729261"/>
                <a:gd name="connsiteX79" fmla="*/ 177426 w 774549"/>
                <a:gd name="connsiteY79" fmla="*/ 218056 h 729261"/>
                <a:gd name="connsiteX80" fmla="*/ 158151 w 774549"/>
                <a:gd name="connsiteY80" fmla="*/ 198139 h 729261"/>
                <a:gd name="connsiteX81" fmla="*/ 148514 w 774549"/>
                <a:gd name="connsiteY81" fmla="*/ 180792 h 729261"/>
                <a:gd name="connsiteX82" fmla="*/ 133737 w 774549"/>
                <a:gd name="connsiteY82" fmla="*/ 161517 h 729261"/>
                <a:gd name="connsiteX83" fmla="*/ 110607 w 774549"/>
                <a:gd name="connsiteY83" fmla="*/ 142885 h 729261"/>
                <a:gd name="connsiteX84" fmla="*/ 96472 w 774549"/>
                <a:gd name="connsiteY84" fmla="*/ 112688 h 729261"/>
                <a:gd name="connsiteX85" fmla="*/ 74628 w 774549"/>
                <a:gd name="connsiteY85" fmla="*/ 84419 h 729261"/>
                <a:gd name="connsiteX86" fmla="*/ 53426 w 774549"/>
                <a:gd name="connsiteY86" fmla="*/ 81206 h 729261"/>
                <a:gd name="connsiteX87" fmla="*/ 20017 w 774549"/>
                <a:gd name="connsiteY87" fmla="*/ 85061 h 729261"/>
                <a:gd name="connsiteX88" fmla="*/ 10379 w 774549"/>
                <a:gd name="connsiteY88" fmla="*/ 99196 h 729261"/>
                <a:gd name="connsiteX89" fmla="*/ 5882 w 774549"/>
                <a:gd name="connsiteY89" fmla="*/ 104978 h 729261"/>
                <a:gd name="connsiteX90" fmla="*/ 742 w 774549"/>
                <a:gd name="connsiteY90" fmla="*/ 96626 h 729261"/>
                <a:gd name="connsiteX91" fmla="*/ 742 w 774549"/>
                <a:gd name="connsiteY91" fmla="*/ 79922 h 729261"/>
                <a:gd name="connsiteX92" fmla="*/ 13592 w 774549"/>
                <a:gd name="connsiteY92" fmla="*/ 46512 h 729261"/>
                <a:gd name="connsiteX93" fmla="*/ 14877 w 774549"/>
                <a:gd name="connsiteY93" fmla="*/ 30450 h 729261"/>
                <a:gd name="connsiteX94" fmla="*/ 17446 w 774549"/>
                <a:gd name="connsiteY94" fmla="*/ 18243 h 729261"/>
                <a:gd name="connsiteX95" fmla="*/ 34151 w 774549"/>
                <a:gd name="connsiteY95" fmla="*/ 3465 h 729261"/>
                <a:gd name="connsiteX96" fmla="*/ 39291 w 774549"/>
                <a:gd name="connsiteY96" fmla="*/ 896 h 729261"/>
                <a:gd name="connsiteX97" fmla="*/ 51498 w 774549"/>
                <a:gd name="connsiteY97" fmla="*/ 1538 h 729261"/>
                <a:gd name="connsiteX98" fmla="*/ 51498 w 774549"/>
                <a:gd name="connsiteY98" fmla="*/ 11175 h 729261"/>
                <a:gd name="connsiteX99" fmla="*/ 37364 w 774549"/>
                <a:gd name="connsiteY99" fmla="*/ 24025 h 729261"/>
                <a:gd name="connsiteX100" fmla="*/ 26441 w 774549"/>
                <a:gd name="connsiteY100" fmla="*/ 27238 h 729261"/>
                <a:gd name="connsiteX101" fmla="*/ 24514 w 774549"/>
                <a:gd name="connsiteY101" fmla="*/ 37517 h 729261"/>
                <a:gd name="connsiteX102" fmla="*/ 32866 w 774549"/>
                <a:gd name="connsiteY102" fmla="*/ 52295 h 729261"/>
                <a:gd name="connsiteX103" fmla="*/ 47001 w 774549"/>
                <a:gd name="connsiteY103" fmla="*/ 63859 h 729261"/>
                <a:gd name="connsiteX104" fmla="*/ 71415 w 774549"/>
                <a:gd name="connsiteY104" fmla="*/ 67714 h 729261"/>
                <a:gd name="connsiteX105" fmla="*/ 91333 w 774549"/>
                <a:gd name="connsiteY105" fmla="*/ 59362 h 729261"/>
                <a:gd name="connsiteX106" fmla="*/ 105467 w 774549"/>
                <a:gd name="connsiteY106" fmla="*/ 56792 h 729261"/>
                <a:gd name="connsiteX107" fmla="*/ 113177 w 774549"/>
                <a:gd name="connsiteY107" fmla="*/ 70284 h 729261"/>
                <a:gd name="connsiteX108" fmla="*/ 126027 w 774549"/>
                <a:gd name="connsiteY108" fmla="*/ 70284 h 729261"/>
                <a:gd name="connsiteX109" fmla="*/ 132452 w 774549"/>
                <a:gd name="connsiteY109" fmla="*/ 65144 h 729261"/>
                <a:gd name="connsiteX110" fmla="*/ 147229 w 774549"/>
                <a:gd name="connsiteY110" fmla="*/ 61289 h 729261"/>
                <a:gd name="connsiteX111" fmla="*/ 162006 w 774549"/>
                <a:gd name="connsiteY111" fmla="*/ 65787 h 729261"/>
                <a:gd name="connsiteX112" fmla="*/ 183208 w 774549"/>
                <a:gd name="connsiteY112" fmla="*/ 67714 h 729261"/>
                <a:gd name="connsiteX113" fmla="*/ 206338 w 774549"/>
                <a:gd name="connsiteY113" fmla="*/ 70927 h 729261"/>
                <a:gd name="connsiteX114" fmla="*/ 222400 w 774549"/>
                <a:gd name="connsiteY114" fmla="*/ 82491 h 729261"/>
                <a:gd name="connsiteX115" fmla="*/ 248742 w 774549"/>
                <a:gd name="connsiteY115" fmla="*/ 86989 h 729261"/>
                <a:gd name="connsiteX116" fmla="*/ 264162 w 774549"/>
                <a:gd name="connsiteY116" fmla="*/ 104336 h 729261"/>
                <a:gd name="connsiteX117" fmla="*/ 291146 w 774549"/>
                <a:gd name="connsiteY117" fmla="*/ 108191 h 729261"/>
                <a:gd name="connsiteX118" fmla="*/ 300783 w 774549"/>
                <a:gd name="connsiteY118" fmla="*/ 98554 h 729261"/>
                <a:gd name="connsiteX119" fmla="*/ 327125 w 774549"/>
                <a:gd name="connsiteY119" fmla="*/ 91486 h 729261"/>
                <a:gd name="connsiteX120" fmla="*/ 312348 w 774549"/>
                <a:gd name="connsiteY120" fmla="*/ 104336 h 729261"/>
                <a:gd name="connsiteX121" fmla="*/ 318773 w 774549"/>
                <a:gd name="connsiteY121" fmla="*/ 109476 h 729261"/>
                <a:gd name="connsiteX122" fmla="*/ 329695 w 774549"/>
                <a:gd name="connsiteY122" fmla="*/ 103051 h 729261"/>
                <a:gd name="connsiteX123" fmla="*/ 348970 w 774549"/>
                <a:gd name="connsiteY123" fmla="*/ 102409 h 729261"/>
                <a:gd name="connsiteX124" fmla="*/ 368245 w 774549"/>
                <a:gd name="connsiteY124" fmla="*/ 104336 h 729261"/>
                <a:gd name="connsiteX125" fmla="*/ 378524 w 774549"/>
                <a:gd name="connsiteY125" fmla="*/ 101766 h 729261"/>
                <a:gd name="connsiteX126" fmla="*/ 399084 w 774549"/>
                <a:gd name="connsiteY126" fmla="*/ 110761 h 729261"/>
                <a:gd name="connsiteX127" fmla="*/ 415146 w 774549"/>
                <a:gd name="connsiteY127" fmla="*/ 115258 h 729261"/>
                <a:gd name="connsiteX128" fmla="*/ 433778 w 774549"/>
                <a:gd name="connsiteY128" fmla="*/ 115901 h 729261"/>
                <a:gd name="connsiteX129" fmla="*/ 444701 w 774549"/>
                <a:gd name="connsiteY129" fmla="*/ 111403 h 729261"/>
                <a:gd name="connsiteX130" fmla="*/ 447913 w 774549"/>
                <a:gd name="connsiteY130" fmla="*/ 121041 h 729261"/>
                <a:gd name="connsiteX131" fmla="*/ 463333 w 774549"/>
                <a:gd name="connsiteY131" fmla="*/ 134533 h 729261"/>
                <a:gd name="connsiteX132" fmla="*/ 467830 w 774549"/>
                <a:gd name="connsiteY132" fmla="*/ 149953 h 729261"/>
                <a:gd name="connsiteX133" fmla="*/ 471043 w 774549"/>
                <a:gd name="connsiteY133" fmla="*/ 159590 h 729261"/>
                <a:gd name="connsiteX134" fmla="*/ 477467 w 774549"/>
                <a:gd name="connsiteY134" fmla="*/ 174367 h 729261"/>
                <a:gd name="connsiteX135" fmla="*/ 478753 w 774549"/>
                <a:gd name="connsiteY135" fmla="*/ 201352 h 729261"/>
                <a:gd name="connsiteX136" fmla="*/ 472970 w 774549"/>
                <a:gd name="connsiteY136" fmla="*/ 216771 h 729261"/>
                <a:gd name="connsiteX137" fmla="*/ 468473 w 774549"/>
                <a:gd name="connsiteY137" fmla="*/ 227694 h 729261"/>
                <a:gd name="connsiteX138" fmla="*/ 453695 w 774549"/>
                <a:gd name="connsiteY138" fmla="*/ 241186 h 729261"/>
                <a:gd name="connsiteX139" fmla="*/ 433778 w 774549"/>
                <a:gd name="connsiteY139" fmla="*/ 250181 h 729261"/>
                <a:gd name="connsiteX140" fmla="*/ 424141 w 774549"/>
                <a:gd name="connsiteY140" fmla="*/ 258533 h 729261"/>
                <a:gd name="connsiteX141" fmla="*/ 441488 w 774549"/>
                <a:gd name="connsiteY141" fmla="*/ 261103 h 729261"/>
                <a:gd name="connsiteX142" fmla="*/ 454338 w 774549"/>
                <a:gd name="connsiteY142" fmla="*/ 253393 h 729261"/>
                <a:gd name="connsiteX143" fmla="*/ 474255 w 774549"/>
                <a:gd name="connsiteY143" fmla="*/ 251466 h 729261"/>
                <a:gd name="connsiteX144" fmla="*/ 485177 w 774549"/>
                <a:gd name="connsiteY144" fmla="*/ 246968 h 729261"/>
                <a:gd name="connsiteX145" fmla="*/ 510877 w 774549"/>
                <a:gd name="connsiteY145" fmla="*/ 248896 h 729261"/>
                <a:gd name="connsiteX146" fmla="*/ 523084 w 774549"/>
                <a:gd name="connsiteY146" fmla="*/ 255321 h 729261"/>
                <a:gd name="connsiteX147" fmla="*/ 550068 w 774549"/>
                <a:gd name="connsiteY147" fmla="*/ 261745 h 729261"/>
                <a:gd name="connsiteX148" fmla="*/ 580265 w 774549"/>
                <a:gd name="connsiteY148" fmla="*/ 272668 h 729261"/>
                <a:gd name="connsiteX149" fmla="*/ 607250 w 774549"/>
                <a:gd name="connsiteY149" fmla="*/ 288087 h 729261"/>
                <a:gd name="connsiteX150" fmla="*/ 635519 w 774549"/>
                <a:gd name="connsiteY150" fmla="*/ 301580 h 729261"/>
                <a:gd name="connsiteX151" fmla="*/ 659291 w 774549"/>
                <a:gd name="connsiteY151" fmla="*/ 318927 h 729261"/>
                <a:gd name="connsiteX152" fmla="*/ 688203 w 774549"/>
                <a:gd name="connsiteY152" fmla="*/ 315072 h 729261"/>
                <a:gd name="connsiteX153" fmla="*/ 704908 w 774549"/>
                <a:gd name="connsiteY153" fmla="*/ 295155 h 729261"/>
                <a:gd name="connsiteX154" fmla="*/ 734462 w 774549"/>
                <a:gd name="connsiteY154" fmla="*/ 283590 h 729261"/>
                <a:gd name="connsiteX155" fmla="*/ 754380 w 774549"/>
                <a:gd name="connsiteY155" fmla="*/ 290657 h 729261"/>
                <a:gd name="connsiteX156" fmla="*/ 769157 w 774549"/>
                <a:gd name="connsiteY156" fmla="*/ 289372 h 729261"/>
                <a:gd name="connsiteX157" fmla="*/ 772369 w 774549"/>
                <a:gd name="connsiteY157" fmla="*/ 296440 h 729261"/>
                <a:gd name="connsiteX158" fmla="*/ 755664 w 774549"/>
                <a:gd name="connsiteY158" fmla="*/ 306077 h 729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774549" h="729261">
                  <a:moveTo>
                    <a:pt x="755664" y="306077"/>
                  </a:moveTo>
                  <a:cubicBezTo>
                    <a:pt x="756307" y="309932"/>
                    <a:pt x="758235" y="311217"/>
                    <a:pt x="758877" y="313787"/>
                  </a:cubicBezTo>
                  <a:cubicBezTo>
                    <a:pt x="758877" y="316357"/>
                    <a:pt x="762732" y="339486"/>
                    <a:pt x="763374" y="345911"/>
                  </a:cubicBezTo>
                  <a:cubicBezTo>
                    <a:pt x="764017" y="352336"/>
                    <a:pt x="766587" y="353621"/>
                    <a:pt x="765944" y="360046"/>
                  </a:cubicBezTo>
                  <a:cubicBezTo>
                    <a:pt x="765302" y="366471"/>
                    <a:pt x="763374" y="374823"/>
                    <a:pt x="758877" y="377393"/>
                  </a:cubicBezTo>
                  <a:cubicBezTo>
                    <a:pt x="755022" y="379963"/>
                    <a:pt x="757592" y="375466"/>
                    <a:pt x="748597" y="381891"/>
                  </a:cubicBezTo>
                  <a:cubicBezTo>
                    <a:pt x="739602" y="387673"/>
                    <a:pt x="737675" y="386388"/>
                    <a:pt x="731892" y="392813"/>
                  </a:cubicBezTo>
                  <a:cubicBezTo>
                    <a:pt x="726752" y="399238"/>
                    <a:pt x="717758" y="406305"/>
                    <a:pt x="711975" y="412087"/>
                  </a:cubicBezTo>
                  <a:cubicBezTo>
                    <a:pt x="706836" y="417870"/>
                    <a:pt x="699126" y="417870"/>
                    <a:pt x="692701" y="417870"/>
                  </a:cubicBezTo>
                  <a:cubicBezTo>
                    <a:pt x="685633" y="417870"/>
                    <a:pt x="676639" y="419797"/>
                    <a:pt x="675996" y="422367"/>
                  </a:cubicBezTo>
                  <a:cubicBezTo>
                    <a:pt x="675996" y="424937"/>
                    <a:pt x="663789" y="435217"/>
                    <a:pt x="674069" y="444854"/>
                  </a:cubicBezTo>
                  <a:cubicBezTo>
                    <a:pt x="683706" y="454492"/>
                    <a:pt x="688203" y="457704"/>
                    <a:pt x="696556" y="457704"/>
                  </a:cubicBezTo>
                  <a:cubicBezTo>
                    <a:pt x="704908" y="457704"/>
                    <a:pt x="710690" y="456419"/>
                    <a:pt x="711333" y="460916"/>
                  </a:cubicBezTo>
                  <a:cubicBezTo>
                    <a:pt x="711975" y="464129"/>
                    <a:pt x="708763" y="469269"/>
                    <a:pt x="710048" y="471196"/>
                  </a:cubicBezTo>
                  <a:lnTo>
                    <a:pt x="710048" y="471196"/>
                  </a:lnTo>
                  <a:cubicBezTo>
                    <a:pt x="710690" y="471839"/>
                    <a:pt x="713903" y="480191"/>
                    <a:pt x="711975" y="483404"/>
                  </a:cubicBezTo>
                  <a:cubicBezTo>
                    <a:pt x="710048" y="486616"/>
                    <a:pt x="684991" y="498181"/>
                    <a:pt x="683063" y="500108"/>
                  </a:cubicBezTo>
                  <a:cubicBezTo>
                    <a:pt x="681778" y="501393"/>
                    <a:pt x="672141" y="516170"/>
                    <a:pt x="672141" y="523880"/>
                  </a:cubicBezTo>
                  <a:cubicBezTo>
                    <a:pt x="672141" y="531590"/>
                    <a:pt x="681136" y="553435"/>
                    <a:pt x="681136" y="553435"/>
                  </a:cubicBezTo>
                  <a:cubicBezTo>
                    <a:pt x="681136" y="553435"/>
                    <a:pt x="694628" y="588129"/>
                    <a:pt x="701053" y="588129"/>
                  </a:cubicBezTo>
                  <a:cubicBezTo>
                    <a:pt x="707478" y="588129"/>
                    <a:pt x="717115" y="582347"/>
                    <a:pt x="724183" y="588129"/>
                  </a:cubicBezTo>
                  <a:cubicBezTo>
                    <a:pt x="730607" y="593269"/>
                    <a:pt x="744742" y="606119"/>
                    <a:pt x="737032" y="615113"/>
                  </a:cubicBezTo>
                  <a:cubicBezTo>
                    <a:pt x="735747" y="617041"/>
                    <a:pt x="733820" y="618968"/>
                    <a:pt x="731892" y="621538"/>
                  </a:cubicBezTo>
                  <a:cubicBezTo>
                    <a:pt x="725468" y="629891"/>
                    <a:pt x="719043" y="638885"/>
                    <a:pt x="719043" y="638885"/>
                  </a:cubicBezTo>
                  <a:lnTo>
                    <a:pt x="705550" y="642740"/>
                  </a:lnTo>
                  <a:cubicBezTo>
                    <a:pt x="705550" y="642740"/>
                    <a:pt x="697841" y="658803"/>
                    <a:pt x="695271" y="665870"/>
                  </a:cubicBezTo>
                  <a:cubicBezTo>
                    <a:pt x="692058" y="672937"/>
                    <a:pt x="672784" y="682575"/>
                    <a:pt x="672141" y="683217"/>
                  </a:cubicBezTo>
                  <a:cubicBezTo>
                    <a:pt x="671499" y="684502"/>
                    <a:pt x="647727" y="683217"/>
                    <a:pt x="646442" y="693497"/>
                  </a:cubicBezTo>
                  <a:cubicBezTo>
                    <a:pt x="645157" y="701849"/>
                    <a:pt x="644514" y="718554"/>
                    <a:pt x="649654" y="724979"/>
                  </a:cubicBezTo>
                  <a:cubicBezTo>
                    <a:pt x="647727" y="726264"/>
                    <a:pt x="645799" y="726906"/>
                    <a:pt x="645157" y="727549"/>
                  </a:cubicBezTo>
                  <a:cubicBezTo>
                    <a:pt x="641944" y="731404"/>
                    <a:pt x="625240" y="727549"/>
                    <a:pt x="625240" y="727549"/>
                  </a:cubicBezTo>
                  <a:cubicBezTo>
                    <a:pt x="625240" y="727549"/>
                    <a:pt x="595043" y="721124"/>
                    <a:pt x="587333" y="719196"/>
                  </a:cubicBezTo>
                  <a:cubicBezTo>
                    <a:pt x="581550" y="717911"/>
                    <a:pt x="568058" y="714057"/>
                    <a:pt x="559063" y="706989"/>
                  </a:cubicBezTo>
                  <a:cubicBezTo>
                    <a:pt x="557136" y="705704"/>
                    <a:pt x="555851" y="703777"/>
                    <a:pt x="554566" y="701849"/>
                  </a:cubicBezTo>
                  <a:cubicBezTo>
                    <a:pt x="546856" y="691569"/>
                    <a:pt x="544929" y="684502"/>
                    <a:pt x="540431" y="678077"/>
                  </a:cubicBezTo>
                  <a:cubicBezTo>
                    <a:pt x="535934" y="671652"/>
                    <a:pt x="524369" y="648523"/>
                    <a:pt x="524369" y="641455"/>
                  </a:cubicBezTo>
                  <a:cubicBezTo>
                    <a:pt x="524369" y="634388"/>
                    <a:pt x="532721" y="627321"/>
                    <a:pt x="532079" y="615113"/>
                  </a:cubicBezTo>
                  <a:cubicBezTo>
                    <a:pt x="531436" y="602906"/>
                    <a:pt x="516659" y="583632"/>
                    <a:pt x="498027" y="584917"/>
                  </a:cubicBezTo>
                  <a:cubicBezTo>
                    <a:pt x="479395" y="585559"/>
                    <a:pt x="478110" y="597124"/>
                    <a:pt x="458835" y="612544"/>
                  </a:cubicBezTo>
                  <a:cubicBezTo>
                    <a:pt x="439561" y="627963"/>
                    <a:pt x="431851" y="626036"/>
                    <a:pt x="426068" y="627321"/>
                  </a:cubicBezTo>
                  <a:cubicBezTo>
                    <a:pt x="420286" y="627963"/>
                    <a:pt x="409364" y="620253"/>
                    <a:pt x="407436" y="619611"/>
                  </a:cubicBezTo>
                  <a:cubicBezTo>
                    <a:pt x="405509" y="618968"/>
                    <a:pt x="401654" y="632461"/>
                    <a:pt x="399084" y="636316"/>
                  </a:cubicBezTo>
                  <a:cubicBezTo>
                    <a:pt x="397157" y="638885"/>
                    <a:pt x="396514" y="645953"/>
                    <a:pt x="395872" y="650450"/>
                  </a:cubicBezTo>
                  <a:cubicBezTo>
                    <a:pt x="395229" y="650450"/>
                    <a:pt x="395229" y="650450"/>
                    <a:pt x="394587" y="650450"/>
                  </a:cubicBezTo>
                  <a:cubicBezTo>
                    <a:pt x="387519" y="649808"/>
                    <a:pt x="380452" y="649165"/>
                    <a:pt x="376597" y="646595"/>
                  </a:cubicBezTo>
                  <a:cubicBezTo>
                    <a:pt x="370172" y="642740"/>
                    <a:pt x="356680" y="631818"/>
                    <a:pt x="350897" y="624108"/>
                  </a:cubicBezTo>
                  <a:cubicBezTo>
                    <a:pt x="345115" y="616398"/>
                    <a:pt x="341903" y="610616"/>
                    <a:pt x="339975" y="602906"/>
                  </a:cubicBezTo>
                  <a:cubicBezTo>
                    <a:pt x="338048" y="595196"/>
                    <a:pt x="336763" y="591341"/>
                    <a:pt x="336120" y="590056"/>
                  </a:cubicBezTo>
                  <a:cubicBezTo>
                    <a:pt x="335478" y="588771"/>
                    <a:pt x="328410" y="581062"/>
                    <a:pt x="321986" y="575922"/>
                  </a:cubicBezTo>
                  <a:cubicBezTo>
                    <a:pt x="316203" y="570782"/>
                    <a:pt x="309778" y="565642"/>
                    <a:pt x="306566" y="555362"/>
                  </a:cubicBezTo>
                  <a:cubicBezTo>
                    <a:pt x="303353" y="545082"/>
                    <a:pt x="290504" y="527093"/>
                    <a:pt x="285364" y="523238"/>
                  </a:cubicBezTo>
                  <a:cubicBezTo>
                    <a:pt x="280224" y="519383"/>
                    <a:pt x="257094" y="511030"/>
                    <a:pt x="250027" y="509103"/>
                  </a:cubicBezTo>
                  <a:cubicBezTo>
                    <a:pt x="242960" y="507176"/>
                    <a:pt x="212120" y="506533"/>
                    <a:pt x="206980" y="506533"/>
                  </a:cubicBezTo>
                  <a:cubicBezTo>
                    <a:pt x="201840" y="506533"/>
                    <a:pt x="181281" y="510388"/>
                    <a:pt x="174213" y="501393"/>
                  </a:cubicBezTo>
                  <a:cubicBezTo>
                    <a:pt x="167146" y="492398"/>
                    <a:pt x="155581" y="470554"/>
                    <a:pt x="155581" y="469911"/>
                  </a:cubicBezTo>
                  <a:cubicBezTo>
                    <a:pt x="155581" y="468626"/>
                    <a:pt x="149799" y="440999"/>
                    <a:pt x="153011" y="439714"/>
                  </a:cubicBezTo>
                  <a:cubicBezTo>
                    <a:pt x="156866" y="438429"/>
                    <a:pt x="167789" y="442284"/>
                    <a:pt x="176141" y="446782"/>
                  </a:cubicBezTo>
                  <a:cubicBezTo>
                    <a:pt x="184493" y="451279"/>
                    <a:pt x="194773" y="457704"/>
                    <a:pt x="194773" y="448067"/>
                  </a:cubicBezTo>
                  <a:cubicBezTo>
                    <a:pt x="194773" y="438429"/>
                    <a:pt x="192846" y="432005"/>
                    <a:pt x="190918" y="421725"/>
                  </a:cubicBezTo>
                  <a:cubicBezTo>
                    <a:pt x="188991" y="411445"/>
                    <a:pt x="193488" y="401165"/>
                    <a:pt x="187706" y="400523"/>
                  </a:cubicBezTo>
                  <a:cubicBezTo>
                    <a:pt x="181923" y="399880"/>
                    <a:pt x="172286" y="401165"/>
                    <a:pt x="171001" y="403735"/>
                  </a:cubicBezTo>
                  <a:cubicBezTo>
                    <a:pt x="169716" y="406305"/>
                    <a:pt x="164576" y="410802"/>
                    <a:pt x="160079" y="410160"/>
                  </a:cubicBezTo>
                  <a:cubicBezTo>
                    <a:pt x="155581" y="409517"/>
                    <a:pt x="152369" y="412087"/>
                    <a:pt x="147229" y="404378"/>
                  </a:cubicBezTo>
                  <a:cubicBezTo>
                    <a:pt x="146586" y="403735"/>
                    <a:pt x="146586" y="403093"/>
                    <a:pt x="145944" y="402450"/>
                  </a:cubicBezTo>
                  <a:cubicBezTo>
                    <a:pt x="145302" y="401808"/>
                    <a:pt x="145302" y="401165"/>
                    <a:pt x="145302" y="399880"/>
                  </a:cubicBezTo>
                  <a:cubicBezTo>
                    <a:pt x="141447" y="388958"/>
                    <a:pt x="140162" y="365828"/>
                    <a:pt x="142732" y="360046"/>
                  </a:cubicBezTo>
                  <a:cubicBezTo>
                    <a:pt x="145944" y="353621"/>
                    <a:pt x="149799" y="352336"/>
                    <a:pt x="152369" y="346554"/>
                  </a:cubicBezTo>
                  <a:cubicBezTo>
                    <a:pt x="154939" y="340771"/>
                    <a:pt x="157509" y="329207"/>
                    <a:pt x="153654" y="329207"/>
                  </a:cubicBezTo>
                  <a:cubicBezTo>
                    <a:pt x="150441" y="329207"/>
                    <a:pt x="141447" y="333704"/>
                    <a:pt x="138234" y="336916"/>
                  </a:cubicBezTo>
                  <a:cubicBezTo>
                    <a:pt x="134379" y="340129"/>
                    <a:pt x="127954" y="342699"/>
                    <a:pt x="123457" y="345269"/>
                  </a:cubicBezTo>
                  <a:cubicBezTo>
                    <a:pt x="118960" y="347196"/>
                    <a:pt x="103540" y="349124"/>
                    <a:pt x="99042" y="347196"/>
                  </a:cubicBezTo>
                  <a:cubicBezTo>
                    <a:pt x="94545" y="345269"/>
                    <a:pt x="84908" y="340129"/>
                    <a:pt x="82338" y="331777"/>
                  </a:cubicBezTo>
                  <a:cubicBezTo>
                    <a:pt x="79768" y="323424"/>
                    <a:pt x="81053" y="319569"/>
                    <a:pt x="82338" y="315072"/>
                  </a:cubicBezTo>
                  <a:cubicBezTo>
                    <a:pt x="83623" y="310574"/>
                    <a:pt x="89405" y="290015"/>
                    <a:pt x="93903" y="288087"/>
                  </a:cubicBezTo>
                  <a:cubicBezTo>
                    <a:pt x="98400" y="286160"/>
                    <a:pt x="109965" y="283590"/>
                    <a:pt x="118960" y="282305"/>
                  </a:cubicBezTo>
                  <a:cubicBezTo>
                    <a:pt x="127954" y="281020"/>
                    <a:pt x="145302" y="281020"/>
                    <a:pt x="149156" y="281020"/>
                  </a:cubicBezTo>
                  <a:cubicBezTo>
                    <a:pt x="153011" y="281020"/>
                    <a:pt x="162006" y="284875"/>
                    <a:pt x="171643" y="276523"/>
                  </a:cubicBezTo>
                  <a:cubicBezTo>
                    <a:pt x="181281" y="268813"/>
                    <a:pt x="188991" y="263030"/>
                    <a:pt x="193488" y="259175"/>
                  </a:cubicBezTo>
                  <a:cubicBezTo>
                    <a:pt x="197985" y="255321"/>
                    <a:pt x="201840" y="255321"/>
                    <a:pt x="199270" y="248896"/>
                  </a:cubicBezTo>
                  <a:cubicBezTo>
                    <a:pt x="196701" y="242471"/>
                    <a:pt x="185778" y="225766"/>
                    <a:pt x="177426" y="218056"/>
                  </a:cubicBezTo>
                  <a:cubicBezTo>
                    <a:pt x="169074" y="210346"/>
                    <a:pt x="161364" y="205207"/>
                    <a:pt x="158151" y="198139"/>
                  </a:cubicBezTo>
                  <a:cubicBezTo>
                    <a:pt x="154939" y="191072"/>
                    <a:pt x="153654" y="187859"/>
                    <a:pt x="148514" y="180792"/>
                  </a:cubicBezTo>
                  <a:cubicBezTo>
                    <a:pt x="143374" y="173082"/>
                    <a:pt x="138234" y="167300"/>
                    <a:pt x="133737" y="161517"/>
                  </a:cubicBezTo>
                  <a:cubicBezTo>
                    <a:pt x="129239" y="156377"/>
                    <a:pt x="113177" y="146740"/>
                    <a:pt x="110607" y="142885"/>
                  </a:cubicBezTo>
                  <a:cubicBezTo>
                    <a:pt x="108037" y="138388"/>
                    <a:pt x="102897" y="124253"/>
                    <a:pt x="96472" y="112688"/>
                  </a:cubicBezTo>
                  <a:cubicBezTo>
                    <a:pt x="90048" y="101124"/>
                    <a:pt x="81053" y="86346"/>
                    <a:pt x="74628" y="84419"/>
                  </a:cubicBezTo>
                  <a:cubicBezTo>
                    <a:pt x="68845" y="82491"/>
                    <a:pt x="62421" y="80564"/>
                    <a:pt x="53426" y="81206"/>
                  </a:cubicBezTo>
                  <a:cubicBezTo>
                    <a:pt x="44431" y="81849"/>
                    <a:pt x="25156" y="81849"/>
                    <a:pt x="20017" y="85061"/>
                  </a:cubicBezTo>
                  <a:cubicBezTo>
                    <a:pt x="14877" y="88274"/>
                    <a:pt x="11022" y="95984"/>
                    <a:pt x="10379" y="99196"/>
                  </a:cubicBezTo>
                  <a:cubicBezTo>
                    <a:pt x="9737" y="101766"/>
                    <a:pt x="6524" y="104978"/>
                    <a:pt x="5882" y="104978"/>
                  </a:cubicBezTo>
                  <a:cubicBezTo>
                    <a:pt x="5239" y="104978"/>
                    <a:pt x="1384" y="104978"/>
                    <a:pt x="742" y="96626"/>
                  </a:cubicBezTo>
                  <a:cubicBezTo>
                    <a:pt x="99" y="88274"/>
                    <a:pt x="-543" y="84419"/>
                    <a:pt x="742" y="79922"/>
                  </a:cubicBezTo>
                  <a:cubicBezTo>
                    <a:pt x="1384" y="76067"/>
                    <a:pt x="12949" y="54222"/>
                    <a:pt x="13592" y="46512"/>
                  </a:cubicBezTo>
                  <a:cubicBezTo>
                    <a:pt x="14234" y="38160"/>
                    <a:pt x="14877" y="34947"/>
                    <a:pt x="14877" y="30450"/>
                  </a:cubicBezTo>
                  <a:cubicBezTo>
                    <a:pt x="14877" y="25953"/>
                    <a:pt x="11664" y="27238"/>
                    <a:pt x="17446" y="18243"/>
                  </a:cubicBezTo>
                  <a:cubicBezTo>
                    <a:pt x="21944" y="11818"/>
                    <a:pt x="29011" y="9248"/>
                    <a:pt x="34151" y="3465"/>
                  </a:cubicBezTo>
                  <a:cubicBezTo>
                    <a:pt x="35436" y="2181"/>
                    <a:pt x="37364" y="1538"/>
                    <a:pt x="39291" y="896"/>
                  </a:cubicBezTo>
                  <a:cubicBezTo>
                    <a:pt x="43146" y="-389"/>
                    <a:pt x="48928" y="-389"/>
                    <a:pt x="51498" y="1538"/>
                  </a:cubicBezTo>
                  <a:cubicBezTo>
                    <a:pt x="55353" y="3465"/>
                    <a:pt x="53426" y="9248"/>
                    <a:pt x="51498" y="11175"/>
                  </a:cubicBezTo>
                  <a:cubicBezTo>
                    <a:pt x="47643" y="16315"/>
                    <a:pt x="39291" y="23383"/>
                    <a:pt x="37364" y="24025"/>
                  </a:cubicBezTo>
                  <a:cubicBezTo>
                    <a:pt x="35436" y="24668"/>
                    <a:pt x="26441" y="27238"/>
                    <a:pt x="26441" y="27238"/>
                  </a:cubicBezTo>
                  <a:cubicBezTo>
                    <a:pt x="26441" y="27238"/>
                    <a:pt x="24514" y="33020"/>
                    <a:pt x="24514" y="37517"/>
                  </a:cubicBezTo>
                  <a:cubicBezTo>
                    <a:pt x="24514" y="42015"/>
                    <a:pt x="29011" y="49082"/>
                    <a:pt x="32866" y="52295"/>
                  </a:cubicBezTo>
                  <a:cubicBezTo>
                    <a:pt x="36721" y="55507"/>
                    <a:pt x="39291" y="61289"/>
                    <a:pt x="47001" y="63859"/>
                  </a:cubicBezTo>
                  <a:cubicBezTo>
                    <a:pt x="54711" y="66429"/>
                    <a:pt x="67561" y="68357"/>
                    <a:pt x="71415" y="67714"/>
                  </a:cubicBezTo>
                  <a:cubicBezTo>
                    <a:pt x="75913" y="67072"/>
                    <a:pt x="88120" y="60647"/>
                    <a:pt x="91333" y="59362"/>
                  </a:cubicBezTo>
                  <a:cubicBezTo>
                    <a:pt x="94545" y="58077"/>
                    <a:pt x="102897" y="53580"/>
                    <a:pt x="105467" y="56792"/>
                  </a:cubicBezTo>
                  <a:cubicBezTo>
                    <a:pt x="107395" y="60004"/>
                    <a:pt x="109322" y="68999"/>
                    <a:pt x="113177" y="70284"/>
                  </a:cubicBezTo>
                  <a:cubicBezTo>
                    <a:pt x="117032" y="70927"/>
                    <a:pt x="123457" y="68999"/>
                    <a:pt x="126027" y="70284"/>
                  </a:cubicBezTo>
                  <a:cubicBezTo>
                    <a:pt x="128597" y="71569"/>
                    <a:pt x="131809" y="67072"/>
                    <a:pt x="132452" y="65144"/>
                  </a:cubicBezTo>
                  <a:cubicBezTo>
                    <a:pt x="133737" y="63217"/>
                    <a:pt x="142089" y="60647"/>
                    <a:pt x="147229" y="61289"/>
                  </a:cubicBezTo>
                  <a:cubicBezTo>
                    <a:pt x="153011" y="61932"/>
                    <a:pt x="158151" y="65144"/>
                    <a:pt x="162006" y="65787"/>
                  </a:cubicBezTo>
                  <a:cubicBezTo>
                    <a:pt x="165861" y="67072"/>
                    <a:pt x="177426" y="67714"/>
                    <a:pt x="183208" y="67714"/>
                  </a:cubicBezTo>
                  <a:cubicBezTo>
                    <a:pt x="188348" y="67714"/>
                    <a:pt x="200555" y="65787"/>
                    <a:pt x="206338" y="70927"/>
                  </a:cubicBezTo>
                  <a:cubicBezTo>
                    <a:pt x="212120" y="76067"/>
                    <a:pt x="220473" y="81206"/>
                    <a:pt x="222400" y="82491"/>
                  </a:cubicBezTo>
                  <a:cubicBezTo>
                    <a:pt x="224327" y="83776"/>
                    <a:pt x="246172" y="85061"/>
                    <a:pt x="248742" y="86989"/>
                  </a:cubicBezTo>
                  <a:cubicBezTo>
                    <a:pt x="251312" y="88274"/>
                    <a:pt x="259664" y="98554"/>
                    <a:pt x="264162" y="104336"/>
                  </a:cubicBezTo>
                  <a:cubicBezTo>
                    <a:pt x="268659" y="110118"/>
                    <a:pt x="287291" y="111403"/>
                    <a:pt x="291146" y="108191"/>
                  </a:cubicBezTo>
                  <a:cubicBezTo>
                    <a:pt x="295001" y="104978"/>
                    <a:pt x="296286" y="101124"/>
                    <a:pt x="300783" y="98554"/>
                  </a:cubicBezTo>
                  <a:cubicBezTo>
                    <a:pt x="305281" y="95984"/>
                    <a:pt x="327768" y="88274"/>
                    <a:pt x="327125" y="91486"/>
                  </a:cubicBezTo>
                  <a:cubicBezTo>
                    <a:pt x="326483" y="94699"/>
                    <a:pt x="312348" y="101124"/>
                    <a:pt x="312348" y="104336"/>
                  </a:cubicBezTo>
                  <a:cubicBezTo>
                    <a:pt x="312348" y="107548"/>
                    <a:pt x="314918" y="112046"/>
                    <a:pt x="318773" y="109476"/>
                  </a:cubicBezTo>
                  <a:cubicBezTo>
                    <a:pt x="323271" y="106263"/>
                    <a:pt x="329695" y="103051"/>
                    <a:pt x="329695" y="103051"/>
                  </a:cubicBezTo>
                  <a:cubicBezTo>
                    <a:pt x="329695" y="103051"/>
                    <a:pt x="341260" y="101766"/>
                    <a:pt x="348970" y="102409"/>
                  </a:cubicBezTo>
                  <a:cubicBezTo>
                    <a:pt x="357322" y="103051"/>
                    <a:pt x="367602" y="104336"/>
                    <a:pt x="368245" y="104336"/>
                  </a:cubicBezTo>
                  <a:cubicBezTo>
                    <a:pt x="368887" y="104336"/>
                    <a:pt x="375954" y="101124"/>
                    <a:pt x="378524" y="101766"/>
                  </a:cubicBezTo>
                  <a:cubicBezTo>
                    <a:pt x="381737" y="102409"/>
                    <a:pt x="395872" y="108191"/>
                    <a:pt x="399084" y="110761"/>
                  </a:cubicBezTo>
                  <a:cubicBezTo>
                    <a:pt x="401654" y="113331"/>
                    <a:pt x="415146" y="115258"/>
                    <a:pt x="415146" y="115258"/>
                  </a:cubicBezTo>
                  <a:cubicBezTo>
                    <a:pt x="415146" y="115258"/>
                    <a:pt x="428638" y="117828"/>
                    <a:pt x="433778" y="115901"/>
                  </a:cubicBezTo>
                  <a:cubicBezTo>
                    <a:pt x="439561" y="113973"/>
                    <a:pt x="442131" y="107548"/>
                    <a:pt x="444701" y="111403"/>
                  </a:cubicBezTo>
                  <a:cubicBezTo>
                    <a:pt x="446628" y="115258"/>
                    <a:pt x="442773" y="117828"/>
                    <a:pt x="447913" y="121041"/>
                  </a:cubicBezTo>
                  <a:cubicBezTo>
                    <a:pt x="453053" y="124896"/>
                    <a:pt x="463333" y="134533"/>
                    <a:pt x="463333" y="134533"/>
                  </a:cubicBezTo>
                  <a:cubicBezTo>
                    <a:pt x="463333" y="134533"/>
                    <a:pt x="467830" y="144813"/>
                    <a:pt x="467830" y="149953"/>
                  </a:cubicBezTo>
                  <a:cubicBezTo>
                    <a:pt x="468473" y="155092"/>
                    <a:pt x="469115" y="157020"/>
                    <a:pt x="471043" y="159590"/>
                  </a:cubicBezTo>
                  <a:cubicBezTo>
                    <a:pt x="472970" y="162802"/>
                    <a:pt x="476825" y="172440"/>
                    <a:pt x="477467" y="174367"/>
                  </a:cubicBezTo>
                  <a:cubicBezTo>
                    <a:pt x="478110" y="176295"/>
                    <a:pt x="483250" y="188502"/>
                    <a:pt x="478753" y="201352"/>
                  </a:cubicBezTo>
                  <a:cubicBezTo>
                    <a:pt x="474255" y="213559"/>
                    <a:pt x="473612" y="210989"/>
                    <a:pt x="472970" y="216771"/>
                  </a:cubicBezTo>
                  <a:cubicBezTo>
                    <a:pt x="472328" y="222554"/>
                    <a:pt x="471685" y="223839"/>
                    <a:pt x="468473" y="227694"/>
                  </a:cubicBezTo>
                  <a:cubicBezTo>
                    <a:pt x="465260" y="231548"/>
                    <a:pt x="462048" y="235403"/>
                    <a:pt x="453695" y="241186"/>
                  </a:cubicBezTo>
                  <a:cubicBezTo>
                    <a:pt x="444701" y="246968"/>
                    <a:pt x="438276" y="248896"/>
                    <a:pt x="433778" y="250181"/>
                  </a:cubicBezTo>
                  <a:cubicBezTo>
                    <a:pt x="429281" y="251466"/>
                    <a:pt x="421571" y="255321"/>
                    <a:pt x="424141" y="258533"/>
                  </a:cubicBezTo>
                  <a:cubicBezTo>
                    <a:pt x="426711" y="261745"/>
                    <a:pt x="434421" y="264315"/>
                    <a:pt x="441488" y="261103"/>
                  </a:cubicBezTo>
                  <a:cubicBezTo>
                    <a:pt x="448556" y="257890"/>
                    <a:pt x="454338" y="253393"/>
                    <a:pt x="454338" y="253393"/>
                  </a:cubicBezTo>
                  <a:cubicBezTo>
                    <a:pt x="454338" y="253393"/>
                    <a:pt x="472970" y="251466"/>
                    <a:pt x="474255" y="251466"/>
                  </a:cubicBezTo>
                  <a:cubicBezTo>
                    <a:pt x="475540" y="251466"/>
                    <a:pt x="478110" y="248896"/>
                    <a:pt x="485177" y="246968"/>
                  </a:cubicBezTo>
                  <a:cubicBezTo>
                    <a:pt x="492245" y="245683"/>
                    <a:pt x="507022" y="246968"/>
                    <a:pt x="510877" y="248896"/>
                  </a:cubicBezTo>
                  <a:cubicBezTo>
                    <a:pt x="514732" y="250823"/>
                    <a:pt x="522442" y="255321"/>
                    <a:pt x="523084" y="255321"/>
                  </a:cubicBezTo>
                  <a:cubicBezTo>
                    <a:pt x="523727" y="255963"/>
                    <a:pt x="532721" y="257248"/>
                    <a:pt x="550068" y="261745"/>
                  </a:cubicBezTo>
                  <a:cubicBezTo>
                    <a:pt x="567416" y="266243"/>
                    <a:pt x="569343" y="265600"/>
                    <a:pt x="580265" y="272668"/>
                  </a:cubicBezTo>
                  <a:cubicBezTo>
                    <a:pt x="591188" y="279735"/>
                    <a:pt x="603395" y="286802"/>
                    <a:pt x="607250" y="288087"/>
                  </a:cubicBezTo>
                  <a:cubicBezTo>
                    <a:pt x="610462" y="289372"/>
                    <a:pt x="622027" y="291300"/>
                    <a:pt x="635519" y="301580"/>
                  </a:cubicBezTo>
                  <a:cubicBezTo>
                    <a:pt x="649012" y="311859"/>
                    <a:pt x="646442" y="318927"/>
                    <a:pt x="659291" y="318927"/>
                  </a:cubicBezTo>
                  <a:cubicBezTo>
                    <a:pt x="672141" y="318927"/>
                    <a:pt x="681778" y="322139"/>
                    <a:pt x="688203" y="315072"/>
                  </a:cubicBezTo>
                  <a:cubicBezTo>
                    <a:pt x="694628" y="308005"/>
                    <a:pt x="695913" y="300937"/>
                    <a:pt x="704908" y="295155"/>
                  </a:cubicBezTo>
                  <a:cubicBezTo>
                    <a:pt x="713260" y="289372"/>
                    <a:pt x="731250" y="283590"/>
                    <a:pt x="734462" y="283590"/>
                  </a:cubicBezTo>
                  <a:cubicBezTo>
                    <a:pt x="737032" y="283590"/>
                    <a:pt x="746670" y="289372"/>
                    <a:pt x="754380" y="290657"/>
                  </a:cubicBezTo>
                  <a:cubicBezTo>
                    <a:pt x="762089" y="291300"/>
                    <a:pt x="765944" y="290015"/>
                    <a:pt x="769157" y="289372"/>
                  </a:cubicBezTo>
                  <a:cubicBezTo>
                    <a:pt x="772369" y="289372"/>
                    <a:pt x="777509" y="291300"/>
                    <a:pt x="772369" y="296440"/>
                  </a:cubicBezTo>
                  <a:cubicBezTo>
                    <a:pt x="764017" y="301580"/>
                    <a:pt x="755022" y="302222"/>
                    <a:pt x="755664" y="306077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 56">
              <a:extLst>
                <a:ext uri="{FF2B5EF4-FFF2-40B4-BE49-F238E27FC236}">
                  <a16:creationId xmlns:a16="http://schemas.microsoft.com/office/drawing/2014/main" id="{5888B55E-5CE0-2BEE-3371-1672414399BE}"/>
                </a:ext>
              </a:extLst>
            </p:cNvPr>
            <p:cNvSpPr/>
            <p:nvPr/>
          </p:nvSpPr>
          <p:spPr>
            <a:xfrm>
              <a:off x="2008512" y="2708821"/>
              <a:ext cx="1382632" cy="1137167"/>
            </a:xfrm>
            <a:custGeom>
              <a:avLst/>
              <a:gdLst>
                <a:gd name="connsiteX0" fmla="*/ 646342 w 1382632"/>
                <a:gd name="connsiteY0" fmla="*/ 362970 h 1137167"/>
                <a:gd name="connsiteX1" fmla="*/ 642487 w 1382632"/>
                <a:gd name="connsiteY1" fmla="*/ 371965 h 1137167"/>
                <a:gd name="connsiteX2" fmla="*/ 632850 w 1382632"/>
                <a:gd name="connsiteY2" fmla="*/ 378390 h 1137167"/>
                <a:gd name="connsiteX3" fmla="*/ 622570 w 1382632"/>
                <a:gd name="connsiteY3" fmla="*/ 380960 h 1137167"/>
                <a:gd name="connsiteX4" fmla="*/ 582736 w 1382632"/>
                <a:gd name="connsiteY4" fmla="*/ 370680 h 1137167"/>
                <a:gd name="connsiteX5" fmla="*/ 557679 w 1382632"/>
                <a:gd name="connsiteY5" fmla="*/ 339198 h 1137167"/>
                <a:gd name="connsiteX6" fmla="*/ 552539 w 1382632"/>
                <a:gd name="connsiteY6" fmla="*/ 329561 h 1137167"/>
                <a:gd name="connsiteX7" fmla="*/ 540332 w 1382632"/>
                <a:gd name="connsiteY7" fmla="*/ 319923 h 1137167"/>
                <a:gd name="connsiteX8" fmla="*/ 524912 w 1382632"/>
                <a:gd name="connsiteY8" fmla="*/ 312214 h 1137167"/>
                <a:gd name="connsiteX9" fmla="*/ 511420 w 1382632"/>
                <a:gd name="connsiteY9" fmla="*/ 304504 h 1137167"/>
                <a:gd name="connsiteX10" fmla="*/ 504353 w 1382632"/>
                <a:gd name="connsiteY10" fmla="*/ 291654 h 1137167"/>
                <a:gd name="connsiteX11" fmla="*/ 506923 w 1382632"/>
                <a:gd name="connsiteY11" fmla="*/ 285872 h 1137167"/>
                <a:gd name="connsiteX12" fmla="*/ 517845 w 1382632"/>
                <a:gd name="connsiteY12" fmla="*/ 288442 h 1137167"/>
                <a:gd name="connsiteX13" fmla="*/ 614860 w 1382632"/>
                <a:gd name="connsiteY13" fmla="*/ 316711 h 1137167"/>
                <a:gd name="connsiteX14" fmla="*/ 633493 w 1382632"/>
                <a:gd name="connsiteY14" fmla="*/ 318638 h 1137167"/>
                <a:gd name="connsiteX15" fmla="*/ 648912 w 1382632"/>
                <a:gd name="connsiteY15" fmla="*/ 338556 h 1137167"/>
                <a:gd name="connsiteX16" fmla="*/ 646342 w 1382632"/>
                <a:gd name="connsiteY16" fmla="*/ 362970 h 1137167"/>
                <a:gd name="connsiteX17" fmla="*/ 1369783 w 1382632"/>
                <a:gd name="connsiteY17" fmla="*/ 360400 h 1137167"/>
                <a:gd name="connsiteX18" fmla="*/ 1352436 w 1382632"/>
                <a:gd name="connsiteY18" fmla="*/ 353975 h 1137167"/>
                <a:gd name="connsiteX19" fmla="*/ 1336374 w 1382632"/>
                <a:gd name="connsiteY19" fmla="*/ 347550 h 1137167"/>
                <a:gd name="connsiteX20" fmla="*/ 1303607 w 1382632"/>
                <a:gd name="connsiteY20" fmla="*/ 356545 h 1137167"/>
                <a:gd name="connsiteX21" fmla="*/ 1289472 w 1382632"/>
                <a:gd name="connsiteY21" fmla="*/ 343053 h 1137167"/>
                <a:gd name="connsiteX22" fmla="*/ 1283690 w 1382632"/>
                <a:gd name="connsiteY22" fmla="*/ 325063 h 1137167"/>
                <a:gd name="connsiteX23" fmla="*/ 1277265 w 1382632"/>
                <a:gd name="connsiteY23" fmla="*/ 323778 h 1137167"/>
                <a:gd name="connsiteX24" fmla="*/ 1261203 w 1382632"/>
                <a:gd name="connsiteY24" fmla="*/ 313499 h 1137167"/>
                <a:gd name="connsiteX25" fmla="*/ 1248353 w 1382632"/>
                <a:gd name="connsiteY25" fmla="*/ 296151 h 1137167"/>
                <a:gd name="connsiteX26" fmla="*/ 1229078 w 1382632"/>
                <a:gd name="connsiteY26" fmla="*/ 280732 h 1137167"/>
                <a:gd name="connsiteX27" fmla="*/ 1214301 w 1382632"/>
                <a:gd name="connsiteY27" fmla="*/ 262100 h 1137167"/>
                <a:gd name="connsiteX28" fmla="*/ 1180249 w 1382632"/>
                <a:gd name="connsiteY28" fmla="*/ 232545 h 1137167"/>
                <a:gd name="connsiteX29" fmla="*/ 1157762 w 1382632"/>
                <a:gd name="connsiteY29" fmla="*/ 244110 h 1137167"/>
                <a:gd name="connsiteX30" fmla="*/ 1137203 w 1382632"/>
                <a:gd name="connsiteY30" fmla="*/ 233188 h 1137167"/>
                <a:gd name="connsiteX31" fmla="*/ 1111503 w 1382632"/>
                <a:gd name="connsiteY31" fmla="*/ 222908 h 1137167"/>
                <a:gd name="connsiteX32" fmla="*/ 1107006 w 1382632"/>
                <a:gd name="connsiteY32" fmla="*/ 220338 h 1137167"/>
                <a:gd name="connsiteX33" fmla="*/ 1102508 w 1382632"/>
                <a:gd name="connsiteY33" fmla="*/ 222908 h 1137167"/>
                <a:gd name="connsiteX34" fmla="*/ 1082591 w 1382632"/>
                <a:gd name="connsiteY34" fmla="*/ 222908 h 1137167"/>
                <a:gd name="connsiteX35" fmla="*/ 1044684 w 1382632"/>
                <a:gd name="connsiteY35" fmla="*/ 214556 h 1137167"/>
                <a:gd name="connsiteX36" fmla="*/ 1016415 w 1382632"/>
                <a:gd name="connsiteY36" fmla="*/ 202348 h 1137167"/>
                <a:gd name="connsiteX37" fmla="*/ 1001638 w 1382632"/>
                <a:gd name="connsiteY37" fmla="*/ 204276 h 1137167"/>
                <a:gd name="connsiteX38" fmla="*/ 974011 w 1382632"/>
                <a:gd name="connsiteY38" fmla="*/ 202348 h 1137167"/>
                <a:gd name="connsiteX39" fmla="*/ 952166 w 1382632"/>
                <a:gd name="connsiteY39" fmla="*/ 201706 h 1137167"/>
                <a:gd name="connsiteX40" fmla="*/ 929679 w 1382632"/>
                <a:gd name="connsiteY40" fmla="*/ 204276 h 1137167"/>
                <a:gd name="connsiteX41" fmla="*/ 921969 w 1382632"/>
                <a:gd name="connsiteY41" fmla="*/ 207488 h 1137167"/>
                <a:gd name="connsiteX42" fmla="*/ 891130 w 1382632"/>
                <a:gd name="connsiteY42" fmla="*/ 203633 h 1137167"/>
                <a:gd name="connsiteX43" fmla="*/ 869285 w 1382632"/>
                <a:gd name="connsiteY43" fmla="*/ 181789 h 1137167"/>
                <a:gd name="connsiteX44" fmla="*/ 857078 w 1382632"/>
                <a:gd name="connsiteY44" fmla="*/ 161229 h 1137167"/>
                <a:gd name="connsiteX45" fmla="*/ 853866 w 1382632"/>
                <a:gd name="connsiteY45" fmla="*/ 152234 h 1137167"/>
                <a:gd name="connsiteX46" fmla="*/ 851938 w 1382632"/>
                <a:gd name="connsiteY46" fmla="*/ 152234 h 1137167"/>
                <a:gd name="connsiteX47" fmla="*/ 830736 w 1382632"/>
                <a:gd name="connsiteY47" fmla="*/ 149022 h 1137167"/>
                <a:gd name="connsiteX48" fmla="*/ 806322 w 1382632"/>
                <a:gd name="connsiteY48" fmla="*/ 133602 h 1137167"/>
                <a:gd name="connsiteX49" fmla="*/ 788974 w 1382632"/>
                <a:gd name="connsiteY49" fmla="*/ 107260 h 1137167"/>
                <a:gd name="connsiteX50" fmla="*/ 775482 w 1382632"/>
                <a:gd name="connsiteY50" fmla="*/ 90555 h 1137167"/>
                <a:gd name="connsiteX51" fmla="*/ 767772 w 1382632"/>
                <a:gd name="connsiteY51" fmla="*/ 78991 h 1137167"/>
                <a:gd name="connsiteX52" fmla="*/ 751710 w 1382632"/>
                <a:gd name="connsiteY52" fmla="*/ 51364 h 1137167"/>
                <a:gd name="connsiteX53" fmla="*/ 729223 w 1382632"/>
                <a:gd name="connsiteY53" fmla="*/ 23094 h 1137167"/>
                <a:gd name="connsiteX54" fmla="*/ 715088 w 1382632"/>
                <a:gd name="connsiteY54" fmla="*/ 17312 h 1137167"/>
                <a:gd name="connsiteX55" fmla="*/ 679109 w 1382632"/>
                <a:gd name="connsiteY55" fmla="*/ 17954 h 1137167"/>
                <a:gd name="connsiteX56" fmla="*/ 655980 w 1382632"/>
                <a:gd name="connsiteY56" fmla="*/ 28234 h 1137167"/>
                <a:gd name="connsiteX57" fmla="*/ 628995 w 1382632"/>
                <a:gd name="connsiteY57" fmla="*/ 28234 h 1137167"/>
                <a:gd name="connsiteX58" fmla="*/ 594301 w 1382632"/>
                <a:gd name="connsiteY58" fmla="*/ 28877 h 1137167"/>
                <a:gd name="connsiteX59" fmla="*/ 578239 w 1382632"/>
                <a:gd name="connsiteY59" fmla="*/ 22452 h 1137167"/>
                <a:gd name="connsiteX60" fmla="*/ 567316 w 1382632"/>
                <a:gd name="connsiteY60" fmla="*/ 5747 h 1137167"/>
                <a:gd name="connsiteX61" fmla="*/ 558964 w 1382632"/>
                <a:gd name="connsiteY61" fmla="*/ 607 h 1137167"/>
                <a:gd name="connsiteX62" fmla="*/ 539047 w 1382632"/>
                <a:gd name="connsiteY62" fmla="*/ 12172 h 1137167"/>
                <a:gd name="connsiteX63" fmla="*/ 526840 w 1382632"/>
                <a:gd name="connsiteY63" fmla="*/ 39157 h 1137167"/>
                <a:gd name="connsiteX64" fmla="*/ 514632 w 1382632"/>
                <a:gd name="connsiteY64" fmla="*/ 71923 h 1137167"/>
                <a:gd name="connsiteX65" fmla="*/ 506280 w 1382632"/>
                <a:gd name="connsiteY65" fmla="*/ 91840 h 1137167"/>
                <a:gd name="connsiteX66" fmla="*/ 504353 w 1382632"/>
                <a:gd name="connsiteY66" fmla="*/ 106618 h 1137167"/>
                <a:gd name="connsiteX67" fmla="*/ 513990 w 1382632"/>
                <a:gd name="connsiteY67" fmla="*/ 121395 h 1137167"/>
                <a:gd name="connsiteX68" fmla="*/ 524270 w 1382632"/>
                <a:gd name="connsiteY68" fmla="*/ 134887 h 1137167"/>
                <a:gd name="connsiteX69" fmla="*/ 529410 w 1382632"/>
                <a:gd name="connsiteY69" fmla="*/ 153519 h 1137167"/>
                <a:gd name="connsiteX70" fmla="*/ 522342 w 1382632"/>
                <a:gd name="connsiteY70" fmla="*/ 161229 h 1137167"/>
                <a:gd name="connsiteX71" fmla="*/ 518487 w 1382632"/>
                <a:gd name="connsiteY71" fmla="*/ 150949 h 1137167"/>
                <a:gd name="connsiteX72" fmla="*/ 517202 w 1382632"/>
                <a:gd name="connsiteY72" fmla="*/ 149664 h 1137167"/>
                <a:gd name="connsiteX73" fmla="*/ 496643 w 1382632"/>
                <a:gd name="connsiteY73" fmla="*/ 136815 h 1137167"/>
                <a:gd name="connsiteX74" fmla="*/ 472228 w 1382632"/>
                <a:gd name="connsiteY74" fmla="*/ 120752 h 1137167"/>
                <a:gd name="connsiteX75" fmla="*/ 451669 w 1382632"/>
                <a:gd name="connsiteY75" fmla="*/ 123965 h 1137167"/>
                <a:gd name="connsiteX76" fmla="*/ 437534 w 1382632"/>
                <a:gd name="connsiteY76" fmla="*/ 134245 h 1137167"/>
                <a:gd name="connsiteX77" fmla="*/ 437534 w 1382632"/>
                <a:gd name="connsiteY77" fmla="*/ 153519 h 1137167"/>
                <a:gd name="connsiteX78" fmla="*/ 439461 w 1382632"/>
                <a:gd name="connsiteY78" fmla="*/ 168939 h 1137167"/>
                <a:gd name="connsiteX79" fmla="*/ 449741 w 1382632"/>
                <a:gd name="connsiteY79" fmla="*/ 170224 h 1137167"/>
                <a:gd name="connsiteX80" fmla="*/ 459378 w 1382632"/>
                <a:gd name="connsiteY80" fmla="*/ 163157 h 1137167"/>
                <a:gd name="connsiteX81" fmla="*/ 465161 w 1382632"/>
                <a:gd name="connsiteY81" fmla="*/ 181789 h 1137167"/>
                <a:gd name="connsiteX82" fmla="*/ 463233 w 1382632"/>
                <a:gd name="connsiteY82" fmla="*/ 195923 h 1137167"/>
                <a:gd name="connsiteX83" fmla="*/ 453596 w 1382632"/>
                <a:gd name="connsiteY83" fmla="*/ 206846 h 1137167"/>
                <a:gd name="connsiteX84" fmla="*/ 440746 w 1382632"/>
                <a:gd name="connsiteY84" fmla="*/ 215198 h 1137167"/>
                <a:gd name="connsiteX85" fmla="*/ 428539 w 1382632"/>
                <a:gd name="connsiteY85" fmla="*/ 215198 h 1137167"/>
                <a:gd name="connsiteX86" fmla="*/ 407337 w 1382632"/>
                <a:gd name="connsiteY86" fmla="*/ 202991 h 1137167"/>
                <a:gd name="connsiteX87" fmla="*/ 395130 w 1382632"/>
                <a:gd name="connsiteY87" fmla="*/ 182431 h 1137167"/>
                <a:gd name="connsiteX88" fmla="*/ 398342 w 1382632"/>
                <a:gd name="connsiteY88" fmla="*/ 171509 h 1137167"/>
                <a:gd name="connsiteX89" fmla="*/ 417617 w 1382632"/>
                <a:gd name="connsiteY89" fmla="*/ 165726 h 1137167"/>
                <a:gd name="connsiteX90" fmla="*/ 422114 w 1382632"/>
                <a:gd name="connsiteY90" fmla="*/ 145167 h 1137167"/>
                <a:gd name="connsiteX91" fmla="*/ 407979 w 1382632"/>
                <a:gd name="connsiteY91" fmla="*/ 132317 h 1137167"/>
                <a:gd name="connsiteX92" fmla="*/ 390632 w 1382632"/>
                <a:gd name="connsiteY92" fmla="*/ 109188 h 1137167"/>
                <a:gd name="connsiteX93" fmla="*/ 386135 w 1382632"/>
                <a:gd name="connsiteY93" fmla="*/ 86701 h 1137167"/>
                <a:gd name="connsiteX94" fmla="*/ 363648 w 1382632"/>
                <a:gd name="connsiteY94" fmla="*/ 78991 h 1137167"/>
                <a:gd name="connsiteX95" fmla="*/ 316746 w 1382632"/>
                <a:gd name="connsiteY95" fmla="*/ 78991 h 1137167"/>
                <a:gd name="connsiteX96" fmla="*/ 266632 w 1382632"/>
                <a:gd name="connsiteY96" fmla="*/ 89913 h 1137167"/>
                <a:gd name="connsiteX97" fmla="*/ 249285 w 1382632"/>
                <a:gd name="connsiteY97" fmla="*/ 96980 h 1137167"/>
                <a:gd name="connsiteX98" fmla="*/ 235793 w 1382632"/>
                <a:gd name="connsiteY98" fmla="*/ 87986 h 1137167"/>
                <a:gd name="connsiteX99" fmla="*/ 199814 w 1382632"/>
                <a:gd name="connsiteY99" fmla="*/ 86058 h 1137167"/>
                <a:gd name="connsiteX100" fmla="*/ 172829 w 1382632"/>
                <a:gd name="connsiteY100" fmla="*/ 91840 h 1137167"/>
                <a:gd name="connsiteX101" fmla="*/ 144560 w 1382632"/>
                <a:gd name="connsiteY101" fmla="*/ 114328 h 1137167"/>
                <a:gd name="connsiteX102" fmla="*/ 121430 w 1382632"/>
                <a:gd name="connsiteY102" fmla="*/ 140670 h 1137167"/>
                <a:gd name="connsiteX103" fmla="*/ 109865 w 1382632"/>
                <a:gd name="connsiteY103" fmla="*/ 157374 h 1137167"/>
                <a:gd name="connsiteX104" fmla="*/ 106653 w 1382632"/>
                <a:gd name="connsiteY104" fmla="*/ 184359 h 1137167"/>
                <a:gd name="connsiteX105" fmla="*/ 102156 w 1382632"/>
                <a:gd name="connsiteY105" fmla="*/ 204918 h 1137167"/>
                <a:gd name="connsiteX106" fmla="*/ 102798 w 1382632"/>
                <a:gd name="connsiteY106" fmla="*/ 221623 h 1137167"/>
                <a:gd name="connsiteX107" fmla="*/ 107938 w 1382632"/>
                <a:gd name="connsiteY107" fmla="*/ 228048 h 1137167"/>
                <a:gd name="connsiteX108" fmla="*/ 106653 w 1382632"/>
                <a:gd name="connsiteY108" fmla="*/ 240255 h 1137167"/>
                <a:gd name="connsiteX109" fmla="*/ 113720 w 1382632"/>
                <a:gd name="connsiteY109" fmla="*/ 242183 h 1137167"/>
                <a:gd name="connsiteX110" fmla="*/ 153555 w 1382632"/>
                <a:gd name="connsiteY110" fmla="*/ 241540 h 1137167"/>
                <a:gd name="connsiteX111" fmla="*/ 171544 w 1382632"/>
                <a:gd name="connsiteY111" fmla="*/ 242183 h 1137167"/>
                <a:gd name="connsiteX112" fmla="*/ 186321 w 1382632"/>
                <a:gd name="connsiteY112" fmla="*/ 251177 h 1137167"/>
                <a:gd name="connsiteX113" fmla="*/ 170902 w 1382632"/>
                <a:gd name="connsiteY113" fmla="*/ 250535 h 1137167"/>
                <a:gd name="connsiteX114" fmla="*/ 165119 w 1382632"/>
                <a:gd name="connsiteY114" fmla="*/ 255032 h 1137167"/>
                <a:gd name="connsiteX115" fmla="*/ 156767 w 1382632"/>
                <a:gd name="connsiteY115" fmla="*/ 265955 h 1137167"/>
                <a:gd name="connsiteX116" fmla="*/ 154197 w 1382632"/>
                <a:gd name="connsiteY116" fmla="*/ 296151 h 1137167"/>
                <a:gd name="connsiteX117" fmla="*/ 155482 w 1382632"/>
                <a:gd name="connsiteY117" fmla="*/ 369395 h 1137167"/>
                <a:gd name="connsiteX118" fmla="*/ 153555 w 1382632"/>
                <a:gd name="connsiteY118" fmla="*/ 393167 h 1137167"/>
                <a:gd name="connsiteX119" fmla="*/ 122715 w 1382632"/>
                <a:gd name="connsiteY119" fmla="*/ 441354 h 1137167"/>
                <a:gd name="connsiteX120" fmla="*/ 113720 w 1382632"/>
                <a:gd name="connsiteY120" fmla="*/ 459343 h 1137167"/>
                <a:gd name="connsiteX121" fmla="*/ 107938 w 1382632"/>
                <a:gd name="connsiteY121" fmla="*/ 494038 h 1137167"/>
                <a:gd name="connsiteX122" fmla="*/ 105368 w 1382632"/>
                <a:gd name="connsiteY122" fmla="*/ 532587 h 1137167"/>
                <a:gd name="connsiteX123" fmla="*/ 100228 w 1382632"/>
                <a:gd name="connsiteY123" fmla="*/ 542867 h 1137167"/>
                <a:gd name="connsiteX124" fmla="*/ 82881 w 1382632"/>
                <a:gd name="connsiteY124" fmla="*/ 540297 h 1137167"/>
                <a:gd name="connsiteX125" fmla="*/ 57181 w 1382632"/>
                <a:gd name="connsiteY125" fmla="*/ 537084 h 1137167"/>
                <a:gd name="connsiteX126" fmla="*/ 35979 w 1382632"/>
                <a:gd name="connsiteY126" fmla="*/ 529374 h 1137167"/>
                <a:gd name="connsiteX127" fmla="*/ 17347 w 1382632"/>
                <a:gd name="connsiteY127" fmla="*/ 532587 h 1137167"/>
                <a:gd name="connsiteX128" fmla="*/ 8995 w 1382632"/>
                <a:gd name="connsiteY128" fmla="*/ 544794 h 1137167"/>
                <a:gd name="connsiteX129" fmla="*/ 12850 w 1382632"/>
                <a:gd name="connsiteY129" fmla="*/ 558929 h 1137167"/>
                <a:gd name="connsiteX130" fmla="*/ 17990 w 1382632"/>
                <a:gd name="connsiteY130" fmla="*/ 573064 h 1137167"/>
                <a:gd name="connsiteX131" fmla="*/ 5140 w 1382632"/>
                <a:gd name="connsiteY131" fmla="*/ 571778 h 1137167"/>
                <a:gd name="connsiteX132" fmla="*/ 0 w 1382632"/>
                <a:gd name="connsiteY132" fmla="*/ 585271 h 1137167"/>
                <a:gd name="connsiteX133" fmla="*/ 1285 w 1382632"/>
                <a:gd name="connsiteY133" fmla="*/ 601975 h 1137167"/>
                <a:gd name="connsiteX134" fmla="*/ 13492 w 1382632"/>
                <a:gd name="connsiteY134" fmla="*/ 616753 h 1137167"/>
                <a:gd name="connsiteX135" fmla="*/ 37264 w 1382632"/>
                <a:gd name="connsiteY135" fmla="*/ 625747 h 1137167"/>
                <a:gd name="connsiteX136" fmla="*/ 57181 w 1382632"/>
                <a:gd name="connsiteY136" fmla="*/ 632815 h 1137167"/>
                <a:gd name="connsiteX137" fmla="*/ 71316 w 1382632"/>
                <a:gd name="connsiteY137" fmla="*/ 635385 h 1137167"/>
                <a:gd name="connsiteX138" fmla="*/ 80311 w 1382632"/>
                <a:gd name="connsiteY138" fmla="*/ 625747 h 1137167"/>
                <a:gd name="connsiteX139" fmla="*/ 87378 w 1382632"/>
                <a:gd name="connsiteY139" fmla="*/ 628317 h 1137167"/>
                <a:gd name="connsiteX140" fmla="*/ 97658 w 1382632"/>
                <a:gd name="connsiteY140" fmla="*/ 644380 h 1137167"/>
                <a:gd name="connsiteX141" fmla="*/ 107938 w 1382632"/>
                <a:gd name="connsiteY141" fmla="*/ 662369 h 1137167"/>
                <a:gd name="connsiteX142" fmla="*/ 96373 w 1382632"/>
                <a:gd name="connsiteY142" fmla="*/ 681644 h 1137167"/>
                <a:gd name="connsiteX143" fmla="*/ 95731 w 1382632"/>
                <a:gd name="connsiteY143" fmla="*/ 682286 h 1137167"/>
                <a:gd name="connsiteX144" fmla="*/ 95088 w 1382632"/>
                <a:gd name="connsiteY144" fmla="*/ 682929 h 1137167"/>
                <a:gd name="connsiteX145" fmla="*/ 94446 w 1382632"/>
                <a:gd name="connsiteY145" fmla="*/ 683571 h 1137167"/>
                <a:gd name="connsiteX146" fmla="*/ 85451 w 1382632"/>
                <a:gd name="connsiteY146" fmla="*/ 698991 h 1137167"/>
                <a:gd name="connsiteX147" fmla="*/ 95731 w 1382632"/>
                <a:gd name="connsiteY147" fmla="*/ 711198 h 1137167"/>
                <a:gd name="connsiteX148" fmla="*/ 98301 w 1382632"/>
                <a:gd name="connsiteY148" fmla="*/ 715053 h 1137167"/>
                <a:gd name="connsiteX149" fmla="*/ 100228 w 1382632"/>
                <a:gd name="connsiteY149" fmla="*/ 714411 h 1137167"/>
                <a:gd name="connsiteX150" fmla="*/ 115648 w 1382632"/>
                <a:gd name="connsiteY150" fmla="*/ 707343 h 1137167"/>
                <a:gd name="connsiteX151" fmla="*/ 130425 w 1382632"/>
                <a:gd name="connsiteY151" fmla="*/ 705416 h 1137167"/>
                <a:gd name="connsiteX152" fmla="*/ 172187 w 1382632"/>
                <a:gd name="connsiteY152" fmla="*/ 704773 h 1137167"/>
                <a:gd name="connsiteX153" fmla="*/ 207523 w 1382632"/>
                <a:gd name="connsiteY153" fmla="*/ 681644 h 1137167"/>
                <a:gd name="connsiteX154" fmla="*/ 260850 w 1382632"/>
                <a:gd name="connsiteY154" fmla="*/ 638597 h 1137167"/>
                <a:gd name="connsiteX155" fmla="*/ 278197 w 1382632"/>
                <a:gd name="connsiteY155" fmla="*/ 634100 h 1137167"/>
                <a:gd name="connsiteX156" fmla="*/ 303897 w 1382632"/>
                <a:gd name="connsiteY156" fmla="*/ 660442 h 1137167"/>
                <a:gd name="connsiteX157" fmla="*/ 353368 w 1382632"/>
                <a:gd name="connsiteY157" fmla="*/ 668794 h 1137167"/>
                <a:gd name="connsiteX158" fmla="*/ 358508 w 1382632"/>
                <a:gd name="connsiteY158" fmla="*/ 676504 h 1137167"/>
                <a:gd name="connsiteX159" fmla="*/ 359150 w 1382632"/>
                <a:gd name="connsiteY159" fmla="*/ 707343 h 1137167"/>
                <a:gd name="connsiteX160" fmla="*/ 344373 w 1382632"/>
                <a:gd name="connsiteY160" fmla="*/ 753602 h 1137167"/>
                <a:gd name="connsiteX161" fmla="*/ 336021 w 1382632"/>
                <a:gd name="connsiteY161" fmla="*/ 783799 h 1137167"/>
                <a:gd name="connsiteX162" fmla="*/ 379068 w 1382632"/>
                <a:gd name="connsiteY162" fmla="*/ 812069 h 1137167"/>
                <a:gd name="connsiteX163" fmla="*/ 429182 w 1382632"/>
                <a:gd name="connsiteY163" fmla="*/ 785084 h 1137167"/>
                <a:gd name="connsiteX164" fmla="*/ 444601 w 1382632"/>
                <a:gd name="connsiteY164" fmla="*/ 772877 h 1137167"/>
                <a:gd name="connsiteX165" fmla="*/ 465803 w 1382632"/>
                <a:gd name="connsiteY165" fmla="*/ 772235 h 1137167"/>
                <a:gd name="connsiteX166" fmla="*/ 491503 w 1382632"/>
                <a:gd name="connsiteY166" fmla="*/ 774162 h 1137167"/>
                <a:gd name="connsiteX167" fmla="*/ 501140 w 1382632"/>
                <a:gd name="connsiteY167" fmla="*/ 758742 h 1137167"/>
                <a:gd name="connsiteX168" fmla="*/ 510135 w 1382632"/>
                <a:gd name="connsiteY168" fmla="*/ 749748 h 1137167"/>
                <a:gd name="connsiteX169" fmla="*/ 508208 w 1382632"/>
                <a:gd name="connsiteY169" fmla="*/ 738825 h 1137167"/>
                <a:gd name="connsiteX170" fmla="*/ 500498 w 1382632"/>
                <a:gd name="connsiteY170" fmla="*/ 729188 h 1137167"/>
                <a:gd name="connsiteX171" fmla="*/ 493430 w 1382632"/>
                <a:gd name="connsiteY171" fmla="*/ 709271 h 1137167"/>
                <a:gd name="connsiteX172" fmla="*/ 490860 w 1382632"/>
                <a:gd name="connsiteY172" fmla="*/ 679716 h 1137167"/>
                <a:gd name="connsiteX173" fmla="*/ 487648 w 1382632"/>
                <a:gd name="connsiteY173" fmla="*/ 663012 h 1137167"/>
                <a:gd name="connsiteX174" fmla="*/ 479296 w 1382632"/>
                <a:gd name="connsiteY174" fmla="*/ 661084 h 1137167"/>
                <a:gd name="connsiteX175" fmla="*/ 472228 w 1382632"/>
                <a:gd name="connsiteY175" fmla="*/ 646950 h 1137167"/>
                <a:gd name="connsiteX176" fmla="*/ 481865 w 1382632"/>
                <a:gd name="connsiteY176" fmla="*/ 632815 h 1137167"/>
                <a:gd name="connsiteX177" fmla="*/ 545472 w 1382632"/>
                <a:gd name="connsiteY177" fmla="*/ 605830 h 1137167"/>
                <a:gd name="connsiteX178" fmla="*/ 566674 w 1382632"/>
                <a:gd name="connsiteY178" fmla="*/ 609043 h 1137167"/>
                <a:gd name="connsiteX179" fmla="*/ 568601 w 1382632"/>
                <a:gd name="connsiteY179" fmla="*/ 618680 h 1137167"/>
                <a:gd name="connsiteX180" fmla="*/ 567959 w 1382632"/>
                <a:gd name="connsiteY180" fmla="*/ 635385 h 1137167"/>
                <a:gd name="connsiteX181" fmla="*/ 569886 w 1382632"/>
                <a:gd name="connsiteY181" fmla="*/ 648235 h 1137167"/>
                <a:gd name="connsiteX182" fmla="*/ 594301 w 1382632"/>
                <a:gd name="connsiteY182" fmla="*/ 656587 h 1137167"/>
                <a:gd name="connsiteX183" fmla="*/ 623855 w 1382632"/>
                <a:gd name="connsiteY183" fmla="*/ 652732 h 1137167"/>
                <a:gd name="connsiteX184" fmla="*/ 646985 w 1382632"/>
                <a:gd name="connsiteY184" fmla="*/ 636027 h 1137167"/>
                <a:gd name="connsiteX185" fmla="*/ 663047 w 1382632"/>
                <a:gd name="connsiteY185" fmla="*/ 610328 h 1137167"/>
                <a:gd name="connsiteX186" fmla="*/ 674612 w 1382632"/>
                <a:gd name="connsiteY186" fmla="*/ 607758 h 1137167"/>
                <a:gd name="connsiteX187" fmla="*/ 689389 w 1382632"/>
                <a:gd name="connsiteY187" fmla="*/ 611613 h 1137167"/>
                <a:gd name="connsiteX188" fmla="*/ 690674 w 1382632"/>
                <a:gd name="connsiteY188" fmla="*/ 618038 h 1137167"/>
                <a:gd name="connsiteX189" fmla="*/ 683607 w 1382632"/>
                <a:gd name="connsiteY189" fmla="*/ 657872 h 1137167"/>
                <a:gd name="connsiteX190" fmla="*/ 672684 w 1382632"/>
                <a:gd name="connsiteY190" fmla="*/ 678431 h 1137167"/>
                <a:gd name="connsiteX191" fmla="*/ 658550 w 1382632"/>
                <a:gd name="connsiteY191" fmla="*/ 681644 h 1137167"/>
                <a:gd name="connsiteX192" fmla="*/ 652767 w 1382632"/>
                <a:gd name="connsiteY192" fmla="*/ 682929 h 1137167"/>
                <a:gd name="connsiteX193" fmla="*/ 649555 w 1382632"/>
                <a:gd name="connsiteY193" fmla="*/ 689996 h 1137167"/>
                <a:gd name="connsiteX194" fmla="*/ 647627 w 1382632"/>
                <a:gd name="connsiteY194" fmla="*/ 720193 h 1137167"/>
                <a:gd name="connsiteX195" fmla="*/ 670757 w 1382632"/>
                <a:gd name="connsiteY195" fmla="*/ 760670 h 1137167"/>
                <a:gd name="connsiteX196" fmla="*/ 676539 w 1382632"/>
                <a:gd name="connsiteY196" fmla="*/ 765167 h 1137167"/>
                <a:gd name="connsiteX197" fmla="*/ 684249 w 1382632"/>
                <a:gd name="connsiteY197" fmla="*/ 765810 h 1137167"/>
                <a:gd name="connsiteX198" fmla="*/ 696456 w 1382632"/>
                <a:gd name="connsiteY198" fmla="*/ 775447 h 1137167"/>
                <a:gd name="connsiteX199" fmla="*/ 702881 w 1382632"/>
                <a:gd name="connsiteY199" fmla="*/ 789582 h 1137167"/>
                <a:gd name="connsiteX200" fmla="*/ 729866 w 1382632"/>
                <a:gd name="connsiteY200" fmla="*/ 828131 h 1137167"/>
                <a:gd name="connsiteX201" fmla="*/ 745928 w 1382632"/>
                <a:gd name="connsiteY201" fmla="*/ 872463 h 1137167"/>
                <a:gd name="connsiteX202" fmla="*/ 748498 w 1382632"/>
                <a:gd name="connsiteY202" fmla="*/ 885312 h 1137167"/>
                <a:gd name="connsiteX203" fmla="*/ 758778 w 1382632"/>
                <a:gd name="connsiteY203" fmla="*/ 892380 h 1137167"/>
                <a:gd name="connsiteX204" fmla="*/ 772912 w 1382632"/>
                <a:gd name="connsiteY204" fmla="*/ 884027 h 1137167"/>
                <a:gd name="connsiteX205" fmla="*/ 778052 w 1382632"/>
                <a:gd name="connsiteY205" fmla="*/ 882100 h 1137167"/>
                <a:gd name="connsiteX206" fmla="*/ 785119 w 1382632"/>
                <a:gd name="connsiteY206" fmla="*/ 888525 h 1137167"/>
                <a:gd name="connsiteX207" fmla="*/ 783835 w 1382632"/>
                <a:gd name="connsiteY207" fmla="*/ 928359 h 1137167"/>
                <a:gd name="connsiteX208" fmla="*/ 774197 w 1382632"/>
                <a:gd name="connsiteY208" fmla="*/ 936711 h 1137167"/>
                <a:gd name="connsiteX209" fmla="*/ 760063 w 1382632"/>
                <a:gd name="connsiteY209" fmla="*/ 968836 h 1137167"/>
                <a:gd name="connsiteX210" fmla="*/ 763917 w 1382632"/>
                <a:gd name="connsiteY210" fmla="*/ 985540 h 1137167"/>
                <a:gd name="connsiteX211" fmla="*/ 779337 w 1382632"/>
                <a:gd name="connsiteY211" fmla="*/ 982970 h 1137167"/>
                <a:gd name="connsiteX212" fmla="*/ 782550 w 1382632"/>
                <a:gd name="connsiteY212" fmla="*/ 980400 h 1137167"/>
                <a:gd name="connsiteX213" fmla="*/ 787047 w 1382632"/>
                <a:gd name="connsiteY213" fmla="*/ 981685 h 1137167"/>
                <a:gd name="connsiteX214" fmla="*/ 789617 w 1382632"/>
                <a:gd name="connsiteY214" fmla="*/ 983613 h 1137167"/>
                <a:gd name="connsiteX215" fmla="*/ 823026 w 1382632"/>
                <a:gd name="connsiteY215" fmla="*/ 989395 h 1137167"/>
                <a:gd name="connsiteX216" fmla="*/ 843586 w 1382632"/>
                <a:gd name="connsiteY216" fmla="*/ 995820 h 1137167"/>
                <a:gd name="connsiteX217" fmla="*/ 855151 w 1382632"/>
                <a:gd name="connsiteY217" fmla="*/ 1008027 h 1137167"/>
                <a:gd name="connsiteX218" fmla="*/ 848083 w 1382632"/>
                <a:gd name="connsiteY218" fmla="*/ 1021520 h 1137167"/>
                <a:gd name="connsiteX219" fmla="*/ 833306 w 1382632"/>
                <a:gd name="connsiteY219" fmla="*/ 1022805 h 1137167"/>
                <a:gd name="connsiteX220" fmla="*/ 830736 w 1382632"/>
                <a:gd name="connsiteY220" fmla="*/ 1027302 h 1137167"/>
                <a:gd name="connsiteX221" fmla="*/ 841658 w 1382632"/>
                <a:gd name="connsiteY221" fmla="*/ 1063924 h 1137167"/>
                <a:gd name="connsiteX222" fmla="*/ 848083 w 1382632"/>
                <a:gd name="connsiteY222" fmla="*/ 1079986 h 1137167"/>
                <a:gd name="connsiteX223" fmla="*/ 832021 w 1382632"/>
                <a:gd name="connsiteY223" fmla="*/ 1090908 h 1137167"/>
                <a:gd name="connsiteX224" fmla="*/ 811462 w 1382632"/>
                <a:gd name="connsiteY224" fmla="*/ 1094121 h 1137167"/>
                <a:gd name="connsiteX225" fmla="*/ 826881 w 1382632"/>
                <a:gd name="connsiteY225" fmla="*/ 1119820 h 1137167"/>
                <a:gd name="connsiteX226" fmla="*/ 851296 w 1382632"/>
                <a:gd name="connsiteY226" fmla="*/ 1133312 h 1137167"/>
                <a:gd name="connsiteX227" fmla="*/ 864145 w 1382632"/>
                <a:gd name="connsiteY227" fmla="*/ 1137167 h 1137167"/>
                <a:gd name="connsiteX228" fmla="*/ 885348 w 1382632"/>
                <a:gd name="connsiteY228" fmla="*/ 1126887 h 1137167"/>
                <a:gd name="connsiteX229" fmla="*/ 889203 w 1382632"/>
                <a:gd name="connsiteY229" fmla="*/ 1122390 h 1137167"/>
                <a:gd name="connsiteX230" fmla="*/ 879565 w 1382632"/>
                <a:gd name="connsiteY230" fmla="*/ 1114680 h 1137167"/>
                <a:gd name="connsiteX231" fmla="*/ 866715 w 1382632"/>
                <a:gd name="connsiteY231" fmla="*/ 1109540 h 1137167"/>
                <a:gd name="connsiteX232" fmla="*/ 873140 w 1382632"/>
                <a:gd name="connsiteY232" fmla="*/ 1097333 h 1137167"/>
                <a:gd name="connsiteX233" fmla="*/ 921327 w 1382632"/>
                <a:gd name="connsiteY233" fmla="*/ 1094763 h 1137167"/>
                <a:gd name="connsiteX234" fmla="*/ 925824 w 1382632"/>
                <a:gd name="connsiteY234" fmla="*/ 1097333 h 1137167"/>
                <a:gd name="connsiteX235" fmla="*/ 956664 w 1382632"/>
                <a:gd name="connsiteY235" fmla="*/ 1082556 h 1137167"/>
                <a:gd name="connsiteX236" fmla="*/ 980436 w 1382632"/>
                <a:gd name="connsiteY236" fmla="*/ 1076774 h 1137167"/>
                <a:gd name="connsiteX237" fmla="*/ 985576 w 1382632"/>
                <a:gd name="connsiteY237" fmla="*/ 1068421 h 1137167"/>
                <a:gd name="connsiteX238" fmla="*/ 1005493 w 1382632"/>
                <a:gd name="connsiteY238" fmla="*/ 1060711 h 1137167"/>
                <a:gd name="connsiteX239" fmla="*/ 1033120 w 1382632"/>
                <a:gd name="connsiteY239" fmla="*/ 1040794 h 1137167"/>
                <a:gd name="connsiteX240" fmla="*/ 1090944 w 1382632"/>
                <a:gd name="connsiteY240" fmla="*/ 1015095 h 1137167"/>
                <a:gd name="connsiteX241" fmla="*/ 1119213 w 1382632"/>
                <a:gd name="connsiteY241" fmla="*/ 1000318 h 1137167"/>
                <a:gd name="connsiteX242" fmla="*/ 1139773 w 1382632"/>
                <a:gd name="connsiteY242" fmla="*/ 981043 h 1137167"/>
                <a:gd name="connsiteX243" fmla="*/ 1139773 w 1382632"/>
                <a:gd name="connsiteY243" fmla="*/ 973333 h 1137167"/>
                <a:gd name="connsiteX244" fmla="*/ 1123710 w 1382632"/>
                <a:gd name="connsiteY244" fmla="*/ 939281 h 1137167"/>
                <a:gd name="connsiteX245" fmla="*/ 1117928 w 1382632"/>
                <a:gd name="connsiteY245" fmla="*/ 911012 h 1137167"/>
                <a:gd name="connsiteX246" fmla="*/ 1116643 w 1382632"/>
                <a:gd name="connsiteY246" fmla="*/ 908442 h 1137167"/>
                <a:gd name="connsiteX247" fmla="*/ 1112146 w 1382632"/>
                <a:gd name="connsiteY247" fmla="*/ 896877 h 1137167"/>
                <a:gd name="connsiteX248" fmla="*/ 1125638 w 1382632"/>
                <a:gd name="connsiteY248" fmla="*/ 882100 h 1137167"/>
                <a:gd name="connsiteX249" fmla="*/ 1129493 w 1382632"/>
                <a:gd name="connsiteY249" fmla="*/ 878887 h 1137167"/>
                <a:gd name="connsiteX250" fmla="*/ 1130135 w 1382632"/>
                <a:gd name="connsiteY250" fmla="*/ 875033 h 1137167"/>
                <a:gd name="connsiteX251" fmla="*/ 1122425 w 1382632"/>
                <a:gd name="connsiteY251" fmla="*/ 851903 h 1137167"/>
                <a:gd name="connsiteX252" fmla="*/ 1107006 w 1382632"/>
                <a:gd name="connsiteY252" fmla="*/ 831986 h 1137167"/>
                <a:gd name="connsiteX253" fmla="*/ 1102508 w 1382632"/>
                <a:gd name="connsiteY253" fmla="*/ 822349 h 1137167"/>
                <a:gd name="connsiteX254" fmla="*/ 1115358 w 1382632"/>
                <a:gd name="connsiteY254" fmla="*/ 810141 h 1137167"/>
                <a:gd name="connsiteX255" fmla="*/ 1149410 w 1382632"/>
                <a:gd name="connsiteY255" fmla="*/ 798577 h 1137167"/>
                <a:gd name="connsiteX256" fmla="*/ 1171254 w 1382632"/>
                <a:gd name="connsiteY256" fmla="*/ 799861 h 1137167"/>
                <a:gd name="connsiteX257" fmla="*/ 1204664 w 1382632"/>
                <a:gd name="connsiteY257" fmla="*/ 803716 h 1137167"/>
                <a:gd name="connsiteX258" fmla="*/ 1212374 w 1382632"/>
                <a:gd name="connsiteY258" fmla="*/ 803074 h 1137167"/>
                <a:gd name="connsiteX259" fmla="*/ 1216229 w 1382632"/>
                <a:gd name="connsiteY259" fmla="*/ 798577 h 1137167"/>
                <a:gd name="connsiteX260" fmla="*/ 1238716 w 1382632"/>
                <a:gd name="connsiteY260" fmla="*/ 755530 h 1137167"/>
                <a:gd name="connsiteX261" fmla="*/ 1240001 w 1382632"/>
                <a:gd name="connsiteY261" fmla="*/ 751675 h 1137167"/>
                <a:gd name="connsiteX262" fmla="*/ 1231006 w 1382632"/>
                <a:gd name="connsiteY262" fmla="*/ 743323 h 1137167"/>
                <a:gd name="connsiteX263" fmla="*/ 1233576 w 1382632"/>
                <a:gd name="connsiteY263" fmla="*/ 696421 h 1137167"/>
                <a:gd name="connsiteX264" fmla="*/ 1228436 w 1382632"/>
                <a:gd name="connsiteY264" fmla="*/ 673291 h 1137167"/>
                <a:gd name="connsiteX265" fmla="*/ 1207876 w 1382632"/>
                <a:gd name="connsiteY265" fmla="*/ 595551 h 1137167"/>
                <a:gd name="connsiteX266" fmla="*/ 1180892 w 1382632"/>
                <a:gd name="connsiteY266" fmla="*/ 529374 h 1137167"/>
                <a:gd name="connsiteX267" fmla="*/ 1159047 w 1382632"/>
                <a:gd name="connsiteY267" fmla="*/ 509457 h 1137167"/>
                <a:gd name="connsiteX268" fmla="*/ 1151980 w 1382632"/>
                <a:gd name="connsiteY268" fmla="*/ 472193 h 1137167"/>
                <a:gd name="connsiteX269" fmla="*/ 1160332 w 1382632"/>
                <a:gd name="connsiteY269" fmla="*/ 454203 h 1137167"/>
                <a:gd name="connsiteX270" fmla="*/ 1181534 w 1382632"/>
                <a:gd name="connsiteY270" fmla="*/ 452276 h 1137167"/>
                <a:gd name="connsiteX271" fmla="*/ 1202736 w 1382632"/>
                <a:gd name="connsiteY271" fmla="*/ 449706 h 1137167"/>
                <a:gd name="connsiteX272" fmla="*/ 1209161 w 1382632"/>
                <a:gd name="connsiteY272" fmla="*/ 434929 h 1137167"/>
                <a:gd name="connsiteX273" fmla="*/ 1210446 w 1382632"/>
                <a:gd name="connsiteY273" fmla="*/ 426576 h 1137167"/>
                <a:gd name="connsiteX274" fmla="*/ 1211731 w 1382632"/>
                <a:gd name="connsiteY274" fmla="*/ 423364 h 1137167"/>
                <a:gd name="connsiteX275" fmla="*/ 1214943 w 1382632"/>
                <a:gd name="connsiteY275" fmla="*/ 422079 h 1137167"/>
                <a:gd name="connsiteX276" fmla="*/ 1250280 w 1382632"/>
                <a:gd name="connsiteY276" fmla="*/ 427219 h 1137167"/>
                <a:gd name="connsiteX277" fmla="*/ 1257348 w 1382632"/>
                <a:gd name="connsiteY277" fmla="*/ 431716 h 1137167"/>
                <a:gd name="connsiteX278" fmla="*/ 1263773 w 1382632"/>
                <a:gd name="connsiteY278" fmla="*/ 433644 h 1137167"/>
                <a:gd name="connsiteX279" fmla="*/ 1290757 w 1382632"/>
                <a:gd name="connsiteY279" fmla="*/ 436214 h 1137167"/>
                <a:gd name="connsiteX280" fmla="*/ 1315172 w 1382632"/>
                <a:gd name="connsiteY280" fmla="*/ 431074 h 1137167"/>
                <a:gd name="connsiteX281" fmla="*/ 1368498 w 1382632"/>
                <a:gd name="connsiteY281" fmla="*/ 380960 h 1137167"/>
                <a:gd name="connsiteX282" fmla="*/ 1382633 w 1382632"/>
                <a:gd name="connsiteY282" fmla="*/ 359758 h 1137167"/>
                <a:gd name="connsiteX283" fmla="*/ 1369783 w 1382632"/>
                <a:gd name="connsiteY283" fmla="*/ 360400 h 113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</a:cxnLst>
              <a:rect l="l" t="t" r="r" b="b"/>
              <a:pathLst>
                <a:path w="1382632" h="1137167">
                  <a:moveTo>
                    <a:pt x="646342" y="362970"/>
                  </a:moveTo>
                  <a:cubicBezTo>
                    <a:pt x="645700" y="366183"/>
                    <a:pt x="644415" y="369395"/>
                    <a:pt x="642487" y="371965"/>
                  </a:cubicBezTo>
                  <a:cubicBezTo>
                    <a:pt x="639917" y="375177"/>
                    <a:pt x="636062" y="377105"/>
                    <a:pt x="632850" y="378390"/>
                  </a:cubicBezTo>
                  <a:cubicBezTo>
                    <a:pt x="629638" y="379675"/>
                    <a:pt x="625783" y="380960"/>
                    <a:pt x="622570" y="380960"/>
                  </a:cubicBezTo>
                  <a:cubicBezTo>
                    <a:pt x="608435" y="382887"/>
                    <a:pt x="594301" y="379032"/>
                    <a:pt x="582736" y="370680"/>
                  </a:cubicBezTo>
                  <a:cubicBezTo>
                    <a:pt x="571171" y="362970"/>
                    <a:pt x="563461" y="351405"/>
                    <a:pt x="557679" y="339198"/>
                  </a:cubicBezTo>
                  <a:cubicBezTo>
                    <a:pt x="556394" y="335986"/>
                    <a:pt x="555109" y="332131"/>
                    <a:pt x="552539" y="329561"/>
                  </a:cubicBezTo>
                  <a:cubicBezTo>
                    <a:pt x="549327" y="325706"/>
                    <a:pt x="544829" y="322493"/>
                    <a:pt x="540332" y="319923"/>
                  </a:cubicBezTo>
                  <a:cubicBezTo>
                    <a:pt x="535192" y="317354"/>
                    <a:pt x="530052" y="314784"/>
                    <a:pt x="524912" y="312214"/>
                  </a:cubicBezTo>
                  <a:cubicBezTo>
                    <a:pt x="520415" y="309644"/>
                    <a:pt x="515275" y="307716"/>
                    <a:pt x="511420" y="304504"/>
                  </a:cubicBezTo>
                  <a:cubicBezTo>
                    <a:pt x="507565" y="301291"/>
                    <a:pt x="504353" y="296794"/>
                    <a:pt x="504353" y="291654"/>
                  </a:cubicBezTo>
                  <a:cubicBezTo>
                    <a:pt x="504353" y="289727"/>
                    <a:pt x="504995" y="287157"/>
                    <a:pt x="506923" y="285872"/>
                  </a:cubicBezTo>
                  <a:cubicBezTo>
                    <a:pt x="510135" y="283944"/>
                    <a:pt x="514632" y="285872"/>
                    <a:pt x="517845" y="288442"/>
                  </a:cubicBezTo>
                  <a:cubicBezTo>
                    <a:pt x="546114" y="307074"/>
                    <a:pt x="580809" y="316711"/>
                    <a:pt x="614860" y="316711"/>
                  </a:cubicBezTo>
                  <a:cubicBezTo>
                    <a:pt x="621285" y="316711"/>
                    <a:pt x="627710" y="316069"/>
                    <a:pt x="633493" y="318638"/>
                  </a:cubicBezTo>
                  <a:cubicBezTo>
                    <a:pt x="641845" y="321851"/>
                    <a:pt x="646985" y="330203"/>
                    <a:pt x="648912" y="338556"/>
                  </a:cubicBezTo>
                  <a:cubicBezTo>
                    <a:pt x="650840" y="346265"/>
                    <a:pt x="648912" y="354618"/>
                    <a:pt x="646342" y="362970"/>
                  </a:cubicBezTo>
                  <a:moveTo>
                    <a:pt x="1369783" y="360400"/>
                  </a:moveTo>
                  <a:cubicBezTo>
                    <a:pt x="1363358" y="360400"/>
                    <a:pt x="1358218" y="357188"/>
                    <a:pt x="1352436" y="353975"/>
                  </a:cubicBezTo>
                  <a:cubicBezTo>
                    <a:pt x="1347296" y="350763"/>
                    <a:pt x="1342156" y="347550"/>
                    <a:pt x="1336374" y="347550"/>
                  </a:cubicBezTo>
                  <a:cubicBezTo>
                    <a:pt x="1324809" y="347550"/>
                    <a:pt x="1315172" y="359115"/>
                    <a:pt x="1303607" y="356545"/>
                  </a:cubicBezTo>
                  <a:cubicBezTo>
                    <a:pt x="1297182" y="355260"/>
                    <a:pt x="1292684" y="348835"/>
                    <a:pt x="1289472" y="343053"/>
                  </a:cubicBezTo>
                  <a:cubicBezTo>
                    <a:pt x="1286902" y="337271"/>
                    <a:pt x="1284975" y="331488"/>
                    <a:pt x="1283690" y="325063"/>
                  </a:cubicBezTo>
                  <a:cubicBezTo>
                    <a:pt x="1281762" y="324421"/>
                    <a:pt x="1279192" y="324421"/>
                    <a:pt x="1277265" y="323778"/>
                  </a:cubicBezTo>
                  <a:cubicBezTo>
                    <a:pt x="1264415" y="322493"/>
                    <a:pt x="1262488" y="316069"/>
                    <a:pt x="1261203" y="313499"/>
                  </a:cubicBezTo>
                  <a:cubicBezTo>
                    <a:pt x="1259918" y="310929"/>
                    <a:pt x="1256063" y="301934"/>
                    <a:pt x="1248353" y="296151"/>
                  </a:cubicBezTo>
                  <a:cubicBezTo>
                    <a:pt x="1240643" y="291012"/>
                    <a:pt x="1237431" y="291654"/>
                    <a:pt x="1229078" y="280732"/>
                  </a:cubicBezTo>
                  <a:cubicBezTo>
                    <a:pt x="1221368" y="270452"/>
                    <a:pt x="1221368" y="271094"/>
                    <a:pt x="1214301" y="262100"/>
                  </a:cubicBezTo>
                  <a:cubicBezTo>
                    <a:pt x="1207876" y="253747"/>
                    <a:pt x="1202094" y="241540"/>
                    <a:pt x="1180249" y="232545"/>
                  </a:cubicBezTo>
                  <a:cubicBezTo>
                    <a:pt x="1158405" y="222908"/>
                    <a:pt x="1164187" y="240897"/>
                    <a:pt x="1157762" y="244110"/>
                  </a:cubicBezTo>
                  <a:cubicBezTo>
                    <a:pt x="1151337" y="247322"/>
                    <a:pt x="1141700" y="238970"/>
                    <a:pt x="1137203" y="233188"/>
                  </a:cubicBezTo>
                  <a:cubicBezTo>
                    <a:pt x="1133348" y="227405"/>
                    <a:pt x="1121141" y="225478"/>
                    <a:pt x="1111503" y="222908"/>
                  </a:cubicBezTo>
                  <a:cubicBezTo>
                    <a:pt x="1109576" y="222265"/>
                    <a:pt x="1108291" y="221623"/>
                    <a:pt x="1107006" y="220338"/>
                  </a:cubicBezTo>
                  <a:cubicBezTo>
                    <a:pt x="1105078" y="221623"/>
                    <a:pt x="1103151" y="222265"/>
                    <a:pt x="1102508" y="222908"/>
                  </a:cubicBezTo>
                  <a:cubicBezTo>
                    <a:pt x="1099296" y="226763"/>
                    <a:pt x="1082591" y="222908"/>
                    <a:pt x="1082591" y="222908"/>
                  </a:cubicBezTo>
                  <a:cubicBezTo>
                    <a:pt x="1082591" y="222908"/>
                    <a:pt x="1052394" y="216483"/>
                    <a:pt x="1044684" y="214556"/>
                  </a:cubicBezTo>
                  <a:cubicBezTo>
                    <a:pt x="1038902" y="213271"/>
                    <a:pt x="1025410" y="209416"/>
                    <a:pt x="1016415" y="202348"/>
                  </a:cubicBezTo>
                  <a:cubicBezTo>
                    <a:pt x="1011918" y="203633"/>
                    <a:pt x="1006778" y="204276"/>
                    <a:pt x="1001638" y="204276"/>
                  </a:cubicBezTo>
                  <a:cubicBezTo>
                    <a:pt x="992643" y="204276"/>
                    <a:pt x="983006" y="202991"/>
                    <a:pt x="974011" y="202348"/>
                  </a:cubicBezTo>
                  <a:cubicBezTo>
                    <a:pt x="966944" y="201706"/>
                    <a:pt x="959234" y="201706"/>
                    <a:pt x="952166" y="201706"/>
                  </a:cubicBezTo>
                  <a:cubicBezTo>
                    <a:pt x="944456" y="201706"/>
                    <a:pt x="936747" y="201706"/>
                    <a:pt x="929679" y="204276"/>
                  </a:cubicBezTo>
                  <a:cubicBezTo>
                    <a:pt x="927109" y="205561"/>
                    <a:pt x="924539" y="206846"/>
                    <a:pt x="921969" y="207488"/>
                  </a:cubicBezTo>
                  <a:cubicBezTo>
                    <a:pt x="912332" y="211343"/>
                    <a:pt x="900125" y="208773"/>
                    <a:pt x="891130" y="203633"/>
                  </a:cubicBezTo>
                  <a:cubicBezTo>
                    <a:pt x="882135" y="198493"/>
                    <a:pt x="875068" y="190141"/>
                    <a:pt x="869285" y="181789"/>
                  </a:cubicBezTo>
                  <a:cubicBezTo>
                    <a:pt x="864788" y="175364"/>
                    <a:pt x="859648" y="168939"/>
                    <a:pt x="857078" y="161229"/>
                  </a:cubicBezTo>
                  <a:cubicBezTo>
                    <a:pt x="855793" y="158659"/>
                    <a:pt x="855151" y="155447"/>
                    <a:pt x="853866" y="152234"/>
                  </a:cubicBezTo>
                  <a:cubicBezTo>
                    <a:pt x="853223" y="152234"/>
                    <a:pt x="852581" y="152234"/>
                    <a:pt x="851938" y="152234"/>
                  </a:cubicBezTo>
                  <a:cubicBezTo>
                    <a:pt x="841658" y="150949"/>
                    <a:pt x="838446" y="150307"/>
                    <a:pt x="830736" y="149022"/>
                  </a:cubicBezTo>
                  <a:cubicBezTo>
                    <a:pt x="823026" y="147737"/>
                    <a:pt x="811462" y="139385"/>
                    <a:pt x="806322" y="133602"/>
                  </a:cubicBezTo>
                  <a:cubicBezTo>
                    <a:pt x="801182" y="127820"/>
                    <a:pt x="790902" y="111758"/>
                    <a:pt x="788974" y="107260"/>
                  </a:cubicBezTo>
                  <a:cubicBezTo>
                    <a:pt x="786405" y="102120"/>
                    <a:pt x="775482" y="90555"/>
                    <a:pt x="775482" y="90555"/>
                  </a:cubicBezTo>
                  <a:cubicBezTo>
                    <a:pt x="774840" y="89271"/>
                    <a:pt x="769057" y="80918"/>
                    <a:pt x="767772" y="78991"/>
                  </a:cubicBezTo>
                  <a:cubicBezTo>
                    <a:pt x="767130" y="76421"/>
                    <a:pt x="757493" y="62929"/>
                    <a:pt x="751710" y="51364"/>
                  </a:cubicBezTo>
                  <a:cubicBezTo>
                    <a:pt x="745285" y="39799"/>
                    <a:pt x="729223" y="23094"/>
                    <a:pt x="729223" y="23094"/>
                  </a:cubicBezTo>
                  <a:cubicBezTo>
                    <a:pt x="729223" y="23094"/>
                    <a:pt x="720228" y="18597"/>
                    <a:pt x="715088" y="17312"/>
                  </a:cubicBezTo>
                  <a:cubicBezTo>
                    <a:pt x="709948" y="16027"/>
                    <a:pt x="690674" y="15384"/>
                    <a:pt x="679109" y="17954"/>
                  </a:cubicBezTo>
                  <a:cubicBezTo>
                    <a:pt x="667544" y="20524"/>
                    <a:pt x="663047" y="25022"/>
                    <a:pt x="655980" y="28234"/>
                  </a:cubicBezTo>
                  <a:cubicBezTo>
                    <a:pt x="648912" y="31447"/>
                    <a:pt x="632208" y="28234"/>
                    <a:pt x="628995" y="28234"/>
                  </a:cubicBezTo>
                  <a:cubicBezTo>
                    <a:pt x="625783" y="28234"/>
                    <a:pt x="608435" y="30162"/>
                    <a:pt x="594301" y="28877"/>
                  </a:cubicBezTo>
                  <a:cubicBezTo>
                    <a:pt x="580166" y="28234"/>
                    <a:pt x="578239" y="22452"/>
                    <a:pt x="578239" y="22452"/>
                  </a:cubicBezTo>
                  <a:cubicBezTo>
                    <a:pt x="578239" y="22452"/>
                    <a:pt x="571814" y="14099"/>
                    <a:pt x="567316" y="5747"/>
                  </a:cubicBezTo>
                  <a:cubicBezTo>
                    <a:pt x="562819" y="-2605"/>
                    <a:pt x="560891" y="607"/>
                    <a:pt x="558964" y="607"/>
                  </a:cubicBezTo>
                  <a:cubicBezTo>
                    <a:pt x="557037" y="607"/>
                    <a:pt x="545472" y="5105"/>
                    <a:pt x="539047" y="12172"/>
                  </a:cubicBezTo>
                  <a:cubicBezTo>
                    <a:pt x="532622" y="19239"/>
                    <a:pt x="526840" y="34017"/>
                    <a:pt x="526840" y="39157"/>
                  </a:cubicBezTo>
                  <a:cubicBezTo>
                    <a:pt x="526840" y="44296"/>
                    <a:pt x="524912" y="51364"/>
                    <a:pt x="514632" y="71923"/>
                  </a:cubicBezTo>
                  <a:cubicBezTo>
                    <a:pt x="510135" y="80918"/>
                    <a:pt x="507565" y="87343"/>
                    <a:pt x="506280" y="91840"/>
                  </a:cubicBezTo>
                  <a:cubicBezTo>
                    <a:pt x="504353" y="98265"/>
                    <a:pt x="503710" y="102120"/>
                    <a:pt x="504353" y="106618"/>
                  </a:cubicBezTo>
                  <a:cubicBezTo>
                    <a:pt x="505638" y="114328"/>
                    <a:pt x="510135" y="116255"/>
                    <a:pt x="513990" y="121395"/>
                  </a:cubicBezTo>
                  <a:cubicBezTo>
                    <a:pt x="517202" y="126535"/>
                    <a:pt x="519772" y="130390"/>
                    <a:pt x="524270" y="134887"/>
                  </a:cubicBezTo>
                  <a:cubicBezTo>
                    <a:pt x="528125" y="139385"/>
                    <a:pt x="528767" y="148379"/>
                    <a:pt x="529410" y="153519"/>
                  </a:cubicBezTo>
                  <a:cubicBezTo>
                    <a:pt x="530052" y="158659"/>
                    <a:pt x="524270" y="161872"/>
                    <a:pt x="522342" y="161229"/>
                  </a:cubicBezTo>
                  <a:cubicBezTo>
                    <a:pt x="520415" y="159944"/>
                    <a:pt x="519130" y="152877"/>
                    <a:pt x="518487" y="150949"/>
                  </a:cubicBezTo>
                  <a:cubicBezTo>
                    <a:pt x="518487" y="150949"/>
                    <a:pt x="517845" y="150307"/>
                    <a:pt x="517202" y="149664"/>
                  </a:cubicBezTo>
                  <a:cubicBezTo>
                    <a:pt x="513990" y="147094"/>
                    <a:pt x="503710" y="142597"/>
                    <a:pt x="496643" y="136815"/>
                  </a:cubicBezTo>
                  <a:cubicBezTo>
                    <a:pt x="487648" y="130390"/>
                    <a:pt x="484435" y="127177"/>
                    <a:pt x="472228" y="120752"/>
                  </a:cubicBezTo>
                  <a:cubicBezTo>
                    <a:pt x="460021" y="114328"/>
                    <a:pt x="456809" y="122037"/>
                    <a:pt x="451669" y="123965"/>
                  </a:cubicBezTo>
                  <a:cubicBezTo>
                    <a:pt x="446529" y="125892"/>
                    <a:pt x="437534" y="131675"/>
                    <a:pt x="437534" y="134245"/>
                  </a:cubicBezTo>
                  <a:lnTo>
                    <a:pt x="437534" y="153519"/>
                  </a:lnTo>
                  <a:cubicBezTo>
                    <a:pt x="437534" y="159302"/>
                    <a:pt x="438176" y="163157"/>
                    <a:pt x="439461" y="168939"/>
                  </a:cubicBezTo>
                  <a:cubicBezTo>
                    <a:pt x="440746" y="174721"/>
                    <a:pt x="445886" y="172794"/>
                    <a:pt x="449741" y="170224"/>
                  </a:cubicBezTo>
                  <a:cubicBezTo>
                    <a:pt x="453596" y="167654"/>
                    <a:pt x="456809" y="163157"/>
                    <a:pt x="459378" y="163157"/>
                  </a:cubicBezTo>
                  <a:cubicBezTo>
                    <a:pt x="462591" y="163157"/>
                    <a:pt x="464518" y="175364"/>
                    <a:pt x="465161" y="181789"/>
                  </a:cubicBezTo>
                  <a:cubicBezTo>
                    <a:pt x="465803" y="188214"/>
                    <a:pt x="464518" y="190141"/>
                    <a:pt x="463233" y="195923"/>
                  </a:cubicBezTo>
                  <a:cubicBezTo>
                    <a:pt x="461948" y="201706"/>
                    <a:pt x="458736" y="204276"/>
                    <a:pt x="453596" y="206846"/>
                  </a:cubicBezTo>
                  <a:cubicBezTo>
                    <a:pt x="447814" y="209416"/>
                    <a:pt x="443316" y="213913"/>
                    <a:pt x="440746" y="215198"/>
                  </a:cubicBezTo>
                  <a:cubicBezTo>
                    <a:pt x="438176" y="216483"/>
                    <a:pt x="431751" y="215841"/>
                    <a:pt x="428539" y="215198"/>
                  </a:cubicBezTo>
                  <a:cubicBezTo>
                    <a:pt x="425327" y="214556"/>
                    <a:pt x="413762" y="208131"/>
                    <a:pt x="407337" y="202991"/>
                  </a:cubicBezTo>
                  <a:cubicBezTo>
                    <a:pt x="400912" y="197851"/>
                    <a:pt x="399627" y="193353"/>
                    <a:pt x="395130" y="182431"/>
                  </a:cubicBezTo>
                  <a:cubicBezTo>
                    <a:pt x="389990" y="172151"/>
                    <a:pt x="396415" y="173436"/>
                    <a:pt x="398342" y="171509"/>
                  </a:cubicBezTo>
                  <a:cubicBezTo>
                    <a:pt x="400270" y="169581"/>
                    <a:pt x="411192" y="168939"/>
                    <a:pt x="417617" y="165726"/>
                  </a:cubicBezTo>
                  <a:cubicBezTo>
                    <a:pt x="424042" y="163157"/>
                    <a:pt x="422757" y="152877"/>
                    <a:pt x="422114" y="145167"/>
                  </a:cubicBezTo>
                  <a:cubicBezTo>
                    <a:pt x="420829" y="137457"/>
                    <a:pt x="407979" y="132317"/>
                    <a:pt x="407979" y="132317"/>
                  </a:cubicBezTo>
                  <a:cubicBezTo>
                    <a:pt x="407979" y="132317"/>
                    <a:pt x="394487" y="116897"/>
                    <a:pt x="390632" y="109188"/>
                  </a:cubicBezTo>
                  <a:cubicBezTo>
                    <a:pt x="386777" y="101478"/>
                    <a:pt x="388062" y="91840"/>
                    <a:pt x="386135" y="86701"/>
                  </a:cubicBezTo>
                  <a:cubicBezTo>
                    <a:pt x="384850" y="81561"/>
                    <a:pt x="372000" y="79633"/>
                    <a:pt x="363648" y="78991"/>
                  </a:cubicBezTo>
                  <a:cubicBezTo>
                    <a:pt x="355938" y="78348"/>
                    <a:pt x="335378" y="77063"/>
                    <a:pt x="316746" y="78991"/>
                  </a:cubicBezTo>
                  <a:cubicBezTo>
                    <a:pt x="298114" y="80918"/>
                    <a:pt x="278197" y="84131"/>
                    <a:pt x="266632" y="89913"/>
                  </a:cubicBezTo>
                  <a:cubicBezTo>
                    <a:pt x="254425" y="95695"/>
                    <a:pt x="255710" y="93125"/>
                    <a:pt x="249285" y="96980"/>
                  </a:cubicBezTo>
                  <a:cubicBezTo>
                    <a:pt x="243503" y="100835"/>
                    <a:pt x="239005" y="93768"/>
                    <a:pt x="235793" y="87986"/>
                  </a:cubicBezTo>
                  <a:cubicBezTo>
                    <a:pt x="231938" y="82203"/>
                    <a:pt x="208808" y="86058"/>
                    <a:pt x="199814" y="86058"/>
                  </a:cubicBezTo>
                  <a:cubicBezTo>
                    <a:pt x="190819" y="86058"/>
                    <a:pt x="178611" y="87986"/>
                    <a:pt x="172829" y="91840"/>
                  </a:cubicBezTo>
                  <a:cubicBezTo>
                    <a:pt x="167047" y="95053"/>
                    <a:pt x="154839" y="103405"/>
                    <a:pt x="144560" y="114328"/>
                  </a:cubicBezTo>
                  <a:cubicBezTo>
                    <a:pt x="134280" y="124607"/>
                    <a:pt x="127213" y="132960"/>
                    <a:pt x="121430" y="140670"/>
                  </a:cubicBezTo>
                  <a:cubicBezTo>
                    <a:pt x="116290" y="148379"/>
                    <a:pt x="111793" y="150949"/>
                    <a:pt x="109865" y="157374"/>
                  </a:cubicBezTo>
                  <a:cubicBezTo>
                    <a:pt x="107295" y="163799"/>
                    <a:pt x="109223" y="172151"/>
                    <a:pt x="106653" y="184359"/>
                  </a:cubicBezTo>
                  <a:cubicBezTo>
                    <a:pt x="104725" y="196566"/>
                    <a:pt x="102798" y="202348"/>
                    <a:pt x="102156" y="204918"/>
                  </a:cubicBezTo>
                  <a:cubicBezTo>
                    <a:pt x="101513" y="207488"/>
                    <a:pt x="100870" y="217125"/>
                    <a:pt x="102798" y="221623"/>
                  </a:cubicBezTo>
                  <a:cubicBezTo>
                    <a:pt x="104725" y="226120"/>
                    <a:pt x="106653" y="225478"/>
                    <a:pt x="107938" y="228048"/>
                  </a:cubicBezTo>
                  <a:cubicBezTo>
                    <a:pt x="109223" y="230618"/>
                    <a:pt x="107295" y="233830"/>
                    <a:pt x="106653" y="240255"/>
                  </a:cubicBezTo>
                  <a:cubicBezTo>
                    <a:pt x="106010" y="246680"/>
                    <a:pt x="109865" y="242183"/>
                    <a:pt x="113720" y="242183"/>
                  </a:cubicBezTo>
                  <a:cubicBezTo>
                    <a:pt x="117575" y="242183"/>
                    <a:pt x="139420" y="242183"/>
                    <a:pt x="153555" y="241540"/>
                  </a:cubicBezTo>
                  <a:cubicBezTo>
                    <a:pt x="168332" y="240897"/>
                    <a:pt x="169617" y="242183"/>
                    <a:pt x="171544" y="242183"/>
                  </a:cubicBezTo>
                  <a:cubicBezTo>
                    <a:pt x="173472" y="242825"/>
                    <a:pt x="186321" y="248607"/>
                    <a:pt x="186321" y="251177"/>
                  </a:cubicBezTo>
                  <a:cubicBezTo>
                    <a:pt x="186321" y="253747"/>
                    <a:pt x="170902" y="250535"/>
                    <a:pt x="170902" y="250535"/>
                  </a:cubicBezTo>
                  <a:cubicBezTo>
                    <a:pt x="170902" y="250535"/>
                    <a:pt x="165119" y="253747"/>
                    <a:pt x="165119" y="255032"/>
                  </a:cubicBezTo>
                  <a:cubicBezTo>
                    <a:pt x="164477" y="256317"/>
                    <a:pt x="158052" y="262742"/>
                    <a:pt x="156767" y="265955"/>
                  </a:cubicBezTo>
                  <a:cubicBezTo>
                    <a:pt x="155482" y="269809"/>
                    <a:pt x="154197" y="280732"/>
                    <a:pt x="154197" y="296151"/>
                  </a:cubicBezTo>
                  <a:cubicBezTo>
                    <a:pt x="154197" y="310929"/>
                    <a:pt x="155482" y="355260"/>
                    <a:pt x="155482" y="369395"/>
                  </a:cubicBezTo>
                  <a:cubicBezTo>
                    <a:pt x="155482" y="383530"/>
                    <a:pt x="154839" y="383530"/>
                    <a:pt x="153555" y="393167"/>
                  </a:cubicBezTo>
                  <a:cubicBezTo>
                    <a:pt x="152269" y="402804"/>
                    <a:pt x="122715" y="441354"/>
                    <a:pt x="122715" y="441354"/>
                  </a:cubicBezTo>
                  <a:cubicBezTo>
                    <a:pt x="122715" y="441354"/>
                    <a:pt x="116290" y="454203"/>
                    <a:pt x="113720" y="459343"/>
                  </a:cubicBezTo>
                  <a:cubicBezTo>
                    <a:pt x="111150" y="464483"/>
                    <a:pt x="107938" y="482473"/>
                    <a:pt x="107938" y="494038"/>
                  </a:cubicBezTo>
                  <a:cubicBezTo>
                    <a:pt x="107938" y="505602"/>
                    <a:pt x="106653" y="525519"/>
                    <a:pt x="105368" y="532587"/>
                  </a:cubicBezTo>
                  <a:cubicBezTo>
                    <a:pt x="104725" y="539654"/>
                    <a:pt x="102798" y="539654"/>
                    <a:pt x="100228" y="542867"/>
                  </a:cubicBezTo>
                  <a:cubicBezTo>
                    <a:pt x="97658" y="546722"/>
                    <a:pt x="88663" y="542867"/>
                    <a:pt x="82881" y="540297"/>
                  </a:cubicBezTo>
                  <a:cubicBezTo>
                    <a:pt x="77098" y="537727"/>
                    <a:pt x="60394" y="538369"/>
                    <a:pt x="57181" y="537084"/>
                  </a:cubicBezTo>
                  <a:cubicBezTo>
                    <a:pt x="53326" y="535799"/>
                    <a:pt x="46902" y="532587"/>
                    <a:pt x="35979" y="529374"/>
                  </a:cubicBezTo>
                  <a:cubicBezTo>
                    <a:pt x="25057" y="526162"/>
                    <a:pt x="21845" y="531302"/>
                    <a:pt x="17347" y="532587"/>
                  </a:cubicBezTo>
                  <a:cubicBezTo>
                    <a:pt x="12850" y="533872"/>
                    <a:pt x="10280" y="540939"/>
                    <a:pt x="8995" y="544794"/>
                  </a:cubicBezTo>
                  <a:cubicBezTo>
                    <a:pt x="7710" y="548649"/>
                    <a:pt x="10280" y="556359"/>
                    <a:pt x="12850" y="558929"/>
                  </a:cubicBezTo>
                  <a:cubicBezTo>
                    <a:pt x="15420" y="561499"/>
                    <a:pt x="18632" y="565354"/>
                    <a:pt x="17990" y="573064"/>
                  </a:cubicBezTo>
                  <a:cubicBezTo>
                    <a:pt x="17347" y="580773"/>
                    <a:pt x="7067" y="570494"/>
                    <a:pt x="5140" y="571778"/>
                  </a:cubicBezTo>
                  <a:cubicBezTo>
                    <a:pt x="3212" y="573064"/>
                    <a:pt x="0" y="581416"/>
                    <a:pt x="0" y="585271"/>
                  </a:cubicBezTo>
                  <a:cubicBezTo>
                    <a:pt x="0" y="588483"/>
                    <a:pt x="643" y="593623"/>
                    <a:pt x="1285" y="601975"/>
                  </a:cubicBezTo>
                  <a:cubicBezTo>
                    <a:pt x="1927" y="610328"/>
                    <a:pt x="8995" y="614825"/>
                    <a:pt x="13492" y="616753"/>
                  </a:cubicBezTo>
                  <a:cubicBezTo>
                    <a:pt x="17990" y="618680"/>
                    <a:pt x="32124" y="623177"/>
                    <a:pt x="37264" y="625747"/>
                  </a:cubicBezTo>
                  <a:cubicBezTo>
                    <a:pt x="43047" y="628317"/>
                    <a:pt x="54611" y="631530"/>
                    <a:pt x="57181" y="632815"/>
                  </a:cubicBezTo>
                  <a:cubicBezTo>
                    <a:pt x="59751" y="634100"/>
                    <a:pt x="69389" y="635385"/>
                    <a:pt x="71316" y="635385"/>
                  </a:cubicBezTo>
                  <a:cubicBezTo>
                    <a:pt x="72601" y="635385"/>
                    <a:pt x="76456" y="627675"/>
                    <a:pt x="80311" y="625747"/>
                  </a:cubicBezTo>
                  <a:cubicBezTo>
                    <a:pt x="84166" y="623820"/>
                    <a:pt x="85451" y="627032"/>
                    <a:pt x="87378" y="628317"/>
                  </a:cubicBezTo>
                  <a:cubicBezTo>
                    <a:pt x="89306" y="629602"/>
                    <a:pt x="94446" y="640525"/>
                    <a:pt x="97658" y="644380"/>
                  </a:cubicBezTo>
                  <a:cubicBezTo>
                    <a:pt x="100870" y="648235"/>
                    <a:pt x="105368" y="655302"/>
                    <a:pt x="107938" y="662369"/>
                  </a:cubicBezTo>
                  <a:cubicBezTo>
                    <a:pt x="109865" y="667509"/>
                    <a:pt x="100228" y="677146"/>
                    <a:pt x="96373" y="681644"/>
                  </a:cubicBezTo>
                  <a:cubicBezTo>
                    <a:pt x="95731" y="681644"/>
                    <a:pt x="95731" y="682286"/>
                    <a:pt x="95731" y="682286"/>
                  </a:cubicBezTo>
                  <a:lnTo>
                    <a:pt x="95088" y="682929"/>
                  </a:lnTo>
                  <a:cubicBezTo>
                    <a:pt x="94446" y="683571"/>
                    <a:pt x="94446" y="683571"/>
                    <a:pt x="94446" y="683571"/>
                  </a:cubicBezTo>
                  <a:cubicBezTo>
                    <a:pt x="94446" y="683571"/>
                    <a:pt x="86093" y="695136"/>
                    <a:pt x="85451" y="698991"/>
                  </a:cubicBezTo>
                  <a:cubicBezTo>
                    <a:pt x="84808" y="702203"/>
                    <a:pt x="88663" y="706058"/>
                    <a:pt x="95731" y="711198"/>
                  </a:cubicBezTo>
                  <a:cubicBezTo>
                    <a:pt x="97658" y="712483"/>
                    <a:pt x="98943" y="713768"/>
                    <a:pt x="98301" y="715053"/>
                  </a:cubicBezTo>
                  <a:cubicBezTo>
                    <a:pt x="98943" y="715053"/>
                    <a:pt x="99586" y="714411"/>
                    <a:pt x="100228" y="714411"/>
                  </a:cubicBezTo>
                  <a:cubicBezTo>
                    <a:pt x="106010" y="712483"/>
                    <a:pt x="110508" y="709913"/>
                    <a:pt x="115648" y="707343"/>
                  </a:cubicBezTo>
                  <a:cubicBezTo>
                    <a:pt x="120145" y="704773"/>
                    <a:pt x="124643" y="704773"/>
                    <a:pt x="130425" y="705416"/>
                  </a:cubicBezTo>
                  <a:cubicBezTo>
                    <a:pt x="145202" y="706701"/>
                    <a:pt x="158052" y="710556"/>
                    <a:pt x="172187" y="704773"/>
                  </a:cubicBezTo>
                  <a:cubicBezTo>
                    <a:pt x="185036" y="698991"/>
                    <a:pt x="197244" y="690639"/>
                    <a:pt x="207523" y="681644"/>
                  </a:cubicBezTo>
                  <a:cubicBezTo>
                    <a:pt x="224871" y="666867"/>
                    <a:pt x="240933" y="650804"/>
                    <a:pt x="260850" y="638597"/>
                  </a:cubicBezTo>
                  <a:cubicBezTo>
                    <a:pt x="265990" y="635385"/>
                    <a:pt x="271772" y="632815"/>
                    <a:pt x="278197" y="634100"/>
                  </a:cubicBezTo>
                  <a:cubicBezTo>
                    <a:pt x="291047" y="636670"/>
                    <a:pt x="292974" y="654017"/>
                    <a:pt x="303897" y="660442"/>
                  </a:cubicBezTo>
                  <a:cubicBezTo>
                    <a:pt x="318031" y="669437"/>
                    <a:pt x="341161" y="657229"/>
                    <a:pt x="353368" y="668794"/>
                  </a:cubicBezTo>
                  <a:cubicBezTo>
                    <a:pt x="355938" y="670722"/>
                    <a:pt x="357223" y="673934"/>
                    <a:pt x="358508" y="676504"/>
                  </a:cubicBezTo>
                  <a:cubicBezTo>
                    <a:pt x="362363" y="686141"/>
                    <a:pt x="361078" y="697063"/>
                    <a:pt x="359150" y="707343"/>
                  </a:cubicBezTo>
                  <a:cubicBezTo>
                    <a:pt x="355938" y="723406"/>
                    <a:pt x="351441" y="738825"/>
                    <a:pt x="344373" y="753602"/>
                  </a:cubicBezTo>
                  <a:cubicBezTo>
                    <a:pt x="339876" y="763240"/>
                    <a:pt x="334736" y="772877"/>
                    <a:pt x="336021" y="783799"/>
                  </a:cubicBezTo>
                  <a:cubicBezTo>
                    <a:pt x="337948" y="801789"/>
                    <a:pt x="359793" y="813996"/>
                    <a:pt x="379068" y="812069"/>
                  </a:cubicBezTo>
                  <a:cubicBezTo>
                    <a:pt x="398342" y="810141"/>
                    <a:pt x="415047" y="798577"/>
                    <a:pt x="429182" y="785084"/>
                  </a:cubicBezTo>
                  <a:cubicBezTo>
                    <a:pt x="433679" y="780587"/>
                    <a:pt x="438176" y="776089"/>
                    <a:pt x="444601" y="772877"/>
                  </a:cubicBezTo>
                  <a:cubicBezTo>
                    <a:pt x="451669" y="769665"/>
                    <a:pt x="458736" y="770950"/>
                    <a:pt x="465803" y="772235"/>
                  </a:cubicBezTo>
                  <a:cubicBezTo>
                    <a:pt x="468373" y="772877"/>
                    <a:pt x="490218" y="778017"/>
                    <a:pt x="491503" y="774162"/>
                  </a:cubicBezTo>
                  <a:cubicBezTo>
                    <a:pt x="492788" y="768380"/>
                    <a:pt x="496643" y="762597"/>
                    <a:pt x="501140" y="758742"/>
                  </a:cubicBezTo>
                  <a:cubicBezTo>
                    <a:pt x="504353" y="756172"/>
                    <a:pt x="508850" y="753602"/>
                    <a:pt x="510135" y="749748"/>
                  </a:cubicBezTo>
                  <a:cubicBezTo>
                    <a:pt x="511420" y="745893"/>
                    <a:pt x="510135" y="742038"/>
                    <a:pt x="508208" y="738825"/>
                  </a:cubicBezTo>
                  <a:cubicBezTo>
                    <a:pt x="506280" y="735613"/>
                    <a:pt x="503068" y="732400"/>
                    <a:pt x="500498" y="729188"/>
                  </a:cubicBezTo>
                  <a:cubicBezTo>
                    <a:pt x="496643" y="723406"/>
                    <a:pt x="494715" y="716338"/>
                    <a:pt x="493430" y="709271"/>
                  </a:cubicBezTo>
                  <a:cubicBezTo>
                    <a:pt x="491503" y="699633"/>
                    <a:pt x="489575" y="689354"/>
                    <a:pt x="490860" y="679716"/>
                  </a:cubicBezTo>
                  <a:cubicBezTo>
                    <a:pt x="492145" y="673934"/>
                    <a:pt x="493430" y="666224"/>
                    <a:pt x="487648" y="663012"/>
                  </a:cubicBezTo>
                  <a:cubicBezTo>
                    <a:pt x="485078" y="661727"/>
                    <a:pt x="481865" y="661727"/>
                    <a:pt x="479296" y="661084"/>
                  </a:cubicBezTo>
                  <a:cubicBezTo>
                    <a:pt x="473513" y="659157"/>
                    <a:pt x="470943" y="652732"/>
                    <a:pt x="472228" y="646950"/>
                  </a:cubicBezTo>
                  <a:cubicBezTo>
                    <a:pt x="473513" y="641167"/>
                    <a:pt x="477368" y="636670"/>
                    <a:pt x="481865" y="632815"/>
                  </a:cubicBezTo>
                  <a:cubicBezTo>
                    <a:pt x="499213" y="618038"/>
                    <a:pt x="522985" y="611613"/>
                    <a:pt x="545472" y="605830"/>
                  </a:cubicBezTo>
                  <a:cubicBezTo>
                    <a:pt x="552539" y="603903"/>
                    <a:pt x="562819" y="602618"/>
                    <a:pt x="566674" y="609043"/>
                  </a:cubicBezTo>
                  <a:cubicBezTo>
                    <a:pt x="568601" y="611613"/>
                    <a:pt x="568601" y="615468"/>
                    <a:pt x="568601" y="618680"/>
                  </a:cubicBezTo>
                  <a:cubicBezTo>
                    <a:pt x="568601" y="623820"/>
                    <a:pt x="567959" y="629602"/>
                    <a:pt x="567959" y="635385"/>
                  </a:cubicBezTo>
                  <a:cubicBezTo>
                    <a:pt x="567959" y="639882"/>
                    <a:pt x="567316" y="644380"/>
                    <a:pt x="569886" y="648235"/>
                  </a:cubicBezTo>
                  <a:cubicBezTo>
                    <a:pt x="574384" y="655944"/>
                    <a:pt x="585306" y="657229"/>
                    <a:pt x="594301" y="656587"/>
                  </a:cubicBezTo>
                  <a:cubicBezTo>
                    <a:pt x="603938" y="656587"/>
                    <a:pt x="614218" y="655944"/>
                    <a:pt x="623855" y="652732"/>
                  </a:cubicBezTo>
                  <a:cubicBezTo>
                    <a:pt x="633493" y="649519"/>
                    <a:pt x="641845" y="643737"/>
                    <a:pt x="646985" y="636027"/>
                  </a:cubicBezTo>
                  <a:cubicBezTo>
                    <a:pt x="652125" y="627032"/>
                    <a:pt x="654052" y="615468"/>
                    <a:pt x="663047" y="610328"/>
                  </a:cubicBezTo>
                  <a:cubicBezTo>
                    <a:pt x="666902" y="608400"/>
                    <a:pt x="670757" y="607758"/>
                    <a:pt x="674612" y="607758"/>
                  </a:cubicBezTo>
                  <a:cubicBezTo>
                    <a:pt x="679752" y="607115"/>
                    <a:pt x="686176" y="607115"/>
                    <a:pt x="689389" y="611613"/>
                  </a:cubicBezTo>
                  <a:cubicBezTo>
                    <a:pt x="690674" y="613540"/>
                    <a:pt x="690674" y="616110"/>
                    <a:pt x="690674" y="618038"/>
                  </a:cubicBezTo>
                  <a:cubicBezTo>
                    <a:pt x="690674" y="631530"/>
                    <a:pt x="687461" y="645022"/>
                    <a:pt x="683607" y="657872"/>
                  </a:cubicBezTo>
                  <a:cubicBezTo>
                    <a:pt x="681679" y="665582"/>
                    <a:pt x="679109" y="673291"/>
                    <a:pt x="672684" y="678431"/>
                  </a:cubicBezTo>
                  <a:cubicBezTo>
                    <a:pt x="668829" y="681644"/>
                    <a:pt x="663689" y="682286"/>
                    <a:pt x="658550" y="681644"/>
                  </a:cubicBezTo>
                  <a:cubicBezTo>
                    <a:pt x="654695" y="681001"/>
                    <a:pt x="654695" y="680359"/>
                    <a:pt x="652767" y="682929"/>
                  </a:cubicBezTo>
                  <a:cubicBezTo>
                    <a:pt x="651482" y="684856"/>
                    <a:pt x="650197" y="687426"/>
                    <a:pt x="649555" y="689996"/>
                  </a:cubicBezTo>
                  <a:cubicBezTo>
                    <a:pt x="646342" y="699633"/>
                    <a:pt x="645700" y="709913"/>
                    <a:pt x="647627" y="720193"/>
                  </a:cubicBezTo>
                  <a:cubicBezTo>
                    <a:pt x="650840" y="735613"/>
                    <a:pt x="659834" y="749105"/>
                    <a:pt x="670757" y="760670"/>
                  </a:cubicBezTo>
                  <a:cubicBezTo>
                    <a:pt x="672684" y="762597"/>
                    <a:pt x="674612" y="764525"/>
                    <a:pt x="676539" y="765167"/>
                  </a:cubicBezTo>
                  <a:cubicBezTo>
                    <a:pt x="679109" y="765810"/>
                    <a:pt x="681679" y="765810"/>
                    <a:pt x="684249" y="765810"/>
                  </a:cubicBezTo>
                  <a:cubicBezTo>
                    <a:pt x="689389" y="766452"/>
                    <a:pt x="693886" y="770950"/>
                    <a:pt x="696456" y="775447"/>
                  </a:cubicBezTo>
                  <a:cubicBezTo>
                    <a:pt x="699026" y="779944"/>
                    <a:pt x="700311" y="785084"/>
                    <a:pt x="702881" y="789582"/>
                  </a:cubicBezTo>
                  <a:cubicBezTo>
                    <a:pt x="709306" y="803716"/>
                    <a:pt x="720871" y="815281"/>
                    <a:pt x="729866" y="828131"/>
                  </a:cubicBezTo>
                  <a:cubicBezTo>
                    <a:pt x="738860" y="841623"/>
                    <a:pt x="744643" y="857043"/>
                    <a:pt x="745928" y="872463"/>
                  </a:cubicBezTo>
                  <a:cubicBezTo>
                    <a:pt x="746570" y="876960"/>
                    <a:pt x="746570" y="880815"/>
                    <a:pt x="748498" y="885312"/>
                  </a:cubicBezTo>
                  <a:cubicBezTo>
                    <a:pt x="750425" y="889167"/>
                    <a:pt x="754280" y="892380"/>
                    <a:pt x="758778" y="892380"/>
                  </a:cubicBezTo>
                  <a:cubicBezTo>
                    <a:pt x="764560" y="892380"/>
                    <a:pt x="768415" y="887240"/>
                    <a:pt x="772912" y="884027"/>
                  </a:cubicBezTo>
                  <a:cubicBezTo>
                    <a:pt x="774197" y="883385"/>
                    <a:pt x="776125" y="882100"/>
                    <a:pt x="778052" y="882100"/>
                  </a:cubicBezTo>
                  <a:cubicBezTo>
                    <a:pt x="781265" y="882100"/>
                    <a:pt x="783835" y="885312"/>
                    <a:pt x="785119" y="888525"/>
                  </a:cubicBezTo>
                  <a:cubicBezTo>
                    <a:pt x="790902" y="901374"/>
                    <a:pt x="793472" y="917437"/>
                    <a:pt x="783835" y="928359"/>
                  </a:cubicBezTo>
                  <a:cubicBezTo>
                    <a:pt x="781265" y="931571"/>
                    <a:pt x="777410" y="934141"/>
                    <a:pt x="774197" y="936711"/>
                  </a:cubicBezTo>
                  <a:cubicBezTo>
                    <a:pt x="764560" y="945064"/>
                    <a:pt x="760063" y="957271"/>
                    <a:pt x="760063" y="968836"/>
                  </a:cubicBezTo>
                  <a:cubicBezTo>
                    <a:pt x="760063" y="973333"/>
                    <a:pt x="760063" y="982328"/>
                    <a:pt x="763917" y="985540"/>
                  </a:cubicBezTo>
                  <a:cubicBezTo>
                    <a:pt x="768415" y="989395"/>
                    <a:pt x="776125" y="986183"/>
                    <a:pt x="779337" y="982970"/>
                  </a:cubicBezTo>
                  <a:cubicBezTo>
                    <a:pt x="780622" y="982328"/>
                    <a:pt x="781265" y="981043"/>
                    <a:pt x="782550" y="980400"/>
                  </a:cubicBezTo>
                  <a:cubicBezTo>
                    <a:pt x="784477" y="979758"/>
                    <a:pt x="785762" y="980400"/>
                    <a:pt x="787047" y="981685"/>
                  </a:cubicBezTo>
                  <a:cubicBezTo>
                    <a:pt x="787690" y="982328"/>
                    <a:pt x="788974" y="982970"/>
                    <a:pt x="789617" y="983613"/>
                  </a:cubicBezTo>
                  <a:cubicBezTo>
                    <a:pt x="798612" y="990680"/>
                    <a:pt x="811462" y="988753"/>
                    <a:pt x="823026" y="989395"/>
                  </a:cubicBezTo>
                  <a:cubicBezTo>
                    <a:pt x="830094" y="990038"/>
                    <a:pt x="837161" y="991965"/>
                    <a:pt x="843586" y="995820"/>
                  </a:cubicBezTo>
                  <a:cubicBezTo>
                    <a:pt x="848726" y="998390"/>
                    <a:pt x="853866" y="1002245"/>
                    <a:pt x="855151" y="1008027"/>
                  </a:cubicBezTo>
                  <a:cubicBezTo>
                    <a:pt x="857078" y="1013167"/>
                    <a:pt x="853866" y="1020235"/>
                    <a:pt x="848083" y="1021520"/>
                  </a:cubicBezTo>
                  <a:cubicBezTo>
                    <a:pt x="842943" y="1022805"/>
                    <a:pt x="837161" y="1019592"/>
                    <a:pt x="833306" y="1022805"/>
                  </a:cubicBezTo>
                  <a:cubicBezTo>
                    <a:pt x="832021" y="1024089"/>
                    <a:pt x="830736" y="1025375"/>
                    <a:pt x="830736" y="1027302"/>
                  </a:cubicBezTo>
                  <a:cubicBezTo>
                    <a:pt x="826239" y="1040152"/>
                    <a:pt x="833306" y="1053001"/>
                    <a:pt x="841658" y="1063924"/>
                  </a:cubicBezTo>
                  <a:cubicBezTo>
                    <a:pt x="845513" y="1069064"/>
                    <a:pt x="849368" y="1074204"/>
                    <a:pt x="848083" y="1079986"/>
                  </a:cubicBezTo>
                  <a:cubicBezTo>
                    <a:pt x="846798" y="1086411"/>
                    <a:pt x="839088" y="1089623"/>
                    <a:pt x="832021" y="1090908"/>
                  </a:cubicBezTo>
                  <a:cubicBezTo>
                    <a:pt x="824954" y="1092193"/>
                    <a:pt x="817886" y="1091551"/>
                    <a:pt x="811462" y="1094121"/>
                  </a:cubicBezTo>
                  <a:cubicBezTo>
                    <a:pt x="807607" y="1104400"/>
                    <a:pt x="817244" y="1114038"/>
                    <a:pt x="826881" y="1119820"/>
                  </a:cubicBezTo>
                  <a:cubicBezTo>
                    <a:pt x="834591" y="1124960"/>
                    <a:pt x="842943" y="1129458"/>
                    <a:pt x="851296" y="1133312"/>
                  </a:cubicBezTo>
                  <a:cubicBezTo>
                    <a:pt x="855151" y="1135240"/>
                    <a:pt x="859648" y="1137167"/>
                    <a:pt x="864145" y="1137167"/>
                  </a:cubicBezTo>
                  <a:cubicBezTo>
                    <a:pt x="872498" y="1137167"/>
                    <a:pt x="878923" y="1132028"/>
                    <a:pt x="885348" y="1126887"/>
                  </a:cubicBezTo>
                  <a:cubicBezTo>
                    <a:pt x="886633" y="1125603"/>
                    <a:pt x="888560" y="1124318"/>
                    <a:pt x="889203" y="1122390"/>
                  </a:cubicBezTo>
                  <a:cubicBezTo>
                    <a:pt x="890487" y="1117893"/>
                    <a:pt x="884705" y="1115323"/>
                    <a:pt x="879565" y="1114680"/>
                  </a:cubicBezTo>
                  <a:cubicBezTo>
                    <a:pt x="875068" y="1114038"/>
                    <a:pt x="869285" y="1113395"/>
                    <a:pt x="866715" y="1109540"/>
                  </a:cubicBezTo>
                  <a:cubicBezTo>
                    <a:pt x="864145" y="1105043"/>
                    <a:pt x="868643" y="1099903"/>
                    <a:pt x="873140" y="1097333"/>
                  </a:cubicBezTo>
                  <a:cubicBezTo>
                    <a:pt x="887275" y="1088981"/>
                    <a:pt x="905907" y="1088338"/>
                    <a:pt x="921327" y="1094763"/>
                  </a:cubicBezTo>
                  <a:cubicBezTo>
                    <a:pt x="922612" y="1095406"/>
                    <a:pt x="924539" y="1096048"/>
                    <a:pt x="925824" y="1097333"/>
                  </a:cubicBezTo>
                  <a:cubicBezTo>
                    <a:pt x="933534" y="1088981"/>
                    <a:pt x="945099" y="1083841"/>
                    <a:pt x="956664" y="1082556"/>
                  </a:cubicBezTo>
                  <a:cubicBezTo>
                    <a:pt x="965016" y="1081913"/>
                    <a:pt x="975296" y="1082556"/>
                    <a:pt x="980436" y="1076774"/>
                  </a:cubicBezTo>
                  <a:cubicBezTo>
                    <a:pt x="982363" y="1074204"/>
                    <a:pt x="983648" y="1070991"/>
                    <a:pt x="985576" y="1068421"/>
                  </a:cubicBezTo>
                  <a:cubicBezTo>
                    <a:pt x="990073" y="1063281"/>
                    <a:pt x="998425" y="1062639"/>
                    <a:pt x="1005493" y="1060711"/>
                  </a:cubicBezTo>
                  <a:cubicBezTo>
                    <a:pt x="1016415" y="1056856"/>
                    <a:pt x="1024125" y="1047862"/>
                    <a:pt x="1033120" y="1040794"/>
                  </a:cubicBezTo>
                  <a:cubicBezTo>
                    <a:pt x="1049824" y="1027944"/>
                    <a:pt x="1071669" y="1023447"/>
                    <a:pt x="1090944" y="1015095"/>
                  </a:cubicBezTo>
                  <a:cubicBezTo>
                    <a:pt x="1100581" y="1010597"/>
                    <a:pt x="1110218" y="1005457"/>
                    <a:pt x="1119213" y="1000318"/>
                  </a:cubicBezTo>
                  <a:cubicBezTo>
                    <a:pt x="1126923" y="995820"/>
                    <a:pt x="1137203" y="989395"/>
                    <a:pt x="1139773" y="981043"/>
                  </a:cubicBezTo>
                  <a:cubicBezTo>
                    <a:pt x="1140415" y="978473"/>
                    <a:pt x="1140415" y="975903"/>
                    <a:pt x="1139773" y="973333"/>
                  </a:cubicBezTo>
                  <a:cubicBezTo>
                    <a:pt x="1137203" y="960483"/>
                    <a:pt x="1127565" y="950846"/>
                    <a:pt x="1123710" y="939281"/>
                  </a:cubicBezTo>
                  <a:cubicBezTo>
                    <a:pt x="1120498" y="930286"/>
                    <a:pt x="1121783" y="920007"/>
                    <a:pt x="1117928" y="911012"/>
                  </a:cubicBezTo>
                  <a:cubicBezTo>
                    <a:pt x="1117286" y="910369"/>
                    <a:pt x="1117286" y="909084"/>
                    <a:pt x="1116643" y="908442"/>
                  </a:cubicBezTo>
                  <a:cubicBezTo>
                    <a:pt x="1114716" y="904587"/>
                    <a:pt x="1112146" y="900732"/>
                    <a:pt x="1112146" y="896877"/>
                  </a:cubicBezTo>
                  <a:cubicBezTo>
                    <a:pt x="1112788" y="889810"/>
                    <a:pt x="1119855" y="885312"/>
                    <a:pt x="1125638" y="882100"/>
                  </a:cubicBezTo>
                  <a:cubicBezTo>
                    <a:pt x="1126923" y="881457"/>
                    <a:pt x="1128850" y="880172"/>
                    <a:pt x="1129493" y="878887"/>
                  </a:cubicBezTo>
                  <a:cubicBezTo>
                    <a:pt x="1130135" y="877602"/>
                    <a:pt x="1130135" y="876318"/>
                    <a:pt x="1130135" y="875033"/>
                  </a:cubicBezTo>
                  <a:cubicBezTo>
                    <a:pt x="1130778" y="866680"/>
                    <a:pt x="1126923" y="858970"/>
                    <a:pt x="1122425" y="851903"/>
                  </a:cubicBezTo>
                  <a:cubicBezTo>
                    <a:pt x="1117928" y="844836"/>
                    <a:pt x="1112146" y="838411"/>
                    <a:pt x="1107006" y="831986"/>
                  </a:cubicBezTo>
                  <a:cubicBezTo>
                    <a:pt x="1105078" y="829416"/>
                    <a:pt x="1102508" y="825561"/>
                    <a:pt x="1102508" y="822349"/>
                  </a:cubicBezTo>
                  <a:cubicBezTo>
                    <a:pt x="1103151" y="816566"/>
                    <a:pt x="1109576" y="812711"/>
                    <a:pt x="1115358" y="810141"/>
                  </a:cubicBezTo>
                  <a:cubicBezTo>
                    <a:pt x="1126280" y="805001"/>
                    <a:pt x="1137203" y="799861"/>
                    <a:pt x="1149410" y="798577"/>
                  </a:cubicBezTo>
                  <a:cubicBezTo>
                    <a:pt x="1156477" y="797934"/>
                    <a:pt x="1164187" y="798577"/>
                    <a:pt x="1171254" y="799861"/>
                  </a:cubicBezTo>
                  <a:cubicBezTo>
                    <a:pt x="1182177" y="801147"/>
                    <a:pt x="1193741" y="802431"/>
                    <a:pt x="1204664" y="803716"/>
                  </a:cubicBezTo>
                  <a:cubicBezTo>
                    <a:pt x="1207234" y="803716"/>
                    <a:pt x="1209804" y="804359"/>
                    <a:pt x="1212374" y="803074"/>
                  </a:cubicBezTo>
                  <a:cubicBezTo>
                    <a:pt x="1214301" y="801789"/>
                    <a:pt x="1214943" y="800504"/>
                    <a:pt x="1216229" y="798577"/>
                  </a:cubicBezTo>
                  <a:cubicBezTo>
                    <a:pt x="1223938" y="783799"/>
                    <a:pt x="1231648" y="769665"/>
                    <a:pt x="1238716" y="755530"/>
                  </a:cubicBezTo>
                  <a:cubicBezTo>
                    <a:pt x="1239358" y="754245"/>
                    <a:pt x="1240001" y="752960"/>
                    <a:pt x="1240001" y="751675"/>
                  </a:cubicBezTo>
                  <a:cubicBezTo>
                    <a:pt x="1240643" y="747178"/>
                    <a:pt x="1235503" y="744608"/>
                    <a:pt x="1231006" y="743323"/>
                  </a:cubicBezTo>
                  <a:cubicBezTo>
                    <a:pt x="1234861" y="727903"/>
                    <a:pt x="1236146" y="711841"/>
                    <a:pt x="1233576" y="696421"/>
                  </a:cubicBezTo>
                  <a:cubicBezTo>
                    <a:pt x="1232291" y="688711"/>
                    <a:pt x="1230363" y="681001"/>
                    <a:pt x="1228436" y="673291"/>
                  </a:cubicBezTo>
                  <a:cubicBezTo>
                    <a:pt x="1221368" y="647592"/>
                    <a:pt x="1214943" y="621250"/>
                    <a:pt x="1207876" y="595551"/>
                  </a:cubicBezTo>
                  <a:cubicBezTo>
                    <a:pt x="1201451" y="572421"/>
                    <a:pt x="1199524" y="547364"/>
                    <a:pt x="1180892" y="529374"/>
                  </a:cubicBezTo>
                  <a:cubicBezTo>
                    <a:pt x="1173824" y="522307"/>
                    <a:pt x="1164830" y="517167"/>
                    <a:pt x="1159047" y="509457"/>
                  </a:cubicBezTo>
                  <a:cubicBezTo>
                    <a:pt x="1151337" y="499177"/>
                    <a:pt x="1150695" y="485043"/>
                    <a:pt x="1151980" y="472193"/>
                  </a:cubicBezTo>
                  <a:cubicBezTo>
                    <a:pt x="1152622" y="465768"/>
                    <a:pt x="1154550" y="458058"/>
                    <a:pt x="1160332" y="454203"/>
                  </a:cubicBezTo>
                  <a:cubicBezTo>
                    <a:pt x="1166115" y="450348"/>
                    <a:pt x="1174467" y="451633"/>
                    <a:pt x="1181534" y="452276"/>
                  </a:cubicBezTo>
                  <a:cubicBezTo>
                    <a:pt x="1188602" y="453561"/>
                    <a:pt x="1196954" y="454203"/>
                    <a:pt x="1202736" y="449706"/>
                  </a:cubicBezTo>
                  <a:cubicBezTo>
                    <a:pt x="1207234" y="445851"/>
                    <a:pt x="1207876" y="440711"/>
                    <a:pt x="1209161" y="434929"/>
                  </a:cubicBezTo>
                  <a:cubicBezTo>
                    <a:pt x="1209804" y="432359"/>
                    <a:pt x="1209804" y="429789"/>
                    <a:pt x="1210446" y="426576"/>
                  </a:cubicBezTo>
                  <a:cubicBezTo>
                    <a:pt x="1210446" y="425291"/>
                    <a:pt x="1211089" y="424006"/>
                    <a:pt x="1211731" y="423364"/>
                  </a:cubicBezTo>
                  <a:cubicBezTo>
                    <a:pt x="1212374" y="422721"/>
                    <a:pt x="1213659" y="422079"/>
                    <a:pt x="1214943" y="422079"/>
                  </a:cubicBezTo>
                  <a:cubicBezTo>
                    <a:pt x="1226508" y="418867"/>
                    <a:pt x="1240001" y="420794"/>
                    <a:pt x="1250280" y="427219"/>
                  </a:cubicBezTo>
                  <a:cubicBezTo>
                    <a:pt x="1252850" y="428504"/>
                    <a:pt x="1254778" y="430431"/>
                    <a:pt x="1257348" y="431716"/>
                  </a:cubicBezTo>
                  <a:cubicBezTo>
                    <a:pt x="1259275" y="432359"/>
                    <a:pt x="1261845" y="433001"/>
                    <a:pt x="1263773" y="433644"/>
                  </a:cubicBezTo>
                  <a:cubicBezTo>
                    <a:pt x="1272125" y="434929"/>
                    <a:pt x="1281762" y="436856"/>
                    <a:pt x="1290757" y="436214"/>
                  </a:cubicBezTo>
                  <a:cubicBezTo>
                    <a:pt x="1299109" y="435571"/>
                    <a:pt x="1307462" y="433001"/>
                    <a:pt x="1315172" y="431074"/>
                  </a:cubicBezTo>
                  <a:cubicBezTo>
                    <a:pt x="1322881" y="429789"/>
                    <a:pt x="1353721" y="403447"/>
                    <a:pt x="1368498" y="380960"/>
                  </a:cubicBezTo>
                  <a:cubicBezTo>
                    <a:pt x="1372353" y="374535"/>
                    <a:pt x="1377493" y="366825"/>
                    <a:pt x="1382633" y="359758"/>
                  </a:cubicBezTo>
                  <a:cubicBezTo>
                    <a:pt x="1378135" y="358473"/>
                    <a:pt x="1373638" y="360400"/>
                    <a:pt x="1369783" y="360400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 57">
              <a:extLst>
                <a:ext uri="{FF2B5EF4-FFF2-40B4-BE49-F238E27FC236}">
                  <a16:creationId xmlns:a16="http://schemas.microsoft.com/office/drawing/2014/main" id="{12C0B008-F68C-E083-441D-48308AD11BA9}"/>
                </a:ext>
              </a:extLst>
            </p:cNvPr>
            <p:cNvSpPr/>
            <p:nvPr/>
          </p:nvSpPr>
          <p:spPr>
            <a:xfrm>
              <a:off x="2008512" y="2708821"/>
              <a:ext cx="1382632" cy="1137167"/>
            </a:xfrm>
            <a:custGeom>
              <a:avLst/>
              <a:gdLst>
                <a:gd name="connsiteX0" fmla="*/ 646342 w 1382632"/>
                <a:gd name="connsiteY0" fmla="*/ 362970 h 1137167"/>
                <a:gd name="connsiteX1" fmla="*/ 642487 w 1382632"/>
                <a:gd name="connsiteY1" fmla="*/ 371965 h 1137167"/>
                <a:gd name="connsiteX2" fmla="*/ 632850 w 1382632"/>
                <a:gd name="connsiteY2" fmla="*/ 378390 h 1137167"/>
                <a:gd name="connsiteX3" fmla="*/ 622570 w 1382632"/>
                <a:gd name="connsiteY3" fmla="*/ 380960 h 1137167"/>
                <a:gd name="connsiteX4" fmla="*/ 582736 w 1382632"/>
                <a:gd name="connsiteY4" fmla="*/ 370680 h 1137167"/>
                <a:gd name="connsiteX5" fmla="*/ 557679 w 1382632"/>
                <a:gd name="connsiteY5" fmla="*/ 339198 h 1137167"/>
                <a:gd name="connsiteX6" fmla="*/ 552539 w 1382632"/>
                <a:gd name="connsiteY6" fmla="*/ 329561 h 1137167"/>
                <a:gd name="connsiteX7" fmla="*/ 540332 w 1382632"/>
                <a:gd name="connsiteY7" fmla="*/ 319923 h 1137167"/>
                <a:gd name="connsiteX8" fmla="*/ 524912 w 1382632"/>
                <a:gd name="connsiteY8" fmla="*/ 312214 h 1137167"/>
                <a:gd name="connsiteX9" fmla="*/ 511420 w 1382632"/>
                <a:gd name="connsiteY9" fmla="*/ 304504 h 1137167"/>
                <a:gd name="connsiteX10" fmla="*/ 504353 w 1382632"/>
                <a:gd name="connsiteY10" fmla="*/ 291654 h 1137167"/>
                <a:gd name="connsiteX11" fmla="*/ 506923 w 1382632"/>
                <a:gd name="connsiteY11" fmla="*/ 285872 h 1137167"/>
                <a:gd name="connsiteX12" fmla="*/ 517845 w 1382632"/>
                <a:gd name="connsiteY12" fmla="*/ 288442 h 1137167"/>
                <a:gd name="connsiteX13" fmla="*/ 614860 w 1382632"/>
                <a:gd name="connsiteY13" fmla="*/ 316711 h 1137167"/>
                <a:gd name="connsiteX14" fmla="*/ 633493 w 1382632"/>
                <a:gd name="connsiteY14" fmla="*/ 318638 h 1137167"/>
                <a:gd name="connsiteX15" fmla="*/ 648912 w 1382632"/>
                <a:gd name="connsiteY15" fmla="*/ 338556 h 1137167"/>
                <a:gd name="connsiteX16" fmla="*/ 646342 w 1382632"/>
                <a:gd name="connsiteY16" fmla="*/ 362970 h 1137167"/>
                <a:gd name="connsiteX17" fmla="*/ 1369783 w 1382632"/>
                <a:gd name="connsiteY17" fmla="*/ 360400 h 1137167"/>
                <a:gd name="connsiteX18" fmla="*/ 1352436 w 1382632"/>
                <a:gd name="connsiteY18" fmla="*/ 353975 h 1137167"/>
                <a:gd name="connsiteX19" fmla="*/ 1336374 w 1382632"/>
                <a:gd name="connsiteY19" fmla="*/ 347550 h 1137167"/>
                <a:gd name="connsiteX20" fmla="*/ 1303607 w 1382632"/>
                <a:gd name="connsiteY20" fmla="*/ 356545 h 1137167"/>
                <a:gd name="connsiteX21" fmla="*/ 1289472 w 1382632"/>
                <a:gd name="connsiteY21" fmla="*/ 343053 h 1137167"/>
                <a:gd name="connsiteX22" fmla="*/ 1283690 w 1382632"/>
                <a:gd name="connsiteY22" fmla="*/ 325063 h 1137167"/>
                <a:gd name="connsiteX23" fmla="*/ 1277265 w 1382632"/>
                <a:gd name="connsiteY23" fmla="*/ 323778 h 1137167"/>
                <a:gd name="connsiteX24" fmla="*/ 1261203 w 1382632"/>
                <a:gd name="connsiteY24" fmla="*/ 313499 h 1137167"/>
                <a:gd name="connsiteX25" fmla="*/ 1248353 w 1382632"/>
                <a:gd name="connsiteY25" fmla="*/ 296151 h 1137167"/>
                <a:gd name="connsiteX26" fmla="*/ 1229078 w 1382632"/>
                <a:gd name="connsiteY26" fmla="*/ 280732 h 1137167"/>
                <a:gd name="connsiteX27" fmla="*/ 1214301 w 1382632"/>
                <a:gd name="connsiteY27" fmla="*/ 262100 h 1137167"/>
                <a:gd name="connsiteX28" fmla="*/ 1180249 w 1382632"/>
                <a:gd name="connsiteY28" fmla="*/ 232545 h 1137167"/>
                <a:gd name="connsiteX29" fmla="*/ 1157762 w 1382632"/>
                <a:gd name="connsiteY29" fmla="*/ 244110 h 1137167"/>
                <a:gd name="connsiteX30" fmla="*/ 1137203 w 1382632"/>
                <a:gd name="connsiteY30" fmla="*/ 233188 h 1137167"/>
                <a:gd name="connsiteX31" fmla="*/ 1111503 w 1382632"/>
                <a:gd name="connsiteY31" fmla="*/ 222908 h 1137167"/>
                <a:gd name="connsiteX32" fmla="*/ 1107006 w 1382632"/>
                <a:gd name="connsiteY32" fmla="*/ 220338 h 1137167"/>
                <a:gd name="connsiteX33" fmla="*/ 1102508 w 1382632"/>
                <a:gd name="connsiteY33" fmla="*/ 222908 h 1137167"/>
                <a:gd name="connsiteX34" fmla="*/ 1082591 w 1382632"/>
                <a:gd name="connsiteY34" fmla="*/ 222908 h 1137167"/>
                <a:gd name="connsiteX35" fmla="*/ 1044684 w 1382632"/>
                <a:gd name="connsiteY35" fmla="*/ 214556 h 1137167"/>
                <a:gd name="connsiteX36" fmla="*/ 1016415 w 1382632"/>
                <a:gd name="connsiteY36" fmla="*/ 202348 h 1137167"/>
                <a:gd name="connsiteX37" fmla="*/ 1001638 w 1382632"/>
                <a:gd name="connsiteY37" fmla="*/ 204276 h 1137167"/>
                <a:gd name="connsiteX38" fmla="*/ 974011 w 1382632"/>
                <a:gd name="connsiteY38" fmla="*/ 202348 h 1137167"/>
                <a:gd name="connsiteX39" fmla="*/ 952166 w 1382632"/>
                <a:gd name="connsiteY39" fmla="*/ 201706 h 1137167"/>
                <a:gd name="connsiteX40" fmla="*/ 929679 w 1382632"/>
                <a:gd name="connsiteY40" fmla="*/ 204276 h 1137167"/>
                <a:gd name="connsiteX41" fmla="*/ 921969 w 1382632"/>
                <a:gd name="connsiteY41" fmla="*/ 207488 h 1137167"/>
                <a:gd name="connsiteX42" fmla="*/ 891130 w 1382632"/>
                <a:gd name="connsiteY42" fmla="*/ 203633 h 1137167"/>
                <a:gd name="connsiteX43" fmla="*/ 869285 w 1382632"/>
                <a:gd name="connsiteY43" fmla="*/ 181789 h 1137167"/>
                <a:gd name="connsiteX44" fmla="*/ 857078 w 1382632"/>
                <a:gd name="connsiteY44" fmla="*/ 161229 h 1137167"/>
                <a:gd name="connsiteX45" fmla="*/ 853866 w 1382632"/>
                <a:gd name="connsiteY45" fmla="*/ 152234 h 1137167"/>
                <a:gd name="connsiteX46" fmla="*/ 851938 w 1382632"/>
                <a:gd name="connsiteY46" fmla="*/ 152234 h 1137167"/>
                <a:gd name="connsiteX47" fmla="*/ 830736 w 1382632"/>
                <a:gd name="connsiteY47" fmla="*/ 149022 h 1137167"/>
                <a:gd name="connsiteX48" fmla="*/ 806322 w 1382632"/>
                <a:gd name="connsiteY48" fmla="*/ 133602 h 1137167"/>
                <a:gd name="connsiteX49" fmla="*/ 788974 w 1382632"/>
                <a:gd name="connsiteY49" fmla="*/ 107260 h 1137167"/>
                <a:gd name="connsiteX50" fmla="*/ 775482 w 1382632"/>
                <a:gd name="connsiteY50" fmla="*/ 90555 h 1137167"/>
                <a:gd name="connsiteX51" fmla="*/ 767772 w 1382632"/>
                <a:gd name="connsiteY51" fmla="*/ 78991 h 1137167"/>
                <a:gd name="connsiteX52" fmla="*/ 751710 w 1382632"/>
                <a:gd name="connsiteY52" fmla="*/ 51364 h 1137167"/>
                <a:gd name="connsiteX53" fmla="*/ 729223 w 1382632"/>
                <a:gd name="connsiteY53" fmla="*/ 23094 h 1137167"/>
                <a:gd name="connsiteX54" fmla="*/ 715088 w 1382632"/>
                <a:gd name="connsiteY54" fmla="*/ 17312 h 1137167"/>
                <a:gd name="connsiteX55" fmla="*/ 679109 w 1382632"/>
                <a:gd name="connsiteY55" fmla="*/ 17954 h 1137167"/>
                <a:gd name="connsiteX56" fmla="*/ 655980 w 1382632"/>
                <a:gd name="connsiteY56" fmla="*/ 28234 h 1137167"/>
                <a:gd name="connsiteX57" fmla="*/ 628995 w 1382632"/>
                <a:gd name="connsiteY57" fmla="*/ 28234 h 1137167"/>
                <a:gd name="connsiteX58" fmla="*/ 594301 w 1382632"/>
                <a:gd name="connsiteY58" fmla="*/ 28877 h 1137167"/>
                <a:gd name="connsiteX59" fmla="*/ 578239 w 1382632"/>
                <a:gd name="connsiteY59" fmla="*/ 22452 h 1137167"/>
                <a:gd name="connsiteX60" fmla="*/ 567316 w 1382632"/>
                <a:gd name="connsiteY60" fmla="*/ 5747 h 1137167"/>
                <a:gd name="connsiteX61" fmla="*/ 558964 w 1382632"/>
                <a:gd name="connsiteY61" fmla="*/ 607 h 1137167"/>
                <a:gd name="connsiteX62" fmla="*/ 539047 w 1382632"/>
                <a:gd name="connsiteY62" fmla="*/ 12172 h 1137167"/>
                <a:gd name="connsiteX63" fmla="*/ 526840 w 1382632"/>
                <a:gd name="connsiteY63" fmla="*/ 39157 h 1137167"/>
                <a:gd name="connsiteX64" fmla="*/ 514632 w 1382632"/>
                <a:gd name="connsiteY64" fmla="*/ 71923 h 1137167"/>
                <a:gd name="connsiteX65" fmla="*/ 506280 w 1382632"/>
                <a:gd name="connsiteY65" fmla="*/ 91840 h 1137167"/>
                <a:gd name="connsiteX66" fmla="*/ 504353 w 1382632"/>
                <a:gd name="connsiteY66" fmla="*/ 106618 h 1137167"/>
                <a:gd name="connsiteX67" fmla="*/ 513990 w 1382632"/>
                <a:gd name="connsiteY67" fmla="*/ 121395 h 1137167"/>
                <a:gd name="connsiteX68" fmla="*/ 524270 w 1382632"/>
                <a:gd name="connsiteY68" fmla="*/ 134887 h 1137167"/>
                <a:gd name="connsiteX69" fmla="*/ 529410 w 1382632"/>
                <a:gd name="connsiteY69" fmla="*/ 153519 h 1137167"/>
                <a:gd name="connsiteX70" fmla="*/ 522342 w 1382632"/>
                <a:gd name="connsiteY70" fmla="*/ 161229 h 1137167"/>
                <a:gd name="connsiteX71" fmla="*/ 518487 w 1382632"/>
                <a:gd name="connsiteY71" fmla="*/ 150949 h 1137167"/>
                <a:gd name="connsiteX72" fmla="*/ 517202 w 1382632"/>
                <a:gd name="connsiteY72" fmla="*/ 149664 h 1137167"/>
                <a:gd name="connsiteX73" fmla="*/ 496643 w 1382632"/>
                <a:gd name="connsiteY73" fmla="*/ 136815 h 1137167"/>
                <a:gd name="connsiteX74" fmla="*/ 472228 w 1382632"/>
                <a:gd name="connsiteY74" fmla="*/ 120752 h 1137167"/>
                <a:gd name="connsiteX75" fmla="*/ 451669 w 1382632"/>
                <a:gd name="connsiteY75" fmla="*/ 123965 h 1137167"/>
                <a:gd name="connsiteX76" fmla="*/ 437534 w 1382632"/>
                <a:gd name="connsiteY76" fmla="*/ 134245 h 1137167"/>
                <a:gd name="connsiteX77" fmla="*/ 437534 w 1382632"/>
                <a:gd name="connsiteY77" fmla="*/ 153519 h 1137167"/>
                <a:gd name="connsiteX78" fmla="*/ 439461 w 1382632"/>
                <a:gd name="connsiteY78" fmla="*/ 168939 h 1137167"/>
                <a:gd name="connsiteX79" fmla="*/ 449741 w 1382632"/>
                <a:gd name="connsiteY79" fmla="*/ 170224 h 1137167"/>
                <a:gd name="connsiteX80" fmla="*/ 459378 w 1382632"/>
                <a:gd name="connsiteY80" fmla="*/ 163157 h 1137167"/>
                <a:gd name="connsiteX81" fmla="*/ 465161 w 1382632"/>
                <a:gd name="connsiteY81" fmla="*/ 181789 h 1137167"/>
                <a:gd name="connsiteX82" fmla="*/ 463233 w 1382632"/>
                <a:gd name="connsiteY82" fmla="*/ 195923 h 1137167"/>
                <a:gd name="connsiteX83" fmla="*/ 453596 w 1382632"/>
                <a:gd name="connsiteY83" fmla="*/ 206846 h 1137167"/>
                <a:gd name="connsiteX84" fmla="*/ 440746 w 1382632"/>
                <a:gd name="connsiteY84" fmla="*/ 215198 h 1137167"/>
                <a:gd name="connsiteX85" fmla="*/ 428539 w 1382632"/>
                <a:gd name="connsiteY85" fmla="*/ 215198 h 1137167"/>
                <a:gd name="connsiteX86" fmla="*/ 407337 w 1382632"/>
                <a:gd name="connsiteY86" fmla="*/ 202991 h 1137167"/>
                <a:gd name="connsiteX87" fmla="*/ 395130 w 1382632"/>
                <a:gd name="connsiteY87" fmla="*/ 182431 h 1137167"/>
                <a:gd name="connsiteX88" fmla="*/ 398342 w 1382632"/>
                <a:gd name="connsiteY88" fmla="*/ 171509 h 1137167"/>
                <a:gd name="connsiteX89" fmla="*/ 417617 w 1382632"/>
                <a:gd name="connsiteY89" fmla="*/ 165726 h 1137167"/>
                <a:gd name="connsiteX90" fmla="*/ 422114 w 1382632"/>
                <a:gd name="connsiteY90" fmla="*/ 145167 h 1137167"/>
                <a:gd name="connsiteX91" fmla="*/ 407979 w 1382632"/>
                <a:gd name="connsiteY91" fmla="*/ 132317 h 1137167"/>
                <a:gd name="connsiteX92" fmla="*/ 390632 w 1382632"/>
                <a:gd name="connsiteY92" fmla="*/ 109188 h 1137167"/>
                <a:gd name="connsiteX93" fmla="*/ 386135 w 1382632"/>
                <a:gd name="connsiteY93" fmla="*/ 86701 h 1137167"/>
                <a:gd name="connsiteX94" fmla="*/ 363648 w 1382632"/>
                <a:gd name="connsiteY94" fmla="*/ 78991 h 1137167"/>
                <a:gd name="connsiteX95" fmla="*/ 316746 w 1382632"/>
                <a:gd name="connsiteY95" fmla="*/ 78991 h 1137167"/>
                <a:gd name="connsiteX96" fmla="*/ 266632 w 1382632"/>
                <a:gd name="connsiteY96" fmla="*/ 89913 h 1137167"/>
                <a:gd name="connsiteX97" fmla="*/ 249285 w 1382632"/>
                <a:gd name="connsiteY97" fmla="*/ 96980 h 1137167"/>
                <a:gd name="connsiteX98" fmla="*/ 235793 w 1382632"/>
                <a:gd name="connsiteY98" fmla="*/ 87986 h 1137167"/>
                <a:gd name="connsiteX99" fmla="*/ 199814 w 1382632"/>
                <a:gd name="connsiteY99" fmla="*/ 86058 h 1137167"/>
                <a:gd name="connsiteX100" fmla="*/ 172829 w 1382632"/>
                <a:gd name="connsiteY100" fmla="*/ 91840 h 1137167"/>
                <a:gd name="connsiteX101" fmla="*/ 144560 w 1382632"/>
                <a:gd name="connsiteY101" fmla="*/ 114328 h 1137167"/>
                <a:gd name="connsiteX102" fmla="*/ 121430 w 1382632"/>
                <a:gd name="connsiteY102" fmla="*/ 140670 h 1137167"/>
                <a:gd name="connsiteX103" fmla="*/ 109865 w 1382632"/>
                <a:gd name="connsiteY103" fmla="*/ 157374 h 1137167"/>
                <a:gd name="connsiteX104" fmla="*/ 106653 w 1382632"/>
                <a:gd name="connsiteY104" fmla="*/ 184359 h 1137167"/>
                <a:gd name="connsiteX105" fmla="*/ 102156 w 1382632"/>
                <a:gd name="connsiteY105" fmla="*/ 204918 h 1137167"/>
                <a:gd name="connsiteX106" fmla="*/ 102798 w 1382632"/>
                <a:gd name="connsiteY106" fmla="*/ 221623 h 1137167"/>
                <a:gd name="connsiteX107" fmla="*/ 107938 w 1382632"/>
                <a:gd name="connsiteY107" fmla="*/ 228048 h 1137167"/>
                <a:gd name="connsiteX108" fmla="*/ 106653 w 1382632"/>
                <a:gd name="connsiteY108" fmla="*/ 240255 h 1137167"/>
                <a:gd name="connsiteX109" fmla="*/ 113720 w 1382632"/>
                <a:gd name="connsiteY109" fmla="*/ 242183 h 1137167"/>
                <a:gd name="connsiteX110" fmla="*/ 153555 w 1382632"/>
                <a:gd name="connsiteY110" fmla="*/ 241540 h 1137167"/>
                <a:gd name="connsiteX111" fmla="*/ 171544 w 1382632"/>
                <a:gd name="connsiteY111" fmla="*/ 242183 h 1137167"/>
                <a:gd name="connsiteX112" fmla="*/ 186321 w 1382632"/>
                <a:gd name="connsiteY112" fmla="*/ 251177 h 1137167"/>
                <a:gd name="connsiteX113" fmla="*/ 170902 w 1382632"/>
                <a:gd name="connsiteY113" fmla="*/ 250535 h 1137167"/>
                <a:gd name="connsiteX114" fmla="*/ 165119 w 1382632"/>
                <a:gd name="connsiteY114" fmla="*/ 255032 h 1137167"/>
                <a:gd name="connsiteX115" fmla="*/ 156767 w 1382632"/>
                <a:gd name="connsiteY115" fmla="*/ 265955 h 1137167"/>
                <a:gd name="connsiteX116" fmla="*/ 154197 w 1382632"/>
                <a:gd name="connsiteY116" fmla="*/ 296151 h 1137167"/>
                <a:gd name="connsiteX117" fmla="*/ 155482 w 1382632"/>
                <a:gd name="connsiteY117" fmla="*/ 369395 h 1137167"/>
                <a:gd name="connsiteX118" fmla="*/ 153555 w 1382632"/>
                <a:gd name="connsiteY118" fmla="*/ 393167 h 1137167"/>
                <a:gd name="connsiteX119" fmla="*/ 122715 w 1382632"/>
                <a:gd name="connsiteY119" fmla="*/ 441354 h 1137167"/>
                <a:gd name="connsiteX120" fmla="*/ 113720 w 1382632"/>
                <a:gd name="connsiteY120" fmla="*/ 459343 h 1137167"/>
                <a:gd name="connsiteX121" fmla="*/ 107938 w 1382632"/>
                <a:gd name="connsiteY121" fmla="*/ 494038 h 1137167"/>
                <a:gd name="connsiteX122" fmla="*/ 105368 w 1382632"/>
                <a:gd name="connsiteY122" fmla="*/ 532587 h 1137167"/>
                <a:gd name="connsiteX123" fmla="*/ 100228 w 1382632"/>
                <a:gd name="connsiteY123" fmla="*/ 542867 h 1137167"/>
                <a:gd name="connsiteX124" fmla="*/ 82881 w 1382632"/>
                <a:gd name="connsiteY124" fmla="*/ 540297 h 1137167"/>
                <a:gd name="connsiteX125" fmla="*/ 57181 w 1382632"/>
                <a:gd name="connsiteY125" fmla="*/ 537084 h 1137167"/>
                <a:gd name="connsiteX126" fmla="*/ 35979 w 1382632"/>
                <a:gd name="connsiteY126" fmla="*/ 529374 h 1137167"/>
                <a:gd name="connsiteX127" fmla="*/ 17347 w 1382632"/>
                <a:gd name="connsiteY127" fmla="*/ 532587 h 1137167"/>
                <a:gd name="connsiteX128" fmla="*/ 8995 w 1382632"/>
                <a:gd name="connsiteY128" fmla="*/ 544794 h 1137167"/>
                <a:gd name="connsiteX129" fmla="*/ 12850 w 1382632"/>
                <a:gd name="connsiteY129" fmla="*/ 558929 h 1137167"/>
                <a:gd name="connsiteX130" fmla="*/ 17990 w 1382632"/>
                <a:gd name="connsiteY130" fmla="*/ 573064 h 1137167"/>
                <a:gd name="connsiteX131" fmla="*/ 5140 w 1382632"/>
                <a:gd name="connsiteY131" fmla="*/ 571778 h 1137167"/>
                <a:gd name="connsiteX132" fmla="*/ 0 w 1382632"/>
                <a:gd name="connsiteY132" fmla="*/ 585271 h 1137167"/>
                <a:gd name="connsiteX133" fmla="*/ 1285 w 1382632"/>
                <a:gd name="connsiteY133" fmla="*/ 601975 h 1137167"/>
                <a:gd name="connsiteX134" fmla="*/ 13492 w 1382632"/>
                <a:gd name="connsiteY134" fmla="*/ 616753 h 1137167"/>
                <a:gd name="connsiteX135" fmla="*/ 37264 w 1382632"/>
                <a:gd name="connsiteY135" fmla="*/ 625747 h 1137167"/>
                <a:gd name="connsiteX136" fmla="*/ 57181 w 1382632"/>
                <a:gd name="connsiteY136" fmla="*/ 632815 h 1137167"/>
                <a:gd name="connsiteX137" fmla="*/ 71316 w 1382632"/>
                <a:gd name="connsiteY137" fmla="*/ 635385 h 1137167"/>
                <a:gd name="connsiteX138" fmla="*/ 80311 w 1382632"/>
                <a:gd name="connsiteY138" fmla="*/ 625747 h 1137167"/>
                <a:gd name="connsiteX139" fmla="*/ 87378 w 1382632"/>
                <a:gd name="connsiteY139" fmla="*/ 628317 h 1137167"/>
                <a:gd name="connsiteX140" fmla="*/ 97658 w 1382632"/>
                <a:gd name="connsiteY140" fmla="*/ 644380 h 1137167"/>
                <a:gd name="connsiteX141" fmla="*/ 107938 w 1382632"/>
                <a:gd name="connsiteY141" fmla="*/ 662369 h 1137167"/>
                <a:gd name="connsiteX142" fmla="*/ 96373 w 1382632"/>
                <a:gd name="connsiteY142" fmla="*/ 681644 h 1137167"/>
                <a:gd name="connsiteX143" fmla="*/ 95731 w 1382632"/>
                <a:gd name="connsiteY143" fmla="*/ 682286 h 1137167"/>
                <a:gd name="connsiteX144" fmla="*/ 95088 w 1382632"/>
                <a:gd name="connsiteY144" fmla="*/ 682929 h 1137167"/>
                <a:gd name="connsiteX145" fmla="*/ 94446 w 1382632"/>
                <a:gd name="connsiteY145" fmla="*/ 683571 h 1137167"/>
                <a:gd name="connsiteX146" fmla="*/ 85451 w 1382632"/>
                <a:gd name="connsiteY146" fmla="*/ 698991 h 1137167"/>
                <a:gd name="connsiteX147" fmla="*/ 95731 w 1382632"/>
                <a:gd name="connsiteY147" fmla="*/ 711198 h 1137167"/>
                <a:gd name="connsiteX148" fmla="*/ 98301 w 1382632"/>
                <a:gd name="connsiteY148" fmla="*/ 715053 h 1137167"/>
                <a:gd name="connsiteX149" fmla="*/ 100228 w 1382632"/>
                <a:gd name="connsiteY149" fmla="*/ 714411 h 1137167"/>
                <a:gd name="connsiteX150" fmla="*/ 115648 w 1382632"/>
                <a:gd name="connsiteY150" fmla="*/ 707343 h 1137167"/>
                <a:gd name="connsiteX151" fmla="*/ 130425 w 1382632"/>
                <a:gd name="connsiteY151" fmla="*/ 705416 h 1137167"/>
                <a:gd name="connsiteX152" fmla="*/ 172187 w 1382632"/>
                <a:gd name="connsiteY152" fmla="*/ 704773 h 1137167"/>
                <a:gd name="connsiteX153" fmla="*/ 207523 w 1382632"/>
                <a:gd name="connsiteY153" fmla="*/ 681644 h 1137167"/>
                <a:gd name="connsiteX154" fmla="*/ 260850 w 1382632"/>
                <a:gd name="connsiteY154" fmla="*/ 638597 h 1137167"/>
                <a:gd name="connsiteX155" fmla="*/ 278197 w 1382632"/>
                <a:gd name="connsiteY155" fmla="*/ 634100 h 1137167"/>
                <a:gd name="connsiteX156" fmla="*/ 303897 w 1382632"/>
                <a:gd name="connsiteY156" fmla="*/ 660442 h 1137167"/>
                <a:gd name="connsiteX157" fmla="*/ 353368 w 1382632"/>
                <a:gd name="connsiteY157" fmla="*/ 668794 h 1137167"/>
                <a:gd name="connsiteX158" fmla="*/ 358508 w 1382632"/>
                <a:gd name="connsiteY158" fmla="*/ 676504 h 1137167"/>
                <a:gd name="connsiteX159" fmla="*/ 359150 w 1382632"/>
                <a:gd name="connsiteY159" fmla="*/ 707343 h 1137167"/>
                <a:gd name="connsiteX160" fmla="*/ 344373 w 1382632"/>
                <a:gd name="connsiteY160" fmla="*/ 753602 h 1137167"/>
                <a:gd name="connsiteX161" fmla="*/ 336021 w 1382632"/>
                <a:gd name="connsiteY161" fmla="*/ 783799 h 1137167"/>
                <a:gd name="connsiteX162" fmla="*/ 379068 w 1382632"/>
                <a:gd name="connsiteY162" fmla="*/ 812069 h 1137167"/>
                <a:gd name="connsiteX163" fmla="*/ 429182 w 1382632"/>
                <a:gd name="connsiteY163" fmla="*/ 785084 h 1137167"/>
                <a:gd name="connsiteX164" fmla="*/ 444601 w 1382632"/>
                <a:gd name="connsiteY164" fmla="*/ 772877 h 1137167"/>
                <a:gd name="connsiteX165" fmla="*/ 465803 w 1382632"/>
                <a:gd name="connsiteY165" fmla="*/ 772235 h 1137167"/>
                <a:gd name="connsiteX166" fmla="*/ 491503 w 1382632"/>
                <a:gd name="connsiteY166" fmla="*/ 774162 h 1137167"/>
                <a:gd name="connsiteX167" fmla="*/ 501140 w 1382632"/>
                <a:gd name="connsiteY167" fmla="*/ 758742 h 1137167"/>
                <a:gd name="connsiteX168" fmla="*/ 510135 w 1382632"/>
                <a:gd name="connsiteY168" fmla="*/ 749748 h 1137167"/>
                <a:gd name="connsiteX169" fmla="*/ 508208 w 1382632"/>
                <a:gd name="connsiteY169" fmla="*/ 738825 h 1137167"/>
                <a:gd name="connsiteX170" fmla="*/ 500498 w 1382632"/>
                <a:gd name="connsiteY170" fmla="*/ 729188 h 1137167"/>
                <a:gd name="connsiteX171" fmla="*/ 493430 w 1382632"/>
                <a:gd name="connsiteY171" fmla="*/ 709271 h 1137167"/>
                <a:gd name="connsiteX172" fmla="*/ 490860 w 1382632"/>
                <a:gd name="connsiteY172" fmla="*/ 679716 h 1137167"/>
                <a:gd name="connsiteX173" fmla="*/ 487648 w 1382632"/>
                <a:gd name="connsiteY173" fmla="*/ 663012 h 1137167"/>
                <a:gd name="connsiteX174" fmla="*/ 479296 w 1382632"/>
                <a:gd name="connsiteY174" fmla="*/ 661084 h 1137167"/>
                <a:gd name="connsiteX175" fmla="*/ 472228 w 1382632"/>
                <a:gd name="connsiteY175" fmla="*/ 646950 h 1137167"/>
                <a:gd name="connsiteX176" fmla="*/ 481865 w 1382632"/>
                <a:gd name="connsiteY176" fmla="*/ 632815 h 1137167"/>
                <a:gd name="connsiteX177" fmla="*/ 545472 w 1382632"/>
                <a:gd name="connsiteY177" fmla="*/ 605830 h 1137167"/>
                <a:gd name="connsiteX178" fmla="*/ 566674 w 1382632"/>
                <a:gd name="connsiteY178" fmla="*/ 609043 h 1137167"/>
                <a:gd name="connsiteX179" fmla="*/ 568601 w 1382632"/>
                <a:gd name="connsiteY179" fmla="*/ 618680 h 1137167"/>
                <a:gd name="connsiteX180" fmla="*/ 567959 w 1382632"/>
                <a:gd name="connsiteY180" fmla="*/ 635385 h 1137167"/>
                <a:gd name="connsiteX181" fmla="*/ 569886 w 1382632"/>
                <a:gd name="connsiteY181" fmla="*/ 648235 h 1137167"/>
                <a:gd name="connsiteX182" fmla="*/ 594301 w 1382632"/>
                <a:gd name="connsiteY182" fmla="*/ 656587 h 1137167"/>
                <a:gd name="connsiteX183" fmla="*/ 623855 w 1382632"/>
                <a:gd name="connsiteY183" fmla="*/ 652732 h 1137167"/>
                <a:gd name="connsiteX184" fmla="*/ 646985 w 1382632"/>
                <a:gd name="connsiteY184" fmla="*/ 636027 h 1137167"/>
                <a:gd name="connsiteX185" fmla="*/ 663047 w 1382632"/>
                <a:gd name="connsiteY185" fmla="*/ 610328 h 1137167"/>
                <a:gd name="connsiteX186" fmla="*/ 674612 w 1382632"/>
                <a:gd name="connsiteY186" fmla="*/ 607758 h 1137167"/>
                <a:gd name="connsiteX187" fmla="*/ 689389 w 1382632"/>
                <a:gd name="connsiteY187" fmla="*/ 611613 h 1137167"/>
                <a:gd name="connsiteX188" fmla="*/ 690674 w 1382632"/>
                <a:gd name="connsiteY188" fmla="*/ 618038 h 1137167"/>
                <a:gd name="connsiteX189" fmla="*/ 683607 w 1382632"/>
                <a:gd name="connsiteY189" fmla="*/ 657872 h 1137167"/>
                <a:gd name="connsiteX190" fmla="*/ 672684 w 1382632"/>
                <a:gd name="connsiteY190" fmla="*/ 678431 h 1137167"/>
                <a:gd name="connsiteX191" fmla="*/ 658550 w 1382632"/>
                <a:gd name="connsiteY191" fmla="*/ 681644 h 1137167"/>
                <a:gd name="connsiteX192" fmla="*/ 652767 w 1382632"/>
                <a:gd name="connsiteY192" fmla="*/ 682929 h 1137167"/>
                <a:gd name="connsiteX193" fmla="*/ 649555 w 1382632"/>
                <a:gd name="connsiteY193" fmla="*/ 689996 h 1137167"/>
                <a:gd name="connsiteX194" fmla="*/ 647627 w 1382632"/>
                <a:gd name="connsiteY194" fmla="*/ 720193 h 1137167"/>
                <a:gd name="connsiteX195" fmla="*/ 670757 w 1382632"/>
                <a:gd name="connsiteY195" fmla="*/ 760670 h 1137167"/>
                <a:gd name="connsiteX196" fmla="*/ 676539 w 1382632"/>
                <a:gd name="connsiteY196" fmla="*/ 765167 h 1137167"/>
                <a:gd name="connsiteX197" fmla="*/ 684249 w 1382632"/>
                <a:gd name="connsiteY197" fmla="*/ 765810 h 1137167"/>
                <a:gd name="connsiteX198" fmla="*/ 696456 w 1382632"/>
                <a:gd name="connsiteY198" fmla="*/ 775447 h 1137167"/>
                <a:gd name="connsiteX199" fmla="*/ 702881 w 1382632"/>
                <a:gd name="connsiteY199" fmla="*/ 789582 h 1137167"/>
                <a:gd name="connsiteX200" fmla="*/ 729866 w 1382632"/>
                <a:gd name="connsiteY200" fmla="*/ 828131 h 1137167"/>
                <a:gd name="connsiteX201" fmla="*/ 745928 w 1382632"/>
                <a:gd name="connsiteY201" fmla="*/ 872463 h 1137167"/>
                <a:gd name="connsiteX202" fmla="*/ 748498 w 1382632"/>
                <a:gd name="connsiteY202" fmla="*/ 885312 h 1137167"/>
                <a:gd name="connsiteX203" fmla="*/ 758778 w 1382632"/>
                <a:gd name="connsiteY203" fmla="*/ 892380 h 1137167"/>
                <a:gd name="connsiteX204" fmla="*/ 772912 w 1382632"/>
                <a:gd name="connsiteY204" fmla="*/ 884027 h 1137167"/>
                <a:gd name="connsiteX205" fmla="*/ 778052 w 1382632"/>
                <a:gd name="connsiteY205" fmla="*/ 882100 h 1137167"/>
                <a:gd name="connsiteX206" fmla="*/ 785119 w 1382632"/>
                <a:gd name="connsiteY206" fmla="*/ 888525 h 1137167"/>
                <a:gd name="connsiteX207" fmla="*/ 783835 w 1382632"/>
                <a:gd name="connsiteY207" fmla="*/ 928359 h 1137167"/>
                <a:gd name="connsiteX208" fmla="*/ 774197 w 1382632"/>
                <a:gd name="connsiteY208" fmla="*/ 936711 h 1137167"/>
                <a:gd name="connsiteX209" fmla="*/ 760063 w 1382632"/>
                <a:gd name="connsiteY209" fmla="*/ 968836 h 1137167"/>
                <a:gd name="connsiteX210" fmla="*/ 763917 w 1382632"/>
                <a:gd name="connsiteY210" fmla="*/ 985540 h 1137167"/>
                <a:gd name="connsiteX211" fmla="*/ 779337 w 1382632"/>
                <a:gd name="connsiteY211" fmla="*/ 982970 h 1137167"/>
                <a:gd name="connsiteX212" fmla="*/ 782550 w 1382632"/>
                <a:gd name="connsiteY212" fmla="*/ 980400 h 1137167"/>
                <a:gd name="connsiteX213" fmla="*/ 787047 w 1382632"/>
                <a:gd name="connsiteY213" fmla="*/ 981685 h 1137167"/>
                <a:gd name="connsiteX214" fmla="*/ 789617 w 1382632"/>
                <a:gd name="connsiteY214" fmla="*/ 983613 h 1137167"/>
                <a:gd name="connsiteX215" fmla="*/ 823026 w 1382632"/>
                <a:gd name="connsiteY215" fmla="*/ 989395 h 1137167"/>
                <a:gd name="connsiteX216" fmla="*/ 843586 w 1382632"/>
                <a:gd name="connsiteY216" fmla="*/ 995820 h 1137167"/>
                <a:gd name="connsiteX217" fmla="*/ 855151 w 1382632"/>
                <a:gd name="connsiteY217" fmla="*/ 1008027 h 1137167"/>
                <a:gd name="connsiteX218" fmla="*/ 848083 w 1382632"/>
                <a:gd name="connsiteY218" fmla="*/ 1021520 h 1137167"/>
                <a:gd name="connsiteX219" fmla="*/ 833306 w 1382632"/>
                <a:gd name="connsiteY219" fmla="*/ 1022805 h 1137167"/>
                <a:gd name="connsiteX220" fmla="*/ 830736 w 1382632"/>
                <a:gd name="connsiteY220" fmla="*/ 1027302 h 1137167"/>
                <a:gd name="connsiteX221" fmla="*/ 841658 w 1382632"/>
                <a:gd name="connsiteY221" fmla="*/ 1063924 h 1137167"/>
                <a:gd name="connsiteX222" fmla="*/ 848083 w 1382632"/>
                <a:gd name="connsiteY222" fmla="*/ 1079986 h 1137167"/>
                <a:gd name="connsiteX223" fmla="*/ 832021 w 1382632"/>
                <a:gd name="connsiteY223" fmla="*/ 1090908 h 1137167"/>
                <a:gd name="connsiteX224" fmla="*/ 811462 w 1382632"/>
                <a:gd name="connsiteY224" fmla="*/ 1094121 h 1137167"/>
                <a:gd name="connsiteX225" fmla="*/ 826881 w 1382632"/>
                <a:gd name="connsiteY225" fmla="*/ 1119820 h 1137167"/>
                <a:gd name="connsiteX226" fmla="*/ 851296 w 1382632"/>
                <a:gd name="connsiteY226" fmla="*/ 1133312 h 1137167"/>
                <a:gd name="connsiteX227" fmla="*/ 864145 w 1382632"/>
                <a:gd name="connsiteY227" fmla="*/ 1137167 h 1137167"/>
                <a:gd name="connsiteX228" fmla="*/ 885348 w 1382632"/>
                <a:gd name="connsiteY228" fmla="*/ 1126887 h 1137167"/>
                <a:gd name="connsiteX229" fmla="*/ 889203 w 1382632"/>
                <a:gd name="connsiteY229" fmla="*/ 1122390 h 1137167"/>
                <a:gd name="connsiteX230" fmla="*/ 879565 w 1382632"/>
                <a:gd name="connsiteY230" fmla="*/ 1114680 h 1137167"/>
                <a:gd name="connsiteX231" fmla="*/ 866715 w 1382632"/>
                <a:gd name="connsiteY231" fmla="*/ 1109540 h 1137167"/>
                <a:gd name="connsiteX232" fmla="*/ 873140 w 1382632"/>
                <a:gd name="connsiteY232" fmla="*/ 1097333 h 1137167"/>
                <a:gd name="connsiteX233" fmla="*/ 921327 w 1382632"/>
                <a:gd name="connsiteY233" fmla="*/ 1094763 h 1137167"/>
                <a:gd name="connsiteX234" fmla="*/ 925824 w 1382632"/>
                <a:gd name="connsiteY234" fmla="*/ 1097333 h 1137167"/>
                <a:gd name="connsiteX235" fmla="*/ 956664 w 1382632"/>
                <a:gd name="connsiteY235" fmla="*/ 1082556 h 1137167"/>
                <a:gd name="connsiteX236" fmla="*/ 980436 w 1382632"/>
                <a:gd name="connsiteY236" fmla="*/ 1076774 h 1137167"/>
                <a:gd name="connsiteX237" fmla="*/ 985576 w 1382632"/>
                <a:gd name="connsiteY237" fmla="*/ 1068421 h 1137167"/>
                <a:gd name="connsiteX238" fmla="*/ 1005493 w 1382632"/>
                <a:gd name="connsiteY238" fmla="*/ 1060711 h 1137167"/>
                <a:gd name="connsiteX239" fmla="*/ 1033120 w 1382632"/>
                <a:gd name="connsiteY239" fmla="*/ 1040794 h 1137167"/>
                <a:gd name="connsiteX240" fmla="*/ 1090944 w 1382632"/>
                <a:gd name="connsiteY240" fmla="*/ 1015095 h 1137167"/>
                <a:gd name="connsiteX241" fmla="*/ 1119213 w 1382632"/>
                <a:gd name="connsiteY241" fmla="*/ 1000318 h 1137167"/>
                <a:gd name="connsiteX242" fmla="*/ 1139773 w 1382632"/>
                <a:gd name="connsiteY242" fmla="*/ 981043 h 1137167"/>
                <a:gd name="connsiteX243" fmla="*/ 1139773 w 1382632"/>
                <a:gd name="connsiteY243" fmla="*/ 973333 h 1137167"/>
                <a:gd name="connsiteX244" fmla="*/ 1123710 w 1382632"/>
                <a:gd name="connsiteY244" fmla="*/ 939281 h 1137167"/>
                <a:gd name="connsiteX245" fmla="*/ 1117928 w 1382632"/>
                <a:gd name="connsiteY245" fmla="*/ 911012 h 1137167"/>
                <a:gd name="connsiteX246" fmla="*/ 1116643 w 1382632"/>
                <a:gd name="connsiteY246" fmla="*/ 908442 h 1137167"/>
                <a:gd name="connsiteX247" fmla="*/ 1112146 w 1382632"/>
                <a:gd name="connsiteY247" fmla="*/ 896877 h 1137167"/>
                <a:gd name="connsiteX248" fmla="*/ 1125638 w 1382632"/>
                <a:gd name="connsiteY248" fmla="*/ 882100 h 1137167"/>
                <a:gd name="connsiteX249" fmla="*/ 1129493 w 1382632"/>
                <a:gd name="connsiteY249" fmla="*/ 878887 h 1137167"/>
                <a:gd name="connsiteX250" fmla="*/ 1130135 w 1382632"/>
                <a:gd name="connsiteY250" fmla="*/ 875033 h 1137167"/>
                <a:gd name="connsiteX251" fmla="*/ 1122425 w 1382632"/>
                <a:gd name="connsiteY251" fmla="*/ 851903 h 1137167"/>
                <a:gd name="connsiteX252" fmla="*/ 1107006 w 1382632"/>
                <a:gd name="connsiteY252" fmla="*/ 831986 h 1137167"/>
                <a:gd name="connsiteX253" fmla="*/ 1102508 w 1382632"/>
                <a:gd name="connsiteY253" fmla="*/ 822349 h 1137167"/>
                <a:gd name="connsiteX254" fmla="*/ 1115358 w 1382632"/>
                <a:gd name="connsiteY254" fmla="*/ 810141 h 1137167"/>
                <a:gd name="connsiteX255" fmla="*/ 1149410 w 1382632"/>
                <a:gd name="connsiteY255" fmla="*/ 798577 h 1137167"/>
                <a:gd name="connsiteX256" fmla="*/ 1171254 w 1382632"/>
                <a:gd name="connsiteY256" fmla="*/ 799861 h 1137167"/>
                <a:gd name="connsiteX257" fmla="*/ 1204664 w 1382632"/>
                <a:gd name="connsiteY257" fmla="*/ 803716 h 1137167"/>
                <a:gd name="connsiteX258" fmla="*/ 1212374 w 1382632"/>
                <a:gd name="connsiteY258" fmla="*/ 803074 h 1137167"/>
                <a:gd name="connsiteX259" fmla="*/ 1216229 w 1382632"/>
                <a:gd name="connsiteY259" fmla="*/ 798577 h 1137167"/>
                <a:gd name="connsiteX260" fmla="*/ 1238716 w 1382632"/>
                <a:gd name="connsiteY260" fmla="*/ 755530 h 1137167"/>
                <a:gd name="connsiteX261" fmla="*/ 1240001 w 1382632"/>
                <a:gd name="connsiteY261" fmla="*/ 751675 h 1137167"/>
                <a:gd name="connsiteX262" fmla="*/ 1231006 w 1382632"/>
                <a:gd name="connsiteY262" fmla="*/ 743323 h 1137167"/>
                <a:gd name="connsiteX263" fmla="*/ 1233576 w 1382632"/>
                <a:gd name="connsiteY263" fmla="*/ 696421 h 1137167"/>
                <a:gd name="connsiteX264" fmla="*/ 1228436 w 1382632"/>
                <a:gd name="connsiteY264" fmla="*/ 673291 h 1137167"/>
                <a:gd name="connsiteX265" fmla="*/ 1207876 w 1382632"/>
                <a:gd name="connsiteY265" fmla="*/ 595551 h 1137167"/>
                <a:gd name="connsiteX266" fmla="*/ 1180892 w 1382632"/>
                <a:gd name="connsiteY266" fmla="*/ 529374 h 1137167"/>
                <a:gd name="connsiteX267" fmla="*/ 1159047 w 1382632"/>
                <a:gd name="connsiteY267" fmla="*/ 509457 h 1137167"/>
                <a:gd name="connsiteX268" fmla="*/ 1151980 w 1382632"/>
                <a:gd name="connsiteY268" fmla="*/ 472193 h 1137167"/>
                <a:gd name="connsiteX269" fmla="*/ 1160332 w 1382632"/>
                <a:gd name="connsiteY269" fmla="*/ 454203 h 1137167"/>
                <a:gd name="connsiteX270" fmla="*/ 1181534 w 1382632"/>
                <a:gd name="connsiteY270" fmla="*/ 452276 h 1137167"/>
                <a:gd name="connsiteX271" fmla="*/ 1202736 w 1382632"/>
                <a:gd name="connsiteY271" fmla="*/ 449706 h 1137167"/>
                <a:gd name="connsiteX272" fmla="*/ 1209161 w 1382632"/>
                <a:gd name="connsiteY272" fmla="*/ 434929 h 1137167"/>
                <a:gd name="connsiteX273" fmla="*/ 1210446 w 1382632"/>
                <a:gd name="connsiteY273" fmla="*/ 426576 h 1137167"/>
                <a:gd name="connsiteX274" fmla="*/ 1211731 w 1382632"/>
                <a:gd name="connsiteY274" fmla="*/ 423364 h 1137167"/>
                <a:gd name="connsiteX275" fmla="*/ 1214943 w 1382632"/>
                <a:gd name="connsiteY275" fmla="*/ 422079 h 1137167"/>
                <a:gd name="connsiteX276" fmla="*/ 1250280 w 1382632"/>
                <a:gd name="connsiteY276" fmla="*/ 427219 h 1137167"/>
                <a:gd name="connsiteX277" fmla="*/ 1257348 w 1382632"/>
                <a:gd name="connsiteY277" fmla="*/ 431716 h 1137167"/>
                <a:gd name="connsiteX278" fmla="*/ 1263773 w 1382632"/>
                <a:gd name="connsiteY278" fmla="*/ 433644 h 1137167"/>
                <a:gd name="connsiteX279" fmla="*/ 1290757 w 1382632"/>
                <a:gd name="connsiteY279" fmla="*/ 436214 h 1137167"/>
                <a:gd name="connsiteX280" fmla="*/ 1315172 w 1382632"/>
                <a:gd name="connsiteY280" fmla="*/ 431074 h 1137167"/>
                <a:gd name="connsiteX281" fmla="*/ 1368498 w 1382632"/>
                <a:gd name="connsiteY281" fmla="*/ 380960 h 1137167"/>
                <a:gd name="connsiteX282" fmla="*/ 1382633 w 1382632"/>
                <a:gd name="connsiteY282" fmla="*/ 359758 h 1137167"/>
                <a:gd name="connsiteX283" fmla="*/ 1369783 w 1382632"/>
                <a:gd name="connsiteY283" fmla="*/ 360400 h 113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</a:cxnLst>
              <a:rect l="l" t="t" r="r" b="b"/>
              <a:pathLst>
                <a:path w="1382632" h="1137167">
                  <a:moveTo>
                    <a:pt x="646342" y="362970"/>
                  </a:moveTo>
                  <a:cubicBezTo>
                    <a:pt x="645700" y="366183"/>
                    <a:pt x="644415" y="369395"/>
                    <a:pt x="642487" y="371965"/>
                  </a:cubicBezTo>
                  <a:cubicBezTo>
                    <a:pt x="639917" y="375177"/>
                    <a:pt x="636062" y="377105"/>
                    <a:pt x="632850" y="378390"/>
                  </a:cubicBezTo>
                  <a:cubicBezTo>
                    <a:pt x="629638" y="379675"/>
                    <a:pt x="625783" y="380960"/>
                    <a:pt x="622570" y="380960"/>
                  </a:cubicBezTo>
                  <a:cubicBezTo>
                    <a:pt x="608435" y="382887"/>
                    <a:pt x="594301" y="379032"/>
                    <a:pt x="582736" y="370680"/>
                  </a:cubicBezTo>
                  <a:cubicBezTo>
                    <a:pt x="571171" y="362970"/>
                    <a:pt x="563461" y="351405"/>
                    <a:pt x="557679" y="339198"/>
                  </a:cubicBezTo>
                  <a:cubicBezTo>
                    <a:pt x="556394" y="335986"/>
                    <a:pt x="555109" y="332131"/>
                    <a:pt x="552539" y="329561"/>
                  </a:cubicBezTo>
                  <a:cubicBezTo>
                    <a:pt x="549327" y="325706"/>
                    <a:pt x="544829" y="322493"/>
                    <a:pt x="540332" y="319923"/>
                  </a:cubicBezTo>
                  <a:cubicBezTo>
                    <a:pt x="535192" y="317354"/>
                    <a:pt x="530052" y="314784"/>
                    <a:pt x="524912" y="312214"/>
                  </a:cubicBezTo>
                  <a:cubicBezTo>
                    <a:pt x="520415" y="309644"/>
                    <a:pt x="515275" y="307716"/>
                    <a:pt x="511420" y="304504"/>
                  </a:cubicBezTo>
                  <a:cubicBezTo>
                    <a:pt x="507565" y="301291"/>
                    <a:pt x="504353" y="296794"/>
                    <a:pt x="504353" y="291654"/>
                  </a:cubicBezTo>
                  <a:cubicBezTo>
                    <a:pt x="504353" y="289727"/>
                    <a:pt x="504995" y="287157"/>
                    <a:pt x="506923" y="285872"/>
                  </a:cubicBezTo>
                  <a:cubicBezTo>
                    <a:pt x="510135" y="283944"/>
                    <a:pt x="514632" y="285872"/>
                    <a:pt x="517845" y="288442"/>
                  </a:cubicBezTo>
                  <a:cubicBezTo>
                    <a:pt x="546114" y="307074"/>
                    <a:pt x="580809" y="316711"/>
                    <a:pt x="614860" y="316711"/>
                  </a:cubicBezTo>
                  <a:cubicBezTo>
                    <a:pt x="621285" y="316711"/>
                    <a:pt x="627710" y="316069"/>
                    <a:pt x="633493" y="318638"/>
                  </a:cubicBezTo>
                  <a:cubicBezTo>
                    <a:pt x="641845" y="321851"/>
                    <a:pt x="646985" y="330203"/>
                    <a:pt x="648912" y="338556"/>
                  </a:cubicBezTo>
                  <a:cubicBezTo>
                    <a:pt x="650840" y="346265"/>
                    <a:pt x="648912" y="354618"/>
                    <a:pt x="646342" y="362970"/>
                  </a:cubicBezTo>
                  <a:close/>
                  <a:moveTo>
                    <a:pt x="1369783" y="360400"/>
                  </a:moveTo>
                  <a:cubicBezTo>
                    <a:pt x="1363358" y="360400"/>
                    <a:pt x="1358218" y="357188"/>
                    <a:pt x="1352436" y="353975"/>
                  </a:cubicBezTo>
                  <a:cubicBezTo>
                    <a:pt x="1347296" y="350763"/>
                    <a:pt x="1342156" y="347550"/>
                    <a:pt x="1336374" y="347550"/>
                  </a:cubicBezTo>
                  <a:cubicBezTo>
                    <a:pt x="1324809" y="347550"/>
                    <a:pt x="1315172" y="359115"/>
                    <a:pt x="1303607" y="356545"/>
                  </a:cubicBezTo>
                  <a:cubicBezTo>
                    <a:pt x="1297182" y="355260"/>
                    <a:pt x="1292684" y="348835"/>
                    <a:pt x="1289472" y="343053"/>
                  </a:cubicBezTo>
                  <a:cubicBezTo>
                    <a:pt x="1286902" y="337271"/>
                    <a:pt x="1284975" y="331488"/>
                    <a:pt x="1283690" y="325063"/>
                  </a:cubicBezTo>
                  <a:cubicBezTo>
                    <a:pt x="1281762" y="324421"/>
                    <a:pt x="1279192" y="324421"/>
                    <a:pt x="1277265" y="323778"/>
                  </a:cubicBezTo>
                  <a:cubicBezTo>
                    <a:pt x="1264415" y="322493"/>
                    <a:pt x="1262488" y="316069"/>
                    <a:pt x="1261203" y="313499"/>
                  </a:cubicBezTo>
                  <a:cubicBezTo>
                    <a:pt x="1259918" y="310929"/>
                    <a:pt x="1256063" y="301934"/>
                    <a:pt x="1248353" y="296151"/>
                  </a:cubicBezTo>
                  <a:cubicBezTo>
                    <a:pt x="1240643" y="291012"/>
                    <a:pt x="1237431" y="291654"/>
                    <a:pt x="1229078" y="280732"/>
                  </a:cubicBezTo>
                  <a:cubicBezTo>
                    <a:pt x="1221368" y="270452"/>
                    <a:pt x="1221368" y="271094"/>
                    <a:pt x="1214301" y="262100"/>
                  </a:cubicBezTo>
                  <a:cubicBezTo>
                    <a:pt x="1207876" y="253747"/>
                    <a:pt x="1202094" y="241540"/>
                    <a:pt x="1180249" y="232545"/>
                  </a:cubicBezTo>
                  <a:cubicBezTo>
                    <a:pt x="1158405" y="222908"/>
                    <a:pt x="1164187" y="240897"/>
                    <a:pt x="1157762" y="244110"/>
                  </a:cubicBezTo>
                  <a:cubicBezTo>
                    <a:pt x="1151337" y="247322"/>
                    <a:pt x="1141700" y="238970"/>
                    <a:pt x="1137203" y="233188"/>
                  </a:cubicBezTo>
                  <a:cubicBezTo>
                    <a:pt x="1133348" y="227405"/>
                    <a:pt x="1121141" y="225478"/>
                    <a:pt x="1111503" y="222908"/>
                  </a:cubicBezTo>
                  <a:cubicBezTo>
                    <a:pt x="1109576" y="222265"/>
                    <a:pt x="1108291" y="221623"/>
                    <a:pt x="1107006" y="220338"/>
                  </a:cubicBezTo>
                  <a:cubicBezTo>
                    <a:pt x="1105078" y="221623"/>
                    <a:pt x="1103151" y="222265"/>
                    <a:pt x="1102508" y="222908"/>
                  </a:cubicBezTo>
                  <a:cubicBezTo>
                    <a:pt x="1099296" y="226763"/>
                    <a:pt x="1082591" y="222908"/>
                    <a:pt x="1082591" y="222908"/>
                  </a:cubicBezTo>
                  <a:cubicBezTo>
                    <a:pt x="1082591" y="222908"/>
                    <a:pt x="1052394" y="216483"/>
                    <a:pt x="1044684" y="214556"/>
                  </a:cubicBezTo>
                  <a:cubicBezTo>
                    <a:pt x="1038902" y="213271"/>
                    <a:pt x="1025410" y="209416"/>
                    <a:pt x="1016415" y="202348"/>
                  </a:cubicBezTo>
                  <a:cubicBezTo>
                    <a:pt x="1011918" y="203633"/>
                    <a:pt x="1006778" y="204276"/>
                    <a:pt x="1001638" y="204276"/>
                  </a:cubicBezTo>
                  <a:cubicBezTo>
                    <a:pt x="992643" y="204276"/>
                    <a:pt x="983006" y="202991"/>
                    <a:pt x="974011" y="202348"/>
                  </a:cubicBezTo>
                  <a:cubicBezTo>
                    <a:pt x="966944" y="201706"/>
                    <a:pt x="959234" y="201706"/>
                    <a:pt x="952166" y="201706"/>
                  </a:cubicBezTo>
                  <a:cubicBezTo>
                    <a:pt x="944456" y="201706"/>
                    <a:pt x="936747" y="201706"/>
                    <a:pt x="929679" y="204276"/>
                  </a:cubicBezTo>
                  <a:cubicBezTo>
                    <a:pt x="927109" y="205561"/>
                    <a:pt x="924539" y="206846"/>
                    <a:pt x="921969" y="207488"/>
                  </a:cubicBezTo>
                  <a:cubicBezTo>
                    <a:pt x="912332" y="211343"/>
                    <a:pt x="900125" y="208773"/>
                    <a:pt x="891130" y="203633"/>
                  </a:cubicBezTo>
                  <a:cubicBezTo>
                    <a:pt x="882135" y="198493"/>
                    <a:pt x="875068" y="190141"/>
                    <a:pt x="869285" y="181789"/>
                  </a:cubicBezTo>
                  <a:cubicBezTo>
                    <a:pt x="864788" y="175364"/>
                    <a:pt x="859648" y="168939"/>
                    <a:pt x="857078" y="161229"/>
                  </a:cubicBezTo>
                  <a:cubicBezTo>
                    <a:pt x="855793" y="158659"/>
                    <a:pt x="855151" y="155447"/>
                    <a:pt x="853866" y="152234"/>
                  </a:cubicBezTo>
                  <a:cubicBezTo>
                    <a:pt x="853223" y="152234"/>
                    <a:pt x="852581" y="152234"/>
                    <a:pt x="851938" y="152234"/>
                  </a:cubicBezTo>
                  <a:cubicBezTo>
                    <a:pt x="841658" y="150949"/>
                    <a:pt x="838446" y="150307"/>
                    <a:pt x="830736" y="149022"/>
                  </a:cubicBezTo>
                  <a:cubicBezTo>
                    <a:pt x="823026" y="147737"/>
                    <a:pt x="811462" y="139385"/>
                    <a:pt x="806322" y="133602"/>
                  </a:cubicBezTo>
                  <a:cubicBezTo>
                    <a:pt x="801182" y="127820"/>
                    <a:pt x="790902" y="111758"/>
                    <a:pt x="788974" y="107260"/>
                  </a:cubicBezTo>
                  <a:cubicBezTo>
                    <a:pt x="786405" y="102120"/>
                    <a:pt x="775482" y="90555"/>
                    <a:pt x="775482" y="90555"/>
                  </a:cubicBezTo>
                  <a:cubicBezTo>
                    <a:pt x="774840" y="89271"/>
                    <a:pt x="769057" y="80918"/>
                    <a:pt x="767772" y="78991"/>
                  </a:cubicBezTo>
                  <a:cubicBezTo>
                    <a:pt x="767130" y="76421"/>
                    <a:pt x="757493" y="62929"/>
                    <a:pt x="751710" y="51364"/>
                  </a:cubicBezTo>
                  <a:cubicBezTo>
                    <a:pt x="745285" y="39799"/>
                    <a:pt x="729223" y="23094"/>
                    <a:pt x="729223" y="23094"/>
                  </a:cubicBezTo>
                  <a:cubicBezTo>
                    <a:pt x="729223" y="23094"/>
                    <a:pt x="720228" y="18597"/>
                    <a:pt x="715088" y="17312"/>
                  </a:cubicBezTo>
                  <a:cubicBezTo>
                    <a:pt x="709948" y="16027"/>
                    <a:pt x="690674" y="15384"/>
                    <a:pt x="679109" y="17954"/>
                  </a:cubicBezTo>
                  <a:cubicBezTo>
                    <a:pt x="667544" y="20524"/>
                    <a:pt x="663047" y="25022"/>
                    <a:pt x="655980" y="28234"/>
                  </a:cubicBezTo>
                  <a:cubicBezTo>
                    <a:pt x="648912" y="31447"/>
                    <a:pt x="632208" y="28234"/>
                    <a:pt x="628995" y="28234"/>
                  </a:cubicBezTo>
                  <a:cubicBezTo>
                    <a:pt x="625783" y="28234"/>
                    <a:pt x="608435" y="30162"/>
                    <a:pt x="594301" y="28877"/>
                  </a:cubicBezTo>
                  <a:cubicBezTo>
                    <a:pt x="580166" y="28234"/>
                    <a:pt x="578239" y="22452"/>
                    <a:pt x="578239" y="22452"/>
                  </a:cubicBezTo>
                  <a:cubicBezTo>
                    <a:pt x="578239" y="22452"/>
                    <a:pt x="571814" y="14099"/>
                    <a:pt x="567316" y="5747"/>
                  </a:cubicBezTo>
                  <a:cubicBezTo>
                    <a:pt x="562819" y="-2605"/>
                    <a:pt x="560891" y="607"/>
                    <a:pt x="558964" y="607"/>
                  </a:cubicBezTo>
                  <a:cubicBezTo>
                    <a:pt x="557037" y="607"/>
                    <a:pt x="545472" y="5105"/>
                    <a:pt x="539047" y="12172"/>
                  </a:cubicBezTo>
                  <a:cubicBezTo>
                    <a:pt x="532622" y="19239"/>
                    <a:pt x="526840" y="34017"/>
                    <a:pt x="526840" y="39157"/>
                  </a:cubicBezTo>
                  <a:cubicBezTo>
                    <a:pt x="526840" y="44296"/>
                    <a:pt x="524912" y="51364"/>
                    <a:pt x="514632" y="71923"/>
                  </a:cubicBezTo>
                  <a:cubicBezTo>
                    <a:pt x="510135" y="80918"/>
                    <a:pt x="507565" y="87343"/>
                    <a:pt x="506280" y="91840"/>
                  </a:cubicBezTo>
                  <a:cubicBezTo>
                    <a:pt x="504353" y="98265"/>
                    <a:pt x="503710" y="102120"/>
                    <a:pt x="504353" y="106618"/>
                  </a:cubicBezTo>
                  <a:cubicBezTo>
                    <a:pt x="505638" y="114328"/>
                    <a:pt x="510135" y="116255"/>
                    <a:pt x="513990" y="121395"/>
                  </a:cubicBezTo>
                  <a:cubicBezTo>
                    <a:pt x="517202" y="126535"/>
                    <a:pt x="519772" y="130390"/>
                    <a:pt x="524270" y="134887"/>
                  </a:cubicBezTo>
                  <a:cubicBezTo>
                    <a:pt x="528125" y="139385"/>
                    <a:pt x="528767" y="148379"/>
                    <a:pt x="529410" y="153519"/>
                  </a:cubicBezTo>
                  <a:cubicBezTo>
                    <a:pt x="530052" y="158659"/>
                    <a:pt x="524270" y="161872"/>
                    <a:pt x="522342" y="161229"/>
                  </a:cubicBezTo>
                  <a:cubicBezTo>
                    <a:pt x="520415" y="159944"/>
                    <a:pt x="519130" y="152877"/>
                    <a:pt x="518487" y="150949"/>
                  </a:cubicBezTo>
                  <a:cubicBezTo>
                    <a:pt x="518487" y="150949"/>
                    <a:pt x="517845" y="150307"/>
                    <a:pt x="517202" y="149664"/>
                  </a:cubicBezTo>
                  <a:cubicBezTo>
                    <a:pt x="513990" y="147094"/>
                    <a:pt x="503710" y="142597"/>
                    <a:pt x="496643" y="136815"/>
                  </a:cubicBezTo>
                  <a:cubicBezTo>
                    <a:pt x="487648" y="130390"/>
                    <a:pt x="484435" y="127177"/>
                    <a:pt x="472228" y="120752"/>
                  </a:cubicBezTo>
                  <a:cubicBezTo>
                    <a:pt x="460021" y="114328"/>
                    <a:pt x="456809" y="122037"/>
                    <a:pt x="451669" y="123965"/>
                  </a:cubicBezTo>
                  <a:cubicBezTo>
                    <a:pt x="446529" y="125892"/>
                    <a:pt x="437534" y="131675"/>
                    <a:pt x="437534" y="134245"/>
                  </a:cubicBezTo>
                  <a:lnTo>
                    <a:pt x="437534" y="153519"/>
                  </a:lnTo>
                  <a:cubicBezTo>
                    <a:pt x="437534" y="159302"/>
                    <a:pt x="438176" y="163157"/>
                    <a:pt x="439461" y="168939"/>
                  </a:cubicBezTo>
                  <a:cubicBezTo>
                    <a:pt x="440746" y="174721"/>
                    <a:pt x="445886" y="172794"/>
                    <a:pt x="449741" y="170224"/>
                  </a:cubicBezTo>
                  <a:cubicBezTo>
                    <a:pt x="453596" y="167654"/>
                    <a:pt x="456809" y="163157"/>
                    <a:pt x="459378" y="163157"/>
                  </a:cubicBezTo>
                  <a:cubicBezTo>
                    <a:pt x="462591" y="163157"/>
                    <a:pt x="464518" y="175364"/>
                    <a:pt x="465161" y="181789"/>
                  </a:cubicBezTo>
                  <a:cubicBezTo>
                    <a:pt x="465803" y="188214"/>
                    <a:pt x="464518" y="190141"/>
                    <a:pt x="463233" y="195923"/>
                  </a:cubicBezTo>
                  <a:cubicBezTo>
                    <a:pt x="461948" y="201706"/>
                    <a:pt x="458736" y="204276"/>
                    <a:pt x="453596" y="206846"/>
                  </a:cubicBezTo>
                  <a:cubicBezTo>
                    <a:pt x="447814" y="209416"/>
                    <a:pt x="443316" y="213913"/>
                    <a:pt x="440746" y="215198"/>
                  </a:cubicBezTo>
                  <a:cubicBezTo>
                    <a:pt x="438176" y="216483"/>
                    <a:pt x="431751" y="215841"/>
                    <a:pt x="428539" y="215198"/>
                  </a:cubicBezTo>
                  <a:cubicBezTo>
                    <a:pt x="425327" y="214556"/>
                    <a:pt x="413762" y="208131"/>
                    <a:pt x="407337" y="202991"/>
                  </a:cubicBezTo>
                  <a:cubicBezTo>
                    <a:pt x="400912" y="197851"/>
                    <a:pt x="399627" y="193353"/>
                    <a:pt x="395130" y="182431"/>
                  </a:cubicBezTo>
                  <a:cubicBezTo>
                    <a:pt x="389990" y="172151"/>
                    <a:pt x="396415" y="173436"/>
                    <a:pt x="398342" y="171509"/>
                  </a:cubicBezTo>
                  <a:cubicBezTo>
                    <a:pt x="400270" y="169581"/>
                    <a:pt x="411192" y="168939"/>
                    <a:pt x="417617" y="165726"/>
                  </a:cubicBezTo>
                  <a:cubicBezTo>
                    <a:pt x="424042" y="163157"/>
                    <a:pt x="422757" y="152877"/>
                    <a:pt x="422114" y="145167"/>
                  </a:cubicBezTo>
                  <a:cubicBezTo>
                    <a:pt x="420829" y="137457"/>
                    <a:pt x="407979" y="132317"/>
                    <a:pt x="407979" y="132317"/>
                  </a:cubicBezTo>
                  <a:cubicBezTo>
                    <a:pt x="407979" y="132317"/>
                    <a:pt x="394487" y="116897"/>
                    <a:pt x="390632" y="109188"/>
                  </a:cubicBezTo>
                  <a:cubicBezTo>
                    <a:pt x="386777" y="101478"/>
                    <a:pt x="388062" y="91840"/>
                    <a:pt x="386135" y="86701"/>
                  </a:cubicBezTo>
                  <a:cubicBezTo>
                    <a:pt x="384850" y="81561"/>
                    <a:pt x="372000" y="79633"/>
                    <a:pt x="363648" y="78991"/>
                  </a:cubicBezTo>
                  <a:cubicBezTo>
                    <a:pt x="355938" y="78348"/>
                    <a:pt x="335378" y="77063"/>
                    <a:pt x="316746" y="78991"/>
                  </a:cubicBezTo>
                  <a:cubicBezTo>
                    <a:pt x="298114" y="80918"/>
                    <a:pt x="278197" y="84131"/>
                    <a:pt x="266632" y="89913"/>
                  </a:cubicBezTo>
                  <a:cubicBezTo>
                    <a:pt x="254425" y="95695"/>
                    <a:pt x="255710" y="93125"/>
                    <a:pt x="249285" y="96980"/>
                  </a:cubicBezTo>
                  <a:cubicBezTo>
                    <a:pt x="243503" y="100835"/>
                    <a:pt x="239005" y="93768"/>
                    <a:pt x="235793" y="87986"/>
                  </a:cubicBezTo>
                  <a:cubicBezTo>
                    <a:pt x="231938" y="82203"/>
                    <a:pt x="208808" y="86058"/>
                    <a:pt x="199814" y="86058"/>
                  </a:cubicBezTo>
                  <a:cubicBezTo>
                    <a:pt x="190819" y="86058"/>
                    <a:pt x="178611" y="87986"/>
                    <a:pt x="172829" y="91840"/>
                  </a:cubicBezTo>
                  <a:cubicBezTo>
                    <a:pt x="167047" y="95053"/>
                    <a:pt x="154839" y="103405"/>
                    <a:pt x="144560" y="114328"/>
                  </a:cubicBezTo>
                  <a:cubicBezTo>
                    <a:pt x="134280" y="124607"/>
                    <a:pt x="127213" y="132960"/>
                    <a:pt x="121430" y="140670"/>
                  </a:cubicBezTo>
                  <a:cubicBezTo>
                    <a:pt x="116290" y="148379"/>
                    <a:pt x="111793" y="150949"/>
                    <a:pt x="109865" y="157374"/>
                  </a:cubicBezTo>
                  <a:cubicBezTo>
                    <a:pt x="107295" y="163799"/>
                    <a:pt x="109223" y="172151"/>
                    <a:pt x="106653" y="184359"/>
                  </a:cubicBezTo>
                  <a:cubicBezTo>
                    <a:pt x="104725" y="196566"/>
                    <a:pt x="102798" y="202348"/>
                    <a:pt x="102156" y="204918"/>
                  </a:cubicBezTo>
                  <a:cubicBezTo>
                    <a:pt x="101513" y="207488"/>
                    <a:pt x="100870" y="217125"/>
                    <a:pt x="102798" y="221623"/>
                  </a:cubicBezTo>
                  <a:cubicBezTo>
                    <a:pt x="104725" y="226120"/>
                    <a:pt x="106653" y="225478"/>
                    <a:pt x="107938" y="228048"/>
                  </a:cubicBezTo>
                  <a:cubicBezTo>
                    <a:pt x="109223" y="230618"/>
                    <a:pt x="107295" y="233830"/>
                    <a:pt x="106653" y="240255"/>
                  </a:cubicBezTo>
                  <a:cubicBezTo>
                    <a:pt x="106010" y="246680"/>
                    <a:pt x="109865" y="242183"/>
                    <a:pt x="113720" y="242183"/>
                  </a:cubicBezTo>
                  <a:cubicBezTo>
                    <a:pt x="117575" y="242183"/>
                    <a:pt x="139420" y="242183"/>
                    <a:pt x="153555" y="241540"/>
                  </a:cubicBezTo>
                  <a:cubicBezTo>
                    <a:pt x="168332" y="240897"/>
                    <a:pt x="169617" y="242183"/>
                    <a:pt x="171544" y="242183"/>
                  </a:cubicBezTo>
                  <a:cubicBezTo>
                    <a:pt x="173472" y="242825"/>
                    <a:pt x="186321" y="248607"/>
                    <a:pt x="186321" y="251177"/>
                  </a:cubicBezTo>
                  <a:cubicBezTo>
                    <a:pt x="186321" y="253747"/>
                    <a:pt x="170902" y="250535"/>
                    <a:pt x="170902" y="250535"/>
                  </a:cubicBezTo>
                  <a:cubicBezTo>
                    <a:pt x="170902" y="250535"/>
                    <a:pt x="165119" y="253747"/>
                    <a:pt x="165119" y="255032"/>
                  </a:cubicBezTo>
                  <a:cubicBezTo>
                    <a:pt x="164477" y="256317"/>
                    <a:pt x="158052" y="262742"/>
                    <a:pt x="156767" y="265955"/>
                  </a:cubicBezTo>
                  <a:cubicBezTo>
                    <a:pt x="155482" y="269809"/>
                    <a:pt x="154197" y="280732"/>
                    <a:pt x="154197" y="296151"/>
                  </a:cubicBezTo>
                  <a:cubicBezTo>
                    <a:pt x="154197" y="310929"/>
                    <a:pt x="155482" y="355260"/>
                    <a:pt x="155482" y="369395"/>
                  </a:cubicBezTo>
                  <a:cubicBezTo>
                    <a:pt x="155482" y="383530"/>
                    <a:pt x="154839" y="383530"/>
                    <a:pt x="153555" y="393167"/>
                  </a:cubicBezTo>
                  <a:cubicBezTo>
                    <a:pt x="152269" y="402804"/>
                    <a:pt x="122715" y="441354"/>
                    <a:pt x="122715" y="441354"/>
                  </a:cubicBezTo>
                  <a:cubicBezTo>
                    <a:pt x="122715" y="441354"/>
                    <a:pt x="116290" y="454203"/>
                    <a:pt x="113720" y="459343"/>
                  </a:cubicBezTo>
                  <a:cubicBezTo>
                    <a:pt x="111150" y="464483"/>
                    <a:pt x="107938" y="482473"/>
                    <a:pt x="107938" y="494038"/>
                  </a:cubicBezTo>
                  <a:cubicBezTo>
                    <a:pt x="107938" y="505602"/>
                    <a:pt x="106653" y="525519"/>
                    <a:pt x="105368" y="532587"/>
                  </a:cubicBezTo>
                  <a:cubicBezTo>
                    <a:pt x="104725" y="539654"/>
                    <a:pt x="102798" y="539654"/>
                    <a:pt x="100228" y="542867"/>
                  </a:cubicBezTo>
                  <a:cubicBezTo>
                    <a:pt x="97658" y="546722"/>
                    <a:pt x="88663" y="542867"/>
                    <a:pt x="82881" y="540297"/>
                  </a:cubicBezTo>
                  <a:cubicBezTo>
                    <a:pt x="77098" y="537727"/>
                    <a:pt x="60394" y="538369"/>
                    <a:pt x="57181" y="537084"/>
                  </a:cubicBezTo>
                  <a:cubicBezTo>
                    <a:pt x="53326" y="535799"/>
                    <a:pt x="46902" y="532587"/>
                    <a:pt x="35979" y="529374"/>
                  </a:cubicBezTo>
                  <a:cubicBezTo>
                    <a:pt x="25057" y="526162"/>
                    <a:pt x="21845" y="531302"/>
                    <a:pt x="17347" y="532587"/>
                  </a:cubicBezTo>
                  <a:cubicBezTo>
                    <a:pt x="12850" y="533872"/>
                    <a:pt x="10280" y="540939"/>
                    <a:pt x="8995" y="544794"/>
                  </a:cubicBezTo>
                  <a:cubicBezTo>
                    <a:pt x="7710" y="548649"/>
                    <a:pt x="10280" y="556359"/>
                    <a:pt x="12850" y="558929"/>
                  </a:cubicBezTo>
                  <a:cubicBezTo>
                    <a:pt x="15420" y="561499"/>
                    <a:pt x="18632" y="565354"/>
                    <a:pt x="17990" y="573064"/>
                  </a:cubicBezTo>
                  <a:cubicBezTo>
                    <a:pt x="17347" y="580773"/>
                    <a:pt x="7067" y="570494"/>
                    <a:pt x="5140" y="571778"/>
                  </a:cubicBezTo>
                  <a:cubicBezTo>
                    <a:pt x="3212" y="573064"/>
                    <a:pt x="0" y="581416"/>
                    <a:pt x="0" y="585271"/>
                  </a:cubicBezTo>
                  <a:cubicBezTo>
                    <a:pt x="0" y="588483"/>
                    <a:pt x="643" y="593623"/>
                    <a:pt x="1285" y="601975"/>
                  </a:cubicBezTo>
                  <a:cubicBezTo>
                    <a:pt x="1927" y="610328"/>
                    <a:pt x="8995" y="614825"/>
                    <a:pt x="13492" y="616753"/>
                  </a:cubicBezTo>
                  <a:cubicBezTo>
                    <a:pt x="17990" y="618680"/>
                    <a:pt x="32124" y="623177"/>
                    <a:pt x="37264" y="625747"/>
                  </a:cubicBezTo>
                  <a:cubicBezTo>
                    <a:pt x="43047" y="628317"/>
                    <a:pt x="54611" y="631530"/>
                    <a:pt x="57181" y="632815"/>
                  </a:cubicBezTo>
                  <a:cubicBezTo>
                    <a:pt x="59751" y="634100"/>
                    <a:pt x="69389" y="635385"/>
                    <a:pt x="71316" y="635385"/>
                  </a:cubicBezTo>
                  <a:cubicBezTo>
                    <a:pt x="72601" y="635385"/>
                    <a:pt x="76456" y="627675"/>
                    <a:pt x="80311" y="625747"/>
                  </a:cubicBezTo>
                  <a:cubicBezTo>
                    <a:pt x="84166" y="623820"/>
                    <a:pt x="85451" y="627032"/>
                    <a:pt x="87378" y="628317"/>
                  </a:cubicBezTo>
                  <a:cubicBezTo>
                    <a:pt x="89306" y="629602"/>
                    <a:pt x="94446" y="640525"/>
                    <a:pt x="97658" y="644380"/>
                  </a:cubicBezTo>
                  <a:cubicBezTo>
                    <a:pt x="100870" y="648235"/>
                    <a:pt x="105368" y="655302"/>
                    <a:pt x="107938" y="662369"/>
                  </a:cubicBezTo>
                  <a:cubicBezTo>
                    <a:pt x="109865" y="667509"/>
                    <a:pt x="100228" y="677146"/>
                    <a:pt x="96373" y="681644"/>
                  </a:cubicBezTo>
                  <a:cubicBezTo>
                    <a:pt x="95731" y="681644"/>
                    <a:pt x="95731" y="682286"/>
                    <a:pt x="95731" y="682286"/>
                  </a:cubicBezTo>
                  <a:lnTo>
                    <a:pt x="95088" y="682929"/>
                  </a:lnTo>
                  <a:cubicBezTo>
                    <a:pt x="94446" y="683571"/>
                    <a:pt x="94446" y="683571"/>
                    <a:pt x="94446" y="683571"/>
                  </a:cubicBezTo>
                  <a:cubicBezTo>
                    <a:pt x="94446" y="683571"/>
                    <a:pt x="86093" y="695136"/>
                    <a:pt x="85451" y="698991"/>
                  </a:cubicBezTo>
                  <a:cubicBezTo>
                    <a:pt x="84808" y="702203"/>
                    <a:pt x="88663" y="706058"/>
                    <a:pt x="95731" y="711198"/>
                  </a:cubicBezTo>
                  <a:cubicBezTo>
                    <a:pt x="97658" y="712483"/>
                    <a:pt x="98943" y="713768"/>
                    <a:pt x="98301" y="715053"/>
                  </a:cubicBezTo>
                  <a:cubicBezTo>
                    <a:pt x="98943" y="715053"/>
                    <a:pt x="99586" y="714411"/>
                    <a:pt x="100228" y="714411"/>
                  </a:cubicBezTo>
                  <a:cubicBezTo>
                    <a:pt x="106010" y="712483"/>
                    <a:pt x="110508" y="709913"/>
                    <a:pt x="115648" y="707343"/>
                  </a:cubicBezTo>
                  <a:cubicBezTo>
                    <a:pt x="120145" y="704773"/>
                    <a:pt x="124643" y="704773"/>
                    <a:pt x="130425" y="705416"/>
                  </a:cubicBezTo>
                  <a:cubicBezTo>
                    <a:pt x="145202" y="706701"/>
                    <a:pt x="158052" y="710556"/>
                    <a:pt x="172187" y="704773"/>
                  </a:cubicBezTo>
                  <a:cubicBezTo>
                    <a:pt x="185036" y="698991"/>
                    <a:pt x="197244" y="690639"/>
                    <a:pt x="207523" y="681644"/>
                  </a:cubicBezTo>
                  <a:cubicBezTo>
                    <a:pt x="224871" y="666867"/>
                    <a:pt x="240933" y="650804"/>
                    <a:pt x="260850" y="638597"/>
                  </a:cubicBezTo>
                  <a:cubicBezTo>
                    <a:pt x="265990" y="635385"/>
                    <a:pt x="271772" y="632815"/>
                    <a:pt x="278197" y="634100"/>
                  </a:cubicBezTo>
                  <a:cubicBezTo>
                    <a:pt x="291047" y="636670"/>
                    <a:pt x="292974" y="654017"/>
                    <a:pt x="303897" y="660442"/>
                  </a:cubicBezTo>
                  <a:cubicBezTo>
                    <a:pt x="318031" y="669437"/>
                    <a:pt x="341161" y="657229"/>
                    <a:pt x="353368" y="668794"/>
                  </a:cubicBezTo>
                  <a:cubicBezTo>
                    <a:pt x="355938" y="670722"/>
                    <a:pt x="357223" y="673934"/>
                    <a:pt x="358508" y="676504"/>
                  </a:cubicBezTo>
                  <a:cubicBezTo>
                    <a:pt x="362363" y="686141"/>
                    <a:pt x="361078" y="697063"/>
                    <a:pt x="359150" y="707343"/>
                  </a:cubicBezTo>
                  <a:cubicBezTo>
                    <a:pt x="355938" y="723406"/>
                    <a:pt x="351441" y="738825"/>
                    <a:pt x="344373" y="753602"/>
                  </a:cubicBezTo>
                  <a:cubicBezTo>
                    <a:pt x="339876" y="763240"/>
                    <a:pt x="334736" y="772877"/>
                    <a:pt x="336021" y="783799"/>
                  </a:cubicBezTo>
                  <a:cubicBezTo>
                    <a:pt x="337948" y="801789"/>
                    <a:pt x="359793" y="813996"/>
                    <a:pt x="379068" y="812069"/>
                  </a:cubicBezTo>
                  <a:cubicBezTo>
                    <a:pt x="398342" y="810141"/>
                    <a:pt x="415047" y="798577"/>
                    <a:pt x="429182" y="785084"/>
                  </a:cubicBezTo>
                  <a:cubicBezTo>
                    <a:pt x="433679" y="780587"/>
                    <a:pt x="438176" y="776089"/>
                    <a:pt x="444601" y="772877"/>
                  </a:cubicBezTo>
                  <a:cubicBezTo>
                    <a:pt x="451669" y="769665"/>
                    <a:pt x="458736" y="770950"/>
                    <a:pt x="465803" y="772235"/>
                  </a:cubicBezTo>
                  <a:cubicBezTo>
                    <a:pt x="468373" y="772877"/>
                    <a:pt x="490218" y="778017"/>
                    <a:pt x="491503" y="774162"/>
                  </a:cubicBezTo>
                  <a:cubicBezTo>
                    <a:pt x="492788" y="768380"/>
                    <a:pt x="496643" y="762597"/>
                    <a:pt x="501140" y="758742"/>
                  </a:cubicBezTo>
                  <a:cubicBezTo>
                    <a:pt x="504353" y="756172"/>
                    <a:pt x="508850" y="753602"/>
                    <a:pt x="510135" y="749748"/>
                  </a:cubicBezTo>
                  <a:cubicBezTo>
                    <a:pt x="511420" y="745893"/>
                    <a:pt x="510135" y="742038"/>
                    <a:pt x="508208" y="738825"/>
                  </a:cubicBezTo>
                  <a:cubicBezTo>
                    <a:pt x="506280" y="735613"/>
                    <a:pt x="503068" y="732400"/>
                    <a:pt x="500498" y="729188"/>
                  </a:cubicBezTo>
                  <a:cubicBezTo>
                    <a:pt x="496643" y="723406"/>
                    <a:pt x="494715" y="716338"/>
                    <a:pt x="493430" y="709271"/>
                  </a:cubicBezTo>
                  <a:cubicBezTo>
                    <a:pt x="491503" y="699633"/>
                    <a:pt x="489575" y="689354"/>
                    <a:pt x="490860" y="679716"/>
                  </a:cubicBezTo>
                  <a:cubicBezTo>
                    <a:pt x="492145" y="673934"/>
                    <a:pt x="493430" y="666224"/>
                    <a:pt x="487648" y="663012"/>
                  </a:cubicBezTo>
                  <a:cubicBezTo>
                    <a:pt x="485078" y="661727"/>
                    <a:pt x="481865" y="661727"/>
                    <a:pt x="479296" y="661084"/>
                  </a:cubicBezTo>
                  <a:cubicBezTo>
                    <a:pt x="473513" y="659157"/>
                    <a:pt x="470943" y="652732"/>
                    <a:pt x="472228" y="646950"/>
                  </a:cubicBezTo>
                  <a:cubicBezTo>
                    <a:pt x="473513" y="641167"/>
                    <a:pt x="477368" y="636670"/>
                    <a:pt x="481865" y="632815"/>
                  </a:cubicBezTo>
                  <a:cubicBezTo>
                    <a:pt x="499213" y="618038"/>
                    <a:pt x="522985" y="611613"/>
                    <a:pt x="545472" y="605830"/>
                  </a:cubicBezTo>
                  <a:cubicBezTo>
                    <a:pt x="552539" y="603903"/>
                    <a:pt x="562819" y="602618"/>
                    <a:pt x="566674" y="609043"/>
                  </a:cubicBezTo>
                  <a:cubicBezTo>
                    <a:pt x="568601" y="611613"/>
                    <a:pt x="568601" y="615468"/>
                    <a:pt x="568601" y="618680"/>
                  </a:cubicBezTo>
                  <a:cubicBezTo>
                    <a:pt x="568601" y="623820"/>
                    <a:pt x="567959" y="629602"/>
                    <a:pt x="567959" y="635385"/>
                  </a:cubicBezTo>
                  <a:cubicBezTo>
                    <a:pt x="567959" y="639882"/>
                    <a:pt x="567316" y="644380"/>
                    <a:pt x="569886" y="648235"/>
                  </a:cubicBezTo>
                  <a:cubicBezTo>
                    <a:pt x="574384" y="655944"/>
                    <a:pt x="585306" y="657229"/>
                    <a:pt x="594301" y="656587"/>
                  </a:cubicBezTo>
                  <a:cubicBezTo>
                    <a:pt x="603938" y="656587"/>
                    <a:pt x="614218" y="655944"/>
                    <a:pt x="623855" y="652732"/>
                  </a:cubicBezTo>
                  <a:cubicBezTo>
                    <a:pt x="633493" y="649519"/>
                    <a:pt x="641845" y="643737"/>
                    <a:pt x="646985" y="636027"/>
                  </a:cubicBezTo>
                  <a:cubicBezTo>
                    <a:pt x="652125" y="627032"/>
                    <a:pt x="654052" y="615468"/>
                    <a:pt x="663047" y="610328"/>
                  </a:cubicBezTo>
                  <a:cubicBezTo>
                    <a:pt x="666902" y="608400"/>
                    <a:pt x="670757" y="607758"/>
                    <a:pt x="674612" y="607758"/>
                  </a:cubicBezTo>
                  <a:cubicBezTo>
                    <a:pt x="679752" y="607115"/>
                    <a:pt x="686176" y="607115"/>
                    <a:pt x="689389" y="611613"/>
                  </a:cubicBezTo>
                  <a:cubicBezTo>
                    <a:pt x="690674" y="613540"/>
                    <a:pt x="690674" y="616110"/>
                    <a:pt x="690674" y="618038"/>
                  </a:cubicBezTo>
                  <a:cubicBezTo>
                    <a:pt x="690674" y="631530"/>
                    <a:pt x="687461" y="645022"/>
                    <a:pt x="683607" y="657872"/>
                  </a:cubicBezTo>
                  <a:cubicBezTo>
                    <a:pt x="681679" y="665582"/>
                    <a:pt x="679109" y="673291"/>
                    <a:pt x="672684" y="678431"/>
                  </a:cubicBezTo>
                  <a:cubicBezTo>
                    <a:pt x="668829" y="681644"/>
                    <a:pt x="663689" y="682286"/>
                    <a:pt x="658550" y="681644"/>
                  </a:cubicBezTo>
                  <a:cubicBezTo>
                    <a:pt x="654695" y="681001"/>
                    <a:pt x="654695" y="680359"/>
                    <a:pt x="652767" y="682929"/>
                  </a:cubicBezTo>
                  <a:cubicBezTo>
                    <a:pt x="651482" y="684856"/>
                    <a:pt x="650197" y="687426"/>
                    <a:pt x="649555" y="689996"/>
                  </a:cubicBezTo>
                  <a:cubicBezTo>
                    <a:pt x="646342" y="699633"/>
                    <a:pt x="645700" y="709913"/>
                    <a:pt x="647627" y="720193"/>
                  </a:cubicBezTo>
                  <a:cubicBezTo>
                    <a:pt x="650840" y="735613"/>
                    <a:pt x="659834" y="749105"/>
                    <a:pt x="670757" y="760670"/>
                  </a:cubicBezTo>
                  <a:cubicBezTo>
                    <a:pt x="672684" y="762597"/>
                    <a:pt x="674612" y="764525"/>
                    <a:pt x="676539" y="765167"/>
                  </a:cubicBezTo>
                  <a:cubicBezTo>
                    <a:pt x="679109" y="765810"/>
                    <a:pt x="681679" y="765810"/>
                    <a:pt x="684249" y="765810"/>
                  </a:cubicBezTo>
                  <a:cubicBezTo>
                    <a:pt x="689389" y="766452"/>
                    <a:pt x="693886" y="770950"/>
                    <a:pt x="696456" y="775447"/>
                  </a:cubicBezTo>
                  <a:cubicBezTo>
                    <a:pt x="699026" y="779944"/>
                    <a:pt x="700311" y="785084"/>
                    <a:pt x="702881" y="789582"/>
                  </a:cubicBezTo>
                  <a:cubicBezTo>
                    <a:pt x="709306" y="803716"/>
                    <a:pt x="720871" y="815281"/>
                    <a:pt x="729866" y="828131"/>
                  </a:cubicBezTo>
                  <a:cubicBezTo>
                    <a:pt x="738860" y="841623"/>
                    <a:pt x="744643" y="857043"/>
                    <a:pt x="745928" y="872463"/>
                  </a:cubicBezTo>
                  <a:cubicBezTo>
                    <a:pt x="746570" y="876960"/>
                    <a:pt x="746570" y="880815"/>
                    <a:pt x="748498" y="885312"/>
                  </a:cubicBezTo>
                  <a:cubicBezTo>
                    <a:pt x="750425" y="889167"/>
                    <a:pt x="754280" y="892380"/>
                    <a:pt x="758778" y="892380"/>
                  </a:cubicBezTo>
                  <a:cubicBezTo>
                    <a:pt x="764560" y="892380"/>
                    <a:pt x="768415" y="887240"/>
                    <a:pt x="772912" y="884027"/>
                  </a:cubicBezTo>
                  <a:cubicBezTo>
                    <a:pt x="774197" y="883385"/>
                    <a:pt x="776125" y="882100"/>
                    <a:pt x="778052" y="882100"/>
                  </a:cubicBezTo>
                  <a:cubicBezTo>
                    <a:pt x="781265" y="882100"/>
                    <a:pt x="783835" y="885312"/>
                    <a:pt x="785119" y="888525"/>
                  </a:cubicBezTo>
                  <a:cubicBezTo>
                    <a:pt x="790902" y="901374"/>
                    <a:pt x="793472" y="917437"/>
                    <a:pt x="783835" y="928359"/>
                  </a:cubicBezTo>
                  <a:cubicBezTo>
                    <a:pt x="781265" y="931571"/>
                    <a:pt x="777410" y="934141"/>
                    <a:pt x="774197" y="936711"/>
                  </a:cubicBezTo>
                  <a:cubicBezTo>
                    <a:pt x="764560" y="945064"/>
                    <a:pt x="760063" y="957271"/>
                    <a:pt x="760063" y="968836"/>
                  </a:cubicBezTo>
                  <a:cubicBezTo>
                    <a:pt x="760063" y="973333"/>
                    <a:pt x="760063" y="982328"/>
                    <a:pt x="763917" y="985540"/>
                  </a:cubicBezTo>
                  <a:cubicBezTo>
                    <a:pt x="768415" y="989395"/>
                    <a:pt x="776125" y="986183"/>
                    <a:pt x="779337" y="982970"/>
                  </a:cubicBezTo>
                  <a:cubicBezTo>
                    <a:pt x="780622" y="982328"/>
                    <a:pt x="781265" y="981043"/>
                    <a:pt x="782550" y="980400"/>
                  </a:cubicBezTo>
                  <a:cubicBezTo>
                    <a:pt x="784477" y="979758"/>
                    <a:pt x="785762" y="980400"/>
                    <a:pt x="787047" y="981685"/>
                  </a:cubicBezTo>
                  <a:cubicBezTo>
                    <a:pt x="787690" y="982328"/>
                    <a:pt x="788974" y="982970"/>
                    <a:pt x="789617" y="983613"/>
                  </a:cubicBezTo>
                  <a:cubicBezTo>
                    <a:pt x="798612" y="990680"/>
                    <a:pt x="811462" y="988753"/>
                    <a:pt x="823026" y="989395"/>
                  </a:cubicBezTo>
                  <a:cubicBezTo>
                    <a:pt x="830094" y="990038"/>
                    <a:pt x="837161" y="991965"/>
                    <a:pt x="843586" y="995820"/>
                  </a:cubicBezTo>
                  <a:cubicBezTo>
                    <a:pt x="848726" y="998390"/>
                    <a:pt x="853866" y="1002245"/>
                    <a:pt x="855151" y="1008027"/>
                  </a:cubicBezTo>
                  <a:cubicBezTo>
                    <a:pt x="857078" y="1013167"/>
                    <a:pt x="853866" y="1020235"/>
                    <a:pt x="848083" y="1021520"/>
                  </a:cubicBezTo>
                  <a:cubicBezTo>
                    <a:pt x="842943" y="1022805"/>
                    <a:pt x="837161" y="1019592"/>
                    <a:pt x="833306" y="1022805"/>
                  </a:cubicBezTo>
                  <a:cubicBezTo>
                    <a:pt x="832021" y="1024089"/>
                    <a:pt x="830736" y="1025375"/>
                    <a:pt x="830736" y="1027302"/>
                  </a:cubicBezTo>
                  <a:cubicBezTo>
                    <a:pt x="826239" y="1040152"/>
                    <a:pt x="833306" y="1053001"/>
                    <a:pt x="841658" y="1063924"/>
                  </a:cubicBezTo>
                  <a:cubicBezTo>
                    <a:pt x="845513" y="1069064"/>
                    <a:pt x="849368" y="1074204"/>
                    <a:pt x="848083" y="1079986"/>
                  </a:cubicBezTo>
                  <a:cubicBezTo>
                    <a:pt x="846798" y="1086411"/>
                    <a:pt x="839088" y="1089623"/>
                    <a:pt x="832021" y="1090908"/>
                  </a:cubicBezTo>
                  <a:cubicBezTo>
                    <a:pt x="824954" y="1092193"/>
                    <a:pt x="817886" y="1091551"/>
                    <a:pt x="811462" y="1094121"/>
                  </a:cubicBezTo>
                  <a:cubicBezTo>
                    <a:pt x="807607" y="1104400"/>
                    <a:pt x="817244" y="1114038"/>
                    <a:pt x="826881" y="1119820"/>
                  </a:cubicBezTo>
                  <a:cubicBezTo>
                    <a:pt x="834591" y="1124960"/>
                    <a:pt x="842943" y="1129458"/>
                    <a:pt x="851296" y="1133312"/>
                  </a:cubicBezTo>
                  <a:cubicBezTo>
                    <a:pt x="855151" y="1135240"/>
                    <a:pt x="859648" y="1137167"/>
                    <a:pt x="864145" y="1137167"/>
                  </a:cubicBezTo>
                  <a:cubicBezTo>
                    <a:pt x="872498" y="1137167"/>
                    <a:pt x="878923" y="1132028"/>
                    <a:pt x="885348" y="1126887"/>
                  </a:cubicBezTo>
                  <a:cubicBezTo>
                    <a:pt x="886633" y="1125603"/>
                    <a:pt x="888560" y="1124318"/>
                    <a:pt x="889203" y="1122390"/>
                  </a:cubicBezTo>
                  <a:cubicBezTo>
                    <a:pt x="890487" y="1117893"/>
                    <a:pt x="884705" y="1115323"/>
                    <a:pt x="879565" y="1114680"/>
                  </a:cubicBezTo>
                  <a:cubicBezTo>
                    <a:pt x="875068" y="1114038"/>
                    <a:pt x="869285" y="1113395"/>
                    <a:pt x="866715" y="1109540"/>
                  </a:cubicBezTo>
                  <a:cubicBezTo>
                    <a:pt x="864145" y="1105043"/>
                    <a:pt x="868643" y="1099903"/>
                    <a:pt x="873140" y="1097333"/>
                  </a:cubicBezTo>
                  <a:cubicBezTo>
                    <a:pt x="887275" y="1088981"/>
                    <a:pt x="905907" y="1088338"/>
                    <a:pt x="921327" y="1094763"/>
                  </a:cubicBezTo>
                  <a:cubicBezTo>
                    <a:pt x="922612" y="1095406"/>
                    <a:pt x="924539" y="1096048"/>
                    <a:pt x="925824" y="1097333"/>
                  </a:cubicBezTo>
                  <a:cubicBezTo>
                    <a:pt x="933534" y="1088981"/>
                    <a:pt x="945099" y="1083841"/>
                    <a:pt x="956664" y="1082556"/>
                  </a:cubicBezTo>
                  <a:cubicBezTo>
                    <a:pt x="965016" y="1081913"/>
                    <a:pt x="975296" y="1082556"/>
                    <a:pt x="980436" y="1076774"/>
                  </a:cubicBezTo>
                  <a:cubicBezTo>
                    <a:pt x="982363" y="1074204"/>
                    <a:pt x="983648" y="1070991"/>
                    <a:pt x="985576" y="1068421"/>
                  </a:cubicBezTo>
                  <a:cubicBezTo>
                    <a:pt x="990073" y="1063281"/>
                    <a:pt x="998425" y="1062639"/>
                    <a:pt x="1005493" y="1060711"/>
                  </a:cubicBezTo>
                  <a:cubicBezTo>
                    <a:pt x="1016415" y="1056856"/>
                    <a:pt x="1024125" y="1047862"/>
                    <a:pt x="1033120" y="1040794"/>
                  </a:cubicBezTo>
                  <a:cubicBezTo>
                    <a:pt x="1049824" y="1027944"/>
                    <a:pt x="1071669" y="1023447"/>
                    <a:pt x="1090944" y="1015095"/>
                  </a:cubicBezTo>
                  <a:cubicBezTo>
                    <a:pt x="1100581" y="1010597"/>
                    <a:pt x="1110218" y="1005457"/>
                    <a:pt x="1119213" y="1000318"/>
                  </a:cubicBezTo>
                  <a:cubicBezTo>
                    <a:pt x="1126923" y="995820"/>
                    <a:pt x="1137203" y="989395"/>
                    <a:pt x="1139773" y="981043"/>
                  </a:cubicBezTo>
                  <a:cubicBezTo>
                    <a:pt x="1140415" y="978473"/>
                    <a:pt x="1140415" y="975903"/>
                    <a:pt x="1139773" y="973333"/>
                  </a:cubicBezTo>
                  <a:cubicBezTo>
                    <a:pt x="1137203" y="960483"/>
                    <a:pt x="1127565" y="950846"/>
                    <a:pt x="1123710" y="939281"/>
                  </a:cubicBezTo>
                  <a:cubicBezTo>
                    <a:pt x="1120498" y="930286"/>
                    <a:pt x="1121783" y="920007"/>
                    <a:pt x="1117928" y="911012"/>
                  </a:cubicBezTo>
                  <a:cubicBezTo>
                    <a:pt x="1117286" y="910369"/>
                    <a:pt x="1117286" y="909084"/>
                    <a:pt x="1116643" y="908442"/>
                  </a:cubicBezTo>
                  <a:cubicBezTo>
                    <a:pt x="1114716" y="904587"/>
                    <a:pt x="1112146" y="900732"/>
                    <a:pt x="1112146" y="896877"/>
                  </a:cubicBezTo>
                  <a:cubicBezTo>
                    <a:pt x="1112788" y="889810"/>
                    <a:pt x="1119855" y="885312"/>
                    <a:pt x="1125638" y="882100"/>
                  </a:cubicBezTo>
                  <a:cubicBezTo>
                    <a:pt x="1126923" y="881457"/>
                    <a:pt x="1128850" y="880172"/>
                    <a:pt x="1129493" y="878887"/>
                  </a:cubicBezTo>
                  <a:cubicBezTo>
                    <a:pt x="1130135" y="877602"/>
                    <a:pt x="1130135" y="876318"/>
                    <a:pt x="1130135" y="875033"/>
                  </a:cubicBezTo>
                  <a:cubicBezTo>
                    <a:pt x="1130778" y="866680"/>
                    <a:pt x="1126923" y="858970"/>
                    <a:pt x="1122425" y="851903"/>
                  </a:cubicBezTo>
                  <a:cubicBezTo>
                    <a:pt x="1117928" y="844836"/>
                    <a:pt x="1112146" y="838411"/>
                    <a:pt x="1107006" y="831986"/>
                  </a:cubicBezTo>
                  <a:cubicBezTo>
                    <a:pt x="1105078" y="829416"/>
                    <a:pt x="1102508" y="825561"/>
                    <a:pt x="1102508" y="822349"/>
                  </a:cubicBezTo>
                  <a:cubicBezTo>
                    <a:pt x="1103151" y="816566"/>
                    <a:pt x="1109576" y="812711"/>
                    <a:pt x="1115358" y="810141"/>
                  </a:cubicBezTo>
                  <a:cubicBezTo>
                    <a:pt x="1126280" y="805001"/>
                    <a:pt x="1137203" y="799861"/>
                    <a:pt x="1149410" y="798577"/>
                  </a:cubicBezTo>
                  <a:cubicBezTo>
                    <a:pt x="1156477" y="797934"/>
                    <a:pt x="1164187" y="798577"/>
                    <a:pt x="1171254" y="799861"/>
                  </a:cubicBezTo>
                  <a:cubicBezTo>
                    <a:pt x="1182177" y="801147"/>
                    <a:pt x="1193741" y="802431"/>
                    <a:pt x="1204664" y="803716"/>
                  </a:cubicBezTo>
                  <a:cubicBezTo>
                    <a:pt x="1207234" y="803716"/>
                    <a:pt x="1209804" y="804359"/>
                    <a:pt x="1212374" y="803074"/>
                  </a:cubicBezTo>
                  <a:cubicBezTo>
                    <a:pt x="1214301" y="801789"/>
                    <a:pt x="1214943" y="800504"/>
                    <a:pt x="1216229" y="798577"/>
                  </a:cubicBezTo>
                  <a:cubicBezTo>
                    <a:pt x="1223938" y="783799"/>
                    <a:pt x="1231648" y="769665"/>
                    <a:pt x="1238716" y="755530"/>
                  </a:cubicBezTo>
                  <a:cubicBezTo>
                    <a:pt x="1239358" y="754245"/>
                    <a:pt x="1240001" y="752960"/>
                    <a:pt x="1240001" y="751675"/>
                  </a:cubicBezTo>
                  <a:cubicBezTo>
                    <a:pt x="1240643" y="747178"/>
                    <a:pt x="1235503" y="744608"/>
                    <a:pt x="1231006" y="743323"/>
                  </a:cubicBezTo>
                  <a:cubicBezTo>
                    <a:pt x="1234861" y="727903"/>
                    <a:pt x="1236146" y="711841"/>
                    <a:pt x="1233576" y="696421"/>
                  </a:cubicBezTo>
                  <a:cubicBezTo>
                    <a:pt x="1232291" y="688711"/>
                    <a:pt x="1230363" y="681001"/>
                    <a:pt x="1228436" y="673291"/>
                  </a:cubicBezTo>
                  <a:cubicBezTo>
                    <a:pt x="1221368" y="647592"/>
                    <a:pt x="1214943" y="621250"/>
                    <a:pt x="1207876" y="595551"/>
                  </a:cubicBezTo>
                  <a:cubicBezTo>
                    <a:pt x="1201451" y="572421"/>
                    <a:pt x="1199524" y="547364"/>
                    <a:pt x="1180892" y="529374"/>
                  </a:cubicBezTo>
                  <a:cubicBezTo>
                    <a:pt x="1173824" y="522307"/>
                    <a:pt x="1164830" y="517167"/>
                    <a:pt x="1159047" y="509457"/>
                  </a:cubicBezTo>
                  <a:cubicBezTo>
                    <a:pt x="1151337" y="499177"/>
                    <a:pt x="1150695" y="485043"/>
                    <a:pt x="1151980" y="472193"/>
                  </a:cubicBezTo>
                  <a:cubicBezTo>
                    <a:pt x="1152622" y="465768"/>
                    <a:pt x="1154550" y="458058"/>
                    <a:pt x="1160332" y="454203"/>
                  </a:cubicBezTo>
                  <a:cubicBezTo>
                    <a:pt x="1166115" y="450348"/>
                    <a:pt x="1174467" y="451633"/>
                    <a:pt x="1181534" y="452276"/>
                  </a:cubicBezTo>
                  <a:cubicBezTo>
                    <a:pt x="1188602" y="453561"/>
                    <a:pt x="1196954" y="454203"/>
                    <a:pt x="1202736" y="449706"/>
                  </a:cubicBezTo>
                  <a:cubicBezTo>
                    <a:pt x="1207234" y="445851"/>
                    <a:pt x="1207876" y="440711"/>
                    <a:pt x="1209161" y="434929"/>
                  </a:cubicBezTo>
                  <a:cubicBezTo>
                    <a:pt x="1209804" y="432359"/>
                    <a:pt x="1209804" y="429789"/>
                    <a:pt x="1210446" y="426576"/>
                  </a:cubicBezTo>
                  <a:cubicBezTo>
                    <a:pt x="1210446" y="425291"/>
                    <a:pt x="1211089" y="424006"/>
                    <a:pt x="1211731" y="423364"/>
                  </a:cubicBezTo>
                  <a:cubicBezTo>
                    <a:pt x="1212374" y="422721"/>
                    <a:pt x="1213659" y="422079"/>
                    <a:pt x="1214943" y="422079"/>
                  </a:cubicBezTo>
                  <a:cubicBezTo>
                    <a:pt x="1226508" y="418867"/>
                    <a:pt x="1240001" y="420794"/>
                    <a:pt x="1250280" y="427219"/>
                  </a:cubicBezTo>
                  <a:cubicBezTo>
                    <a:pt x="1252850" y="428504"/>
                    <a:pt x="1254778" y="430431"/>
                    <a:pt x="1257348" y="431716"/>
                  </a:cubicBezTo>
                  <a:cubicBezTo>
                    <a:pt x="1259275" y="432359"/>
                    <a:pt x="1261845" y="433001"/>
                    <a:pt x="1263773" y="433644"/>
                  </a:cubicBezTo>
                  <a:cubicBezTo>
                    <a:pt x="1272125" y="434929"/>
                    <a:pt x="1281762" y="436856"/>
                    <a:pt x="1290757" y="436214"/>
                  </a:cubicBezTo>
                  <a:cubicBezTo>
                    <a:pt x="1299109" y="435571"/>
                    <a:pt x="1307462" y="433001"/>
                    <a:pt x="1315172" y="431074"/>
                  </a:cubicBezTo>
                  <a:cubicBezTo>
                    <a:pt x="1322881" y="429789"/>
                    <a:pt x="1353721" y="403447"/>
                    <a:pt x="1368498" y="380960"/>
                  </a:cubicBezTo>
                  <a:cubicBezTo>
                    <a:pt x="1372353" y="374535"/>
                    <a:pt x="1377493" y="366825"/>
                    <a:pt x="1382633" y="359758"/>
                  </a:cubicBezTo>
                  <a:cubicBezTo>
                    <a:pt x="1378135" y="358473"/>
                    <a:pt x="1373638" y="360400"/>
                    <a:pt x="1369783" y="360400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 58">
              <a:extLst>
                <a:ext uri="{FF2B5EF4-FFF2-40B4-BE49-F238E27FC236}">
                  <a16:creationId xmlns:a16="http://schemas.microsoft.com/office/drawing/2014/main" id="{E8C299D6-0252-9AC0-9515-87E9B735EC6B}"/>
                </a:ext>
              </a:extLst>
            </p:cNvPr>
            <p:cNvSpPr/>
            <p:nvPr/>
          </p:nvSpPr>
          <p:spPr>
            <a:xfrm>
              <a:off x="3109736" y="3068579"/>
              <a:ext cx="746460" cy="916686"/>
            </a:xfrm>
            <a:custGeom>
              <a:avLst/>
              <a:gdLst>
                <a:gd name="connsiteX0" fmla="*/ 742073 w 746460"/>
                <a:gd name="connsiteY0" fmla="*/ 572456 h 916686"/>
                <a:gd name="connsiteX1" fmla="*/ 711876 w 746460"/>
                <a:gd name="connsiteY1" fmla="*/ 597513 h 916686"/>
                <a:gd name="connsiteX2" fmla="*/ 681037 w 746460"/>
                <a:gd name="connsiteY2" fmla="*/ 589161 h 916686"/>
                <a:gd name="connsiteX3" fmla="*/ 654695 w 746460"/>
                <a:gd name="connsiteY3" fmla="*/ 589161 h 916686"/>
                <a:gd name="connsiteX4" fmla="*/ 603938 w 746460"/>
                <a:gd name="connsiteY4" fmla="*/ 614860 h 916686"/>
                <a:gd name="connsiteX5" fmla="*/ 585306 w 746460"/>
                <a:gd name="connsiteY5" fmla="*/ 618073 h 916686"/>
                <a:gd name="connsiteX6" fmla="*/ 555752 w 746460"/>
                <a:gd name="connsiteY6" fmla="*/ 614860 h 916686"/>
                <a:gd name="connsiteX7" fmla="*/ 537762 w 746460"/>
                <a:gd name="connsiteY7" fmla="*/ 632208 h 916686"/>
                <a:gd name="connsiteX8" fmla="*/ 504353 w 746460"/>
                <a:gd name="connsiteY8" fmla="*/ 641202 h 916686"/>
                <a:gd name="connsiteX9" fmla="*/ 480580 w 746460"/>
                <a:gd name="connsiteY9" fmla="*/ 641202 h 916686"/>
                <a:gd name="connsiteX10" fmla="*/ 467088 w 746460"/>
                <a:gd name="connsiteY10" fmla="*/ 692601 h 916686"/>
                <a:gd name="connsiteX11" fmla="*/ 460663 w 746460"/>
                <a:gd name="connsiteY11" fmla="*/ 732436 h 916686"/>
                <a:gd name="connsiteX12" fmla="*/ 460021 w 746460"/>
                <a:gd name="connsiteY12" fmla="*/ 749783 h 916686"/>
                <a:gd name="connsiteX13" fmla="*/ 467088 w 746460"/>
                <a:gd name="connsiteY13" fmla="*/ 767772 h 916686"/>
                <a:gd name="connsiteX14" fmla="*/ 481865 w 746460"/>
                <a:gd name="connsiteY14" fmla="*/ 838446 h 916686"/>
                <a:gd name="connsiteX15" fmla="*/ 501783 w 746460"/>
                <a:gd name="connsiteY15" fmla="*/ 850653 h 916686"/>
                <a:gd name="connsiteX16" fmla="*/ 503067 w 746460"/>
                <a:gd name="connsiteY16" fmla="*/ 864788 h 916686"/>
                <a:gd name="connsiteX17" fmla="*/ 513990 w 746460"/>
                <a:gd name="connsiteY17" fmla="*/ 874425 h 916686"/>
                <a:gd name="connsiteX18" fmla="*/ 511420 w 746460"/>
                <a:gd name="connsiteY18" fmla="*/ 887275 h 916686"/>
                <a:gd name="connsiteX19" fmla="*/ 503710 w 746460"/>
                <a:gd name="connsiteY19" fmla="*/ 905265 h 916686"/>
                <a:gd name="connsiteX20" fmla="*/ 488933 w 746460"/>
                <a:gd name="connsiteY20" fmla="*/ 915544 h 916686"/>
                <a:gd name="connsiteX21" fmla="*/ 467088 w 746460"/>
                <a:gd name="connsiteY21" fmla="*/ 915544 h 916686"/>
                <a:gd name="connsiteX22" fmla="*/ 436249 w 746460"/>
                <a:gd name="connsiteY22" fmla="*/ 912975 h 916686"/>
                <a:gd name="connsiteX23" fmla="*/ 418259 w 746460"/>
                <a:gd name="connsiteY23" fmla="*/ 892415 h 916686"/>
                <a:gd name="connsiteX24" fmla="*/ 397700 w 746460"/>
                <a:gd name="connsiteY24" fmla="*/ 884705 h 916686"/>
                <a:gd name="connsiteX25" fmla="*/ 378425 w 746460"/>
                <a:gd name="connsiteY25" fmla="*/ 869285 h 916686"/>
                <a:gd name="connsiteX26" fmla="*/ 357865 w 746460"/>
                <a:gd name="connsiteY26" fmla="*/ 876995 h 916686"/>
                <a:gd name="connsiteX27" fmla="*/ 339876 w 746460"/>
                <a:gd name="connsiteY27" fmla="*/ 857721 h 916686"/>
                <a:gd name="connsiteX28" fmla="*/ 310964 w 746460"/>
                <a:gd name="connsiteY28" fmla="*/ 848726 h 916686"/>
                <a:gd name="connsiteX29" fmla="*/ 283979 w 746460"/>
                <a:gd name="connsiteY29" fmla="*/ 856436 h 916686"/>
                <a:gd name="connsiteX30" fmla="*/ 259565 w 746460"/>
                <a:gd name="connsiteY30" fmla="*/ 848726 h 916686"/>
                <a:gd name="connsiteX31" fmla="*/ 217803 w 746460"/>
                <a:gd name="connsiteY31" fmla="*/ 788975 h 916686"/>
                <a:gd name="connsiteX32" fmla="*/ 215876 w 746460"/>
                <a:gd name="connsiteY32" fmla="*/ 770985 h 916686"/>
                <a:gd name="connsiteX33" fmla="*/ 215876 w 746460"/>
                <a:gd name="connsiteY33" fmla="*/ 754280 h 916686"/>
                <a:gd name="connsiteX34" fmla="*/ 208808 w 746460"/>
                <a:gd name="connsiteY34" fmla="*/ 735648 h 916686"/>
                <a:gd name="connsiteX35" fmla="*/ 169617 w 746460"/>
                <a:gd name="connsiteY35" fmla="*/ 731793 h 916686"/>
                <a:gd name="connsiteX36" fmla="*/ 149057 w 746460"/>
                <a:gd name="connsiteY36" fmla="*/ 724726 h 916686"/>
                <a:gd name="connsiteX37" fmla="*/ 118860 w 746460"/>
                <a:gd name="connsiteY37" fmla="*/ 708021 h 916686"/>
                <a:gd name="connsiteX38" fmla="*/ 114363 w 746460"/>
                <a:gd name="connsiteY38" fmla="*/ 691316 h 916686"/>
                <a:gd name="connsiteX39" fmla="*/ 106010 w 746460"/>
                <a:gd name="connsiteY39" fmla="*/ 659192 h 916686"/>
                <a:gd name="connsiteX40" fmla="*/ 110508 w 746460"/>
                <a:gd name="connsiteY40" fmla="*/ 650197 h 916686"/>
                <a:gd name="connsiteX41" fmla="*/ 116933 w 746460"/>
                <a:gd name="connsiteY41" fmla="*/ 646342 h 916686"/>
                <a:gd name="connsiteX42" fmla="*/ 113078 w 746460"/>
                <a:gd name="connsiteY42" fmla="*/ 639917 h 916686"/>
                <a:gd name="connsiteX43" fmla="*/ 111793 w 746460"/>
                <a:gd name="connsiteY43" fmla="*/ 638632 h 916686"/>
                <a:gd name="connsiteX44" fmla="*/ 108580 w 746460"/>
                <a:gd name="connsiteY44" fmla="*/ 636705 h 916686"/>
                <a:gd name="connsiteX45" fmla="*/ 97016 w 746460"/>
                <a:gd name="connsiteY45" fmla="*/ 628995 h 916686"/>
                <a:gd name="connsiteX46" fmla="*/ 86736 w 746460"/>
                <a:gd name="connsiteY46" fmla="*/ 621928 h 916686"/>
                <a:gd name="connsiteX47" fmla="*/ 53326 w 746460"/>
                <a:gd name="connsiteY47" fmla="*/ 621928 h 916686"/>
                <a:gd name="connsiteX48" fmla="*/ 37264 w 746460"/>
                <a:gd name="connsiteY48" fmla="*/ 621285 h 916686"/>
                <a:gd name="connsiteX49" fmla="*/ 37264 w 746460"/>
                <a:gd name="connsiteY49" fmla="*/ 613575 h 916686"/>
                <a:gd name="connsiteX50" fmla="*/ 21202 w 746460"/>
                <a:gd name="connsiteY50" fmla="*/ 579524 h 916686"/>
                <a:gd name="connsiteX51" fmla="*/ 15420 w 746460"/>
                <a:gd name="connsiteY51" fmla="*/ 551254 h 916686"/>
                <a:gd name="connsiteX52" fmla="*/ 14135 w 746460"/>
                <a:gd name="connsiteY52" fmla="*/ 548684 h 916686"/>
                <a:gd name="connsiteX53" fmla="*/ 9637 w 746460"/>
                <a:gd name="connsiteY53" fmla="*/ 537119 h 916686"/>
                <a:gd name="connsiteX54" fmla="*/ 23130 w 746460"/>
                <a:gd name="connsiteY54" fmla="*/ 522342 h 916686"/>
                <a:gd name="connsiteX55" fmla="*/ 26984 w 746460"/>
                <a:gd name="connsiteY55" fmla="*/ 519130 h 916686"/>
                <a:gd name="connsiteX56" fmla="*/ 27627 w 746460"/>
                <a:gd name="connsiteY56" fmla="*/ 515275 h 916686"/>
                <a:gd name="connsiteX57" fmla="*/ 19917 w 746460"/>
                <a:gd name="connsiteY57" fmla="*/ 492145 h 916686"/>
                <a:gd name="connsiteX58" fmla="*/ 4497 w 746460"/>
                <a:gd name="connsiteY58" fmla="*/ 472228 h 916686"/>
                <a:gd name="connsiteX59" fmla="*/ 0 w 746460"/>
                <a:gd name="connsiteY59" fmla="*/ 462591 h 916686"/>
                <a:gd name="connsiteX60" fmla="*/ 12850 w 746460"/>
                <a:gd name="connsiteY60" fmla="*/ 450384 h 916686"/>
                <a:gd name="connsiteX61" fmla="*/ 46901 w 746460"/>
                <a:gd name="connsiteY61" fmla="*/ 438819 h 916686"/>
                <a:gd name="connsiteX62" fmla="*/ 68746 w 746460"/>
                <a:gd name="connsiteY62" fmla="*/ 440104 h 916686"/>
                <a:gd name="connsiteX63" fmla="*/ 102155 w 746460"/>
                <a:gd name="connsiteY63" fmla="*/ 443959 h 916686"/>
                <a:gd name="connsiteX64" fmla="*/ 109865 w 746460"/>
                <a:gd name="connsiteY64" fmla="*/ 443316 h 916686"/>
                <a:gd name="connsiteX65" fmla="*/ 113720 w 746460"/>
                <a:gd name="connsiteY65" fmla="*/ 438819 h 916686"/>
                <a:gd name="connsiteX66" fmla="*/ 136207 w 746460"/>
                <a:gd name="connsiteY66" fmla="*/ 395772 h 916686"/>
                <a:gd name="connsiteX67" fmla="*/ 137492 w 746460"/>
                <a:gd name="connsiteY67" fmla="*/ 391917 h 916686"/>
                <a:gd name="connsiteX68" fmla="*/ 128497 w 746460"/>
                <a:gd name="connsiteY68" fmla="*/ 383565 h 916686"/>
                <a:gd name="connsiteX69" fmla="*/ 131067 w 746460"/>
                <a:gd name="connsiteY69" fmla="*/ 336663 h 916686"/>
                <a:gd name="connsiteX70" fmla="*/ 125928 w 746460"/>
                <a:gd name="connsiteY70" fmla="*/ 313534 h 916686"/>
                <a:gd name="connsiteX71" fmla="*/ 105368 w 746460"/>
                <a:gd name="connsiteY71" fmla="*/ 235793 h 916686"/>
                <a:gd name="connsiteX72" fmla="*/ 78383 w 746460"/>
                <a:gd name="connsiteY72" fmla="*/ 169617 h 916686"/>
                <a:gd name="connsiteX73" fmla="*/ 56539 w 746460"/>
                <a:gd name="connsiteY73" fmla="*/ 149700 h 916686"/>
                <a:gd name="connsiteX74" fmla="*/ 49471 w 746460"/>
                <a:gd name="connsiteY74" fmla="*/ 112435 h 916686"/>
                <a:gd name="connsiteX75" fmla="*/ 57824 w 746460"/>
                <a:gd name="connsiteY75" fmla="*/ 94446 h 916686"/>
                <a:gd name="connsiteX76" fmla="*/ 79026 w 746460"/>
                <a:gd name="connsiteY76" fmla="*/ 92518 h 916686"/>
                <a:gd name="connsiteX77" fmla="*/ 100228 w 746460"/>
                <a:gd name="connsiteY77" fmla="*/ 89948 h 916686"/>
                <a:gd name="connsiteX78" fmla="*/ 106653 w 746460"/>
                <a:gd name="connsiteY78" fmla="*/ 75171 h 916686"/>
                <a:gd name="connsiteX79" fmla="*/ 107938 w 746460"/>
                <a:gd name="connsiteY79" fmla="*/ 66819 h 916686"/>
                <a:gd name="connsiteX80" fmla="*/ 109223 w 746460"/>
                <a:gd name="connsiteY80" fmla="*/ 63606 h 916686"/>
                <a:gd name="connsiteX81" fmla="*/ 112435 w 746460"/>
                <a:gd name="connsiteY81" fmla="*/ 62321 h 916686"/>
                <a:gd name="connsiteX82" fmla="*/ 147772 w 746460"/>
                <a:gd name="connsiteY82" fmla="*/ 67461 h 916686"/>
                <a:gd name="connsiteX83" fmla="*/ 154839 w 746460"/>
                <a:gd name="connsiteY83" fmla="*/ 71959 h 916686"/>
                <a:gd name="connsiteX84" fmla="*/ 161264 w 746460"/>
                <a:gd name="connsiteY84" fmla="*/ 73886 h 916686"/>
                <a:gd name="connsiteX85" fmla="*/ 188249 w 746460"/>
                <a:gd name="connsiteY85" fmla="*/ 76456 h 916686"/>
                <a:gd name="connsiteX86" fmla="*/ 212663 w 746460"/>
                <a:gd name="connsiteY86" fmla="*/ 71316 h 916686"/>
                <a:gd name="connsiteX87" fmla="*/ 265990 w 746460"/>
                <a:gd name="connsiteY87" fmla="*/ 21202 h 916686"/>
                <a:gd name="connsiteX88" fmla="*/ 280125 w 746460"/>
                <a:gd name="connsiteY88" fmla="*/ 0 h 916686"/>
                <a:gd name="connsiteX89" fmla="*/ 285907 w 746460"/>
                <a:gd name="connsiteY89" fmla="*/ 643 h 916686"/>
                <a:gd name="connsiteX90" fmla="*/ 294902 w 746460"/>
                <a:gd name="connsiteY90" fmla="*/ 11565 h 916686"/>
                <a:gd name="connsiteX91" fmla="*/ 319959 w 746460"/>
                <a:gd name="connsiteY91" fmla="*/ 32124 h 916686"/>
                <a:gd name="connsiteX92" fmla="*/ 336663 w 746460"/>
                <a:gd name="connsiteY92" fmla="*/ 31482 h 916686"/>
                <a:gd name="connsiteX93" fmla="*/ 347586 w 746460"/>
                <a:gd name="connsiteY93" fmla="*/ 41119 h 916686"/>
                <a:gd name="connsiteX94" fmla="*/ 342446 w 746460"/>
                <a:gd name="connsiteY94" fmla="*/ 52684 h 916686"/>
                <a:gd name="connsiteX95" fmla="*/ 350798 w 746460"/>
                <a:gd name="connsiteY95" fmla="*/ 60394 h 916686"/>
                <a:gd name="connsiteX96" fmla="*/ 400270 w 746460"/>
                <a:gd name="connsiteY96" fmla="*/ 65534 h 916686"/>
                <a:gd name="connsiteX97" fmla="*/ 409264 w 746460"/>
                <a:gd name="connsiteY97" fmla="*/ 61679 h 916686"/>
                <a:gd name="connsiteX98" fmla="*/ 416974 w 746460"/>
                <a:gd name="connsiteY98" fmla="*/ 62321 h 916686"/>
                <a:gd name="connsiteX99" fmla="*/ 441389 w 746460"/>
                <a:gd name="connsiteY99" fmla="*/ 69389 h 916686"/>
                <a:gd name="connsiteX100" fmla="*/ 456809 w 746460"/>
                <a:gd name="connsiteY100" fmla="*/ 89306 h 916686"/>
                <a:gd name="connsiteX101" fmla="*/ 458093 w 746460"/>
                <a:gd name="connsiteY101" fmla="*/ 122715 h 916686"/>
                <a:gd name="connsiteX102" fmla="*/ 457451 w 746460"/>
                <a:gd name="connsiteY102" fmla="*/ 138777 h 916686"/>
                <a:gd name="connsiteX103" fmla="*/ 452311 w 746460"/>
                <a:gd name="connsiteY103" fmla="*/ 163834 h 916686"/>
                <a:gd name="connsiteX104" fmla="*/ 452954 w 746460"/>
                <a:gd name="connsiteY104" fmla="*/ 179896 h 916686"/>
                <a:gd name="connsiteX105" fmla="*/ 435606 w 746460"/>
                <a:gd name="connsiteY105" fmla="*/ 212663 h 916686"/>
                <a:gd name="connsiteX106" fmla="*/ 437534 w 746460"/>
                <a:gd name="connsiteY106" fmla="*/ 219088 h 916686"/>
                <a:gd name="connsiteX107" fmla="*/ 447814 w 746460"/>
                <a:gd name="connsiteY107" fmla="*/ 222301 h 916686"/>
                <a:gd name="connsiteX108" fmla="*/ 470943 w 746460"/>
                <a:gd name="connsiteY108" fmla="*/ 222301 h 916686"/>
                <a:gd name="connsiteX109" fmla="*/ 484435 w 746460"/>
                <a:gd name="connsiteY109" fmla="*/ 228726 h 916686"/>
                <a:gd name="connsiteX110" fmla="*/ 481223 w 746460"/>
                <a:gd name="connsiteY110" fmla="*/ 235793 h 916686"/>
                <a:gd name="connsiteX111" fmla="*/ 471586 w 746460"/>
                <a:gd name="connsiteY111" fmla="*/ 259565 h 916686"/>
                <a:gd name="connsiteX112" fmla="*/ 470943 w 746460"/>
                <a:gd name="connsiteY112" fmla="*/ 284622 h 916686"/>
                <a:gd name="connsiteX113" fmla="*/ 467088 w 746460"/>
                <a:gd name="connsiteY113" fmla="*/ 307109 h 916686"/>
                <a:gd name="connsiteX114" fmla="*/ 488933 w 746460"/>
                <a:gd name="connsiteY114" fmla="*/ 407979 h 916686"/>
                <a:gd name="connsiteX115" fmla="*/ 573741 w 746460"/>
                <a:gd name="connsiteY115" fmla="*/ 458093 h 916686"/>
                <a:gd name="connsiteX116" fmla="*/ 664332 w 746460"/>
                <a:gd name="connsiteY116" fmla="*/ 478011 h 916686"/>
                <a:gd name="connsiteX117" fmla="*/ 717658 w 746460"/>
                <a:gd name="connsiteY117" fmla="*/ 487648 h 916686"/>
                <a:gd name="connsiteX118" fmla="*/ 733720 w 746460"/>
                <a:gd name="connsiteY118" fmla="*/ 539047 h 916686"/>
                <a:gd name="connsiteX119" fmla="*/ 742073 w 746460"/>
                <a:gd name="connsiteY119" fmla="*/ 572456 h 91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746460" h="916686">
                  <a:moveTo>
                    <a:pt x="742073" y="572456"/>
                  </a:moveTo>
                  <a:cubicBezTo>
                    <a:pt x="731151" y="584021"/>
                    <a:pt x="716373" y="594943"/>
                    <a:pt x="711876" y="597513"/>
                  </a:cubicBezTo>
                  <a:cubicBezTo>
                    <a:pt x="701596" y="594943"/>
                    <a:pt x="691316" y="591731"/>
                    <a:pt x="681037" y="589161"/>
                  </a:cubicBezTo>
                  <a:cubicBezTo>
                    <a:pt x="668187" y="585949"/>
                    <a:pt x="668829" y="589161"/>
                    <a:pt x="654695" y="589161"/>
                  </a:cubicBezTo>
                  <a:cubicBezTo>
                    <a:pt x="640560" y="589161"/>
                    <a:pt x="605223" y="616145"/>
                    <a:pt x="603938" y="614860"/>
                  </a:cubicBezTo>
                  <a:cubicBezTo>
                    <a:pt x="602653" y="613575"/>
                    <a:pt x="591731" y="618073"/>
                    <a:pt x="585306" y="618073"/>
                  </a:cubicBezTo>
                  <a:cubicBezTo>
                    <a:pt x="578881" y="618073"/>
                    <a:pt x="566674" y="614860"/>
                    <a:pt x="555752" y="614860"/>
                  </a:cubicBezTo>
                  <a:cubicBezTo>
                    <a:pt x="545472" y="614860"/>
                    <a:pt x="544829" y="623213"/>
                    <a:pt x="537762" y="632208"/>
                  </a:cubicBezTo>
                  <a:cubicBezTo>
                    <a:pt x="531337" y="640560"/>
                    <a:pt x="519130" y="639917"/>
                    <a:pt x="504353" y="641202"/>
                  </a:cubicBezTo>
                  <a:cubicBezTo>
                    <a:pt x="489575" y="642487"/>
                    <a:pt x="489575" y="634778"/>
                    <a:pt x="480580" y="641202"/>
                  </a:cubicBezTo>
                  <a:cubicBezTo>
                    <a:pt x="471586" y="647627"/>
                    <a:pt x="467088" y="677824"/>
                    <a:pt x="467088" y="692601"/>
                  </a:cubicBezTo>
                  <a:cubicBezTo>
                    <a:pt x="467088" y="707379"/>
                    <a:pt x="465803" y="720871"/>
                    <a:pt x="460663" y="732436"/>
                  </a:cubicBezTo>
                  <a:cubicBezTo>
                    <a:pt x="457451" y="738860"/>
                    <a:pt x="458093" y="744000"/>
                    <a:pt x="460021" y="749783"/>
                  </a:cubicBezTo>
                  <a:cubicBezTo>
                    <a:pt x="461306" y="754923"/>
                    <a:pt x="464518" y="760063"/>
                    <a:pt x="467088" y="767772"/>
                  </a:cubicBezTo>
                  <a:cubicBezTo>
                    <a:pt x="473513" y="783192"/>
                    <a:pt x="477368" y="824311"/>
                    <a:pt x="481865" y="838446"/>
                  </a:cubicBezTo>
                  <a:cubicBezTo>
                    <a:pt x="484435" y="845513"/>
                    <a:pt x="492145" y="848726"/>
                    <a:pt x="501783" y="850653"/>
                  </a:cubicBezTo>
                  <a:cubicBezTo>
                    <a:pt x="501783" y="857078"/>
                    <a:pt x="502425" y="861576"/>
                    <a:pt x="503067" y="864788"/>
                  </a:cubicBezTo>
                  <a:cubicBezTo>
                    <a:pt x="503710" y="868643"/>
                    <a:pt x="512062" y="871855"/>
                    <a:pt x="513990" y="874425"/>
                  </a:cubicBezTo>
                  <a:cubicBezTo>
                    <a:pt x="516560" y="876353"/>
                    <a:pt x="515275" y="882778"/>
                    <a:pt x="511420" y="887275"/>
                  </a:cubicBezTo>
                  <a:cubicBezTo>
                    <a:pt x="507565" y="891773"/>
                    <a:pt x="503710" y="897555"/>
                    <a:pt x="503710" y="905265"/>
                  </a:cubicBezTo>
                  <a:cubicBezTo>
                    <a:pt x="503710" y="912975"/>
                    <a:pt x="494073" y="915544"/>
                    <a:pt x="488933" y="915544"/>
                  </a:cubicBezTo>
                  <a:cubicBezTo>
                    <a:pt x="483150" y="915544"/>
                    <a:pt x="474798" y="918114"/>
                    <a:pt x="467088" y="915544"/>
                  </a:cubicBezTo>
                  <a:cubicBezTo>
                    <a:pt x="459378" y="912975"/>
                    <a:pt x="446529" y="914260"/>
                    <a:pt x="436249" y="912975"/>
                  </a:cubicBezTo>
                  <a:cubicBezTo>
                    <a:pt x="425969" y="912332"/>
                    <a:pt x="422114" y="897555"/>
                    <a:pt x="418259" y="892415"/>
                  </a:cubicBezTo>
                  <a:cubicBezTo>
                    <a:pt x="414404" y="887275"/>
                    <a:pt x="397700" y="884705"/>
                    <a:pt x="397700" y="884705"/>
                  </a:cubicBezTo>
                  <a:cubicBezTo>
                    <a:pt x="397700" y="884705"/>
                    <a:pt x="382922" y="869928"/>
                    <a:pt x="378425" y="869285"/>
                  </a:cubicBezTo>
                  <a:cubicBezTo>
                    <a:pt x="373928" y="868643"/>
                    <a:pt x="367503" y="877638"/>
                    <a:pt x="357865" y="876995"/>
                  </a:cubicBezTo>
                  <a:cubicBezTo>
                    <a:pt x="348228" y="876353"/>
                    <a:pt x="343731" y="861576"/>
                    <a:pt x="339876" y="857721"/>
                  </a:cubicBezTo>
                  <a:cubicBezTo>
                    <a:pt x="336021" y="853866"/>
                    <a:pt x="319959" y="848726"/>
                    <a:pt x="310964" y="848726"/>
                  </a:cubicBezTo>
                  <a:cubicBezTo>
                    <a:pt x="301969" y="848726"/>
                    <a:pt x="288477" y="853223"/>
                    <a:pt x="283979" y="856436"/>
                  </a:cubicBezTo>
                  <a:cubicBezTo>
                    <a:pt x="278839" y="860290"/>
                    <a:pt x="271130" y="856436"/>
                    <a:pt x="259565" y="848726"/>
                  </a:cubicBezTo>
                  <a:cubicBezTo>
                    <a:pt x="248000" y="841016"/>
                    <a:pt x="222301" y="794114"/>
                    <a:pt x="217803" y="788975"/>
                  </a:cubicBezTo>
                  <a:cubicBezTo>
                    <a:pt x="213306" y="783835"/>
                    <a:pt x="212663" y="774197"/>
                    <a:pt x="215876" y="770985"/>
                  </a:cubicBezTo>
                  <a:cubicBezTo>
                    <a:pt x="219088" y="767130"/>
                    <a:pt x="217803" y="757493"/>
                    <a:pt x="215876" y="754280"/>
                  </a:cubicBezTo>
                  <a:cubicBezTo>
                    <a:pt x="213948" y="751068"/>
                    <a:pt x="210093" y="735648"/>
                    <a:pt x="208808" y="735648"/>
                  </a:cubicBezTo>
                  <a:cubicBezTo>
                    <a:pt x="206881" y="735648"/>
                    <a:pt x="183109" y="735648"/>
                    <a:pt x="169617" y="731793"/>
                  </a:cubicBezTo>
                  <a:cubicBezTo>
                    <a:pt x="156124" y="727296"/>
                    <a:pt x="157409" y="726653"/>
                    <a:pt x="149057" y="724726"/>
                  </a:cubicBezTo>
                  <a:cubicBezTo>
                    <a:pt x="140705" y="723441"/>
                    <a:pt x="125928" y="717658"/>
                    <a:pt x="118860" y="708021"/>
                  </a:cubicBezTo>
                  <a:cubicBezTo>
                    <a:pt x="115648" y="702881"/>
                    <a:pt x="115005" y="697099"/>
                    <a:pt x="114363" y="691316"/>
                  </a:cubicBezTo>
                  <a:cubicBezTo>
                    <a:pt x="113078" y="680394"/>
                    <a:pt x="106653" y="670114"/>
                    <a:pt x="106010" y="659192"/>
                  </a:cubicBezTo>
                  <a:cubicBezTo>
                    <a:pt x="105368" y="655337"/>
                    <a:pt x="106653" y="652767"/>
                    <a:pt x="110508" y="650197"/>
                  </a:cubicBezTo>
                  <a:cubicBezTo>
                    <a:pt x="112435" y="648912"/>
                    <a:pt x="116290" y="648270"/>
                    <a:pt x="116933" y="646342"/>
                  </a:cubicBezTo>
                  <a:cubicBezTo>
                    <a:pt x="117575" y="643772"/>
                    <a:pt x="114363" y="641202"/>
                    <a:pt x="113078" y="639917"/>
                  </a:cubicBezTo>
                  <a:cubicBezTo>
                    <a:pt x="112435" y="639275"/>
                    <a:pt x="112435" y="639275"/>
                    <a:pt x="111793" y="638632"/>
                  </a:cubicBezTo>
                  <a:cubicBezTo>
                    <a:pt x="111150" y="637990"/>
                    <a:pt x="109865" y="637348"/>
                    <a:pt x="108580" y="636705"/>
                  </a:cubicBezTo>
                  <a:cubicBezTo>
                    <a:pt x="104083" y="634778"/>
                    <a:pt x="100870" y="631565"/>
                    <a:pt x="97016" y="628995"/>
                  </a:cubicBezTo>
                  <a:cubicBezTo>
                    <a:pt x="93803" y="626425"/>
                    <a:pt x="89306" y="625140"/>
                    <a:pt x="86736" y="621928"/>
                  </a:cubicBezTo>
                  <a:cubicBezTo>
                    <a:pt x="77098" y="612933"/>
                    <a:pt x="59109" y="622570"/>
                    <a:pt x="53326" y="621928"/>
                  </a:cubicBezTo>
                  <a:cubicBezTo>
                    <a:pt x="50114" y="621928"/>
                    <a:pt x="43689" y="621285"/>
                    <a:pt x="37264" y="621285"/>
                  </a:cubicBezTo>
                  <a:cubicBezTo>
                    <a:pt x="37907" y="618715"/>
                    <a:pt x="37907" y="616145"/>
                    <a:pt x="37264" y="613575"/>
                  </a:cubicBezTo>
                  <a:cubicBezTo>
                    <a:pt x="34694" y="600726"/>
                    <a:pt x="25057" y="591088"/>
                    <a:pt x="21202" y="579524"/>
                  </a:cubicBezTo>
                  <a:cubicBezTo>
                    <a:pt x="17990" y="570529"/>
                    <a:pt x="19275" y="560249"/>
                    <a:pt x="15420" y="551254"/>
                  </a:cubicBezTo>
                  <a:cubicBezTo>
                    <a:pt x="14777" y="550612"/>
                    <a:pt x="14777" y="549327"/>
                    <a:pt x="14135" y="548684"/>
                  </a:cubicBezTo>
                  <a:cubicBezTo>
                    <a:pt x="12207" y="544829"/>
                    <a:pt x="9637" y="540974"/>
                    <a:pt x="9637" y="537119"/>
                  </a:cubicBezTo>
                  <a:cubicBezTo>
                    <a:pt x="10280" y="530052"/>
                    <a:pt x="17347" y="525555"/>
                    <a:pt x="23130" y="522342"/>
                  </a:cubicBezTo>
                  <a:cubicBezTo>
                    <a:pt x="24414" y="521700"/>
                    <a:pt x="26342" y="520415"/>
                    <a:pt x="26984" y="519130"/>
                  </a:cubicBezTo>
                  <a:cubicBezTo>
                    <a:pt x="27627" y="517845"/>
                    <a:pt x="27627" y="516560"/>
                    <a:pt x="27627" y="515275"/>
                  </a:cubicBezTo>
                  <a:cubicBezTo>
                    <a:pt x="28269" y="506923"/>
                    <a:pt x="24414" y="499213"/>
                    <a:pt x="19917" y="492145"/>
                  </a:cubicBezTo>
                  <a:cubicBezTo>
                    <a:pt x="15420" y="485078"/>
                    <a:pt x="9637" y="478653"/>
                    <a:pt x="4497" y="472228"/>
                  </a:cubicBezTo>
                  <a:cubicBezTo>
                    <a:pt x="2570" y="469658"/>
                    <a:pt x="0" y="465803"/>
                    <a:pt x="0" y="462591"/>
                  </a:cubicBezTo>
                  <a:cubicBezTo>
                    <a:pt x="643" y="456809"/>
                    <a:pt x="7067" y="452954"/>
                    <a:pt x="12850" y="450384"/>
                  </a:cubicBezTo>
                  <a:cubicBezTo>
                    <a:pt x="23772" y="445244"/>
                    <a:pt x="34694" y="440104"/>
                    <a:pt x="46901" y="438819"/>
                  </a:cubicBezTo>
                  <a:cubicBezTo>
                    <a:pt x="53969" y="438176"/>
                    <a:pt x="61679" y="438819"/>
                    <a:pt x="68746" y="440104"/>
                  </a:cubicBezTo>
                  <a:cubicBezTo>
                    <a:pt x="79668" y="441389"/>
                    <a:pt x="91233" y="442674"/>
                    <a:pt x="102155" y="443959"/>
                  </a:cubicBezTo>
                  <a:cubicBezTo>
                    <a:pt x="104725" y="443959"/>
                    <a:pt x="107295" y="444601"/>
                    <a:pt x="109865" y="443316"/>
                  </a:cubicBezTo>
                  <a:cubicBezTo>
                    <a:pt x="111793" y="442031"/>
                    <a:pt x="112435" y="440746"/>
                    <a:pt x="113720" y="438819"/>
                  </a:cubicBezTo>
                  <a:cubicBezTo>
                    <a:pt x="121430" y="424042"/>
                    <a:pt x="129140" y="409907"/>
                    <a:pt x="136207" y="395772"/>
                  </a:cubicBezTo>
                  <a:cubicBezTo>
                    <a:pt x="136850" y="394487"/>
                    <a:pt x="137492" y="393202"/>
                    <a:pt x="137492" y="391917"/>
                  </a:cubicBezTo>
                  <a:cubicBezTo>
                    <a:pt x="138135" y="387420"/>
                    <a:pt x="132352" y="384850"/>
                    <a:pt x="128497" y="383565"/>
                  </a:cubicBezTo>
                  <a:cubicBezTo>
                    <a:pt x="132352" y="368145"/>
                    <a:pt x="133637" y="352083"/>
                    <a:pt x="131067" y="336663"/>
                  </a:cubicBezTo>
                  <a:cubicBezTo>
                    <a:pt x="129782" y="328954"/>
                    <a:pt x="127855" y="321244"/>
                    <a:pt x="125928" y="313534"/>
                  </a:cubicBezTo>
                  <a:cubicBezTo>
                    <a:pt x="118860" y="287834"/>
                    <a:pt x="112435" y="261492"/>
                    <a:pt x="105368" y="235793"/>
                  </a:cubicBezTo>
                  <a:cubicBezTo>
                    <a:pt x="98943" y="212663"/>
                    <a:pt x="97016" y="187606"/>
                    <a:pt x="78383" y="169617"/>
                  </a:cubicBezTo>
                  <a:cubicBezTo>
                    <a:pt x="71316" y="162549"/>
                    <a:pt x="62321" y="157409"/>
                    <a:pt x="56539" y="149700"/>
                  </a:cubicBezTo>
                  <a:cubicBezTo>
                    <a:pt x="48829" y="139420"/>
                    <a:pt x="48187" y="125285"/>
                    <a:pt x="49471" y="112435"/>
                  </a:cubicBezTo>
                  <a:cubicBezTo>
                    <a:pt x="50114" y="106010"/>
                    <a:pt x="52042" y="98301"/>
                    <a:pt x="57824" y="94446"/>
                  </a:cubicBezTo>
                  <a:cubicBezTo>
                    <a:pt x="63606" y="90591"/>
                    <a:pt x="71958" y="91876"/>
                    <a:pt x="79026" y="92518"/>
                  </a:cubicBezTo>
                  <a:cubicBezTo>
                    <a:pt x="86093" y="93803"/>
                    <a:pt x="94446" y="94446"/>
                    <a:pt x="100228" y="89948"/>
                  </a:cubicBezTo>
                  <a:cubicBezTo>
                    <a:pt x="104725" y="86093"/>
                    <a:pt x="105368" y="80953"/>
                    <a:pt x="106653" y="75171"/>
                  </a:cubicBezTo>
                  <a:cubicBezTo>
                    <a:pt x="107295" y="72601"/>
                    <a:pt x="107295" y="70031"/>
                    <a:pt x="107938" y="66819"/>
                  </a:cubicBezTo>
                  <a:cubicBezTo>
                    <a:pt x="107938" y="65534"/>
                    <a:pt x="108580" y="64249"/>
                    <a:pt x="109223" y="63606"/>
                  </a:cubicBezTo>
                  <a:cubicBezTo>
                    <a:pt x="109865" y="62964"/>
                    <a:pt x="111150" y="62321"/>
                    <a:pt x="112435" y="62321"/>
                  </a:cubicBezTo>
                  <a:cubicBezTo>
                    <a:pt x="124000" y="59109"/>
                    <a:pt x="137492" y="61036"/>
                    <a:pt x="147772" y="67461"/>
                  </a:cubicBezTo>
                  <a:cubicBezTo>
                    <a:pt x="150342" y="68746"/>
                    <a:pt x="152269" y="70674"/>
                    <a:pt x="154839" y="71959"/>
                  </a:cubicBezTo>
                  <a:cubicBezTo>
                    <a:pt x="156767" y="72601"/>
                    <a:pt x="159337" y="73244"/>
                    <a:pt x="161264" y="73886"/>
                  </a:cubicBezTo>
                  <a:cubicBezTo>
                    <a:pt x="169617" y="75171"/>
                    <a:pt x="179254" y="77098"/>
                    <a:pt x="188249" y="76456"/>
                  </a:cubicBezTo>
                  <a:cubicBezTo>
                    <a:pt x="196601" y="75814"/>
                    <a:pt x="204953" y="73244"/>
                    <a:pt x="212663" y="71316"/>
                  </a:cubicBezTo>
                  <a:cubicBezTo>
                    <a:pt x="220373" y="70031"/>
                    <a:pt x="251213" y="43689"/>
                    <a:pt x="265990" y="21202"/>
                  </a:cubicBezTo>
                  <a:cubicBezTo>
                    <a:pt x="269845" y="14777"/>
                    <a:pt x="274985" y="7067"/>
                    <a:pt x="280125" y="0"/>
                  </a:cubicBezTo>
                  <a:cubicBezTo>
                    <a:pt x="282052" y="0"/>
                    <a:pt x="283979" y="0"/>
                    <a:pt x="285907" y="643"/>
                  </a:cubicBezTo>
                  <a:cubicBezTo>
                    <a:pt x="290404" y="2570"/>
                    <a:pt x="292974" y="7067"/>
                    <a:pt x="294902" y="11565"/>
                  </a:cubicBezTo>
                  <a:cubicBezTo>
                    <a:pt x="300041" y="21202"/>
                    <a:pt x="308394" y="31482"/>
                    <a:pt x="319959" y="32124"/>
                  </a:cubicBezTo>
                  <a:cubicBezTo>
                    <a:pt x="325741" y="32767"/>
                    <a:pt x="330881" y="30839"/>
                    <a:pt x="336663" y="31482"/>
                  </a:cubicBezTo>
                  <a:cubicBezTo>
                    <a:pt x="342446" y="32124"/>
                    <a:pt x="348228" y="35979"/>
                    <a:pt x="347586" y="41119"/>
                  </a:cubicBezTo>
                  <a:cubicBezTo>
                    <a:pt x="346943" y="45617"/>
                    <a:pt x="341803" y="48187"/>
                    <a:pt x="342446" y="52684"/>
                  </a:cubicBezTo>
                  <a:cubicBezTo>
                    <a:pt x="343088" y="56539"/>
                    <a:pt x="346943" y="58466"/>
                    <a:pt x="350798" y="60394"/>
                  </a:cubicBezTo>
                  <a:cubicBezTo>
                    <a:pt x="366860" y="66819"/>
                    <a:pt x="384850" y="73244"/>
                    <a:pt x="400270" y="65534"/>
                  </a:cubicBezTo>
                  <a:cubicBezTo>
                    <a:pt x="403482" y="64249"/>
                    <a:pt x="406052" y="62321"/>
                    <a:pt x="409264" y="61679"/>
                  </a:cubicBezTo>
                  <a:cubicBezTo>
                    <a:pt x="411834" y="61036"/>
                    <a:pt x="414404" y="61679"/>
                    <a:pt x="416974" y="62321"/>
                  </a:cubicBezTo>
                  <a:cubicBezTo>
                    <a:pt x="425326" y="64249"/>
                    <a:pt x="433679" y="66176"/>
                    <a:pt x="441389" y="69389"/>
                  </a:cubicBezTo>
                  <a:cubicBezTo>
                    <a:pt x="451026" y="73886"/>
                    <a:pt x="456166" y="79668"/>
                    <a:pt x="456809" y="89306"/>
                  </a:cubicBezTo>
                  <a:cubicBezTo>
                    <a:pt x="457451" y="100228"/>
                    <a:pt x="458093" y="111793"/>
                    <a:pt x="458093" y="122715"/>
                  </a:cubicBezTo>
                  <a:cubicBezTo>
                    <a:pt x="458093" y="127855"/>
                    <a:pt x="458736" y="133637"/>
                    <a:pt x="457451" y="138777"/>
                  </a:cubicBezTo>
                  <a:cubicBezTo>
                    <a:pt x="456166" y="147130"/>
                    <a:pt x="452311" y="154839"/>
                    <a:pt x="452311" y="163834"/>
                  </a:cubicBezTo>
                  <a:cubicBezTo>
                    <a:pt x="452311" y="168974"/>
                    <a:pt x="453596" y="174757"/>
                    <a:pt x="452954" y="179896"/>
                  </a:cubicBezTo>
                  <a:cubicBezTo>
                    <a:pt x="451026" y="192104"/>
                    <a:pt x="436249" y="200456"/>
                    <a:pt x="435606" y="212663"/>
                  </a:cubicBezTo>
                  <a:cubicBezTo>
                    <a:pt x="435606" y="215233"/>
                    <a:pt x="435606" y="217803"/>
                    <a:pt x="437534" y="219088"/>
                  </a:cubicBezTo>
                  <a:cubicBezTo>
                    <a:pt x="440104" y="221658"/>
                    <a:pt x="443959" y="222301"/>
                    <a:pt x="447814" y="222301"/>
                  </a:cubicBezTo>
                  <a:cubicBezTo>
                    <a:pt x="455523" y="222301"/>
                    <a:pt x="463233" y="222943"/>
                    <a:pt x="470943" y="222301"/>
                  </a:cubicBezTo>
                  <a:cubicBezTo>
                    <a:pt x="476725" y="222301"/>
                    <a:pt x="483793" y="223586"/>
                    <a:pt x="484435" y="228726"/>
                  </a:cubicBezTo>
                  <a:cubicBezTo>
                    <a:pt x="484435" y="231295"/>
                    <a:pt x="482508" y="233865"/>
                    <a:pt x="481223" y="235793"/>
                  </a:cubicBezTo>
                  <a:cubicBezTo>
                    <a:pt x="476083" y="242860"/>
                    <a:pt x="472871" y="251213"/>
                    <a:pt x="471586" y="259565"/>
                  </a:cubicBezTo>
                  <a:cubicBezTo>
                    <a:pt x="470301" y="267917"/>
                    <a:pt x="471586" y="276270"/>
                    <a:pt x="470943" y="284622"/>
                  </a:cubicBezTo>
                  <a:cubicBezTo>
                    <a:pt x="470301" y="292332"/>
                    <a:pt x="468373" y="299399"/>
                    <a:pt x="467088" y="307109"/>
                  </a:cubicBezTo>
                  <a:cubicBezTo>
                    <a:pt x="461306" y="341803"/>
                    <a:pt x="469016" y="378425"/>
                    <a:pt x="488933" y="407979"/>
                  </a:cubicBezTo>
                  <a:cubicBezTo>
                    <a:pt x="488933" y="407979"/>
                    <a:pt x="521057" y="458093"/>
                    <a:pt x="573741" y="458093"/>
                  </a:cubicBezTo>
                  <a:cubicBezTo>
                    <a:pt x="626425" y="458093"/>
                    <a:pt x="639275" y="472871"/>
                    <a:pt x="664332" y="478011"/>
                  </a:cubicBezTo>
                  <a:cubicBezTo>
                    <a:pt x="689389" y="483151"/>
                    <a:pt x="702881" y="476726"/>
                    <a:pt x="717658" y="487648"/>
                  </a:cubicBezTo>
                  <a:cubicBezTo>
                    <a:pt x="732436" y="498570"/>
                    <a:pt x="733078" y="530695"/>
                    <a:pt x="733720" y="539047"/>
                  </a:cubicBezTo>
                  <a:cubicBezTo>
                    <a:pt x="735648" y="546757"/>
                    <a:pt x="754923" y="558322"/>
                    <a:pt x="742073" y="572456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 59">
              <a:extLst>
                <a:ext uri="{FF2B5EF4-FFF2-40B4-BE49-F238E27FC236}">
                  <a16:creationId xmlns:a16="http://schemas.microsoft.com/office/drawing/2014/main" id="{BC18A8E5-C770-A56A-A1BE-073B4099A842}"/>
                </a:ext>
              </a:extLst>
            </p:cNvPr>
            <p:cNvSpPr/>
            <p:nvPr/>
          </p:nvSpPr>
          <p:spPr>
            <a:xfrm>
              <a:off x="3109736" y="3068579"/>
              <a:ext cx="746460" cy="916686"/>
            </a:xfrm>
            <a:custGeom>
              <a:avLst/>
              <a:gdLst>
                <a:gd name="connsiteX0" fmla="*/ 742073 w 746460"/>
                <a:gd name="connsiteY0" fmla="*/ 572456 h 916686"/>
                <a:gd name="connsiteX1" fmla="*/ 711876 w 746460"/>
                <a:gd name="connsiteY1" fmla="*/ 597513 h 916686"/>
                <a:gd name="connsiteX2" fmla="*/ 681037 w 746460"/>
                <a:gd name="connsiteY2" fmla="*/ 589161 h 916686"/>
                <a:gd name="connsiteX3" fmla="*/ 654695 w 746460"/>
                <a:gd name="connsiteY3" fmla="*/ 589161 h 916686"/>
                <a:gd name="connsiteX4" fmla="*/ 603938 w 746460"/>
                <a:gd name="connsiteY4" fmla="*/ 614860 h 916686"/>
                <a:gd name="connsiteX5" fmla="*/ 585306 w 746460"/>
                <a:gd name="connsiteY5" fmla="*/ 618073 h 916686"/>
                <a:gd name="connsiteX6" fmla="*/ 555752 w 746460"/>
                <a:gd name="connsiteY6" fmla="*/ 614860 h 916686"/>
                <a:gd name="connsiteX7" fmla="*/ 537762 w 746460"/>
                <a:gd name="connsiteY7" fmla="*/ 632208 h 916686"/>
                <a:gd name="connsiteX8" fmla="*/ 504353 w 746460"/>
                <a:gd name="connsiteY8" fmla="*/ 641202 h 916686"/>
                <a:gd name="connsiteX9" fmla="*/ 480580 w 746460"/>
                <a:gd name="connsiteY9" fmla="*/ 641202 h 916686"/>
                <a:gd name="connsiteX10" fmla="*/ 467088 w 746460"/>
                <a:gd name="connsiteY10" fmla="*/ 692601 h 916686"/>
                <a:gd name="connsiteX11" fmla="*/ 460663 w 746460"/>
                <a:gd name="connsiteY11" fmla="*/ 732436 h 916686"/>
                <a:gd name="connsiteX12" fmla="*/ 460021 w 746460"/>
                <a:gd name="connsiteY12" fmla="*/ 749783 h 916686"/>
                <a:gd name="connsiteX13" fmla="*/ 467088 w 746460"/>
                <a:gd name="connsiteY13" fmla="*/ 767772 h 916686"/>
                <a:gd name="connsiteX14" fmla="*/ 481865 w 746460"/>
                <a:gd name="connsiteY14" fmla="*/ 838446 h 916686"/>
                <a:gd name="connsiteX15" fmla="*/ 501783 w 746460"/>
                <a:gd name="connsiteY15" fmla="*/ 850653 h 916686"/>
                <a:gd name="connsiteX16" fmla="*/ 503067 w 746460"/>
                <a:gd name="connsiteY16" fmla="*/ 864788 h 916686"/>
                <a:gd name="connsiteX17" fmla="*/ 513990 w 746460"/>
                <a:gd name="connsiteY17" fmla="*/ 874425 h 916686"/>
                <a:gd name="connsiteX18" fmla="*/ 511420 w 746460"/>
                <a:gd name="connsiteY18" fmla="*/ 887275 h 916686"/>
                <a:gd name="connsiteX19" fmla="*/ 503710 w 746460"/>
                <a:gd name="connsiteY19" fmla="*/ 905265 h 916686"/>
                <a:gd name="connsiteX20" fmla="*/ 488933 w 746460"/>
                <a:gd name="connsiteY20" fmla="*/ 915544 h 916686"/>
                <a:gd name="connsiteX21" fmla="*/ 467088 w 746460"/>
                <a:gd name="connsiteY21" fmla="*/ 915544 h 916686"/>
                <a:gd name="connsiteX22" fmla="*/ 436249 w 746460"/>
                <a:gd name="connsiteY22" fmla="*/ 912975 h 916686"/>
                <a:gd name="connsiteX23" fmla="*/ 418259 w 746460"/>
                <a:gd name="connsiteY23" fmla="*/ 892415 h 916686"/>
                <a:gd name="connsiteX24" fmla="*/ 397700 w 746460"/>
                <a:gd name="connsiteY24" fmla="*/ 884705 h 916686"/>
                <a:gd name="connsiteX25" fmla="*/ 378425 w 746460"/>
                <a:gd name="connsiteY25" fmla="*/ 869285 h 916686"/>
                <a:gd name="connsiteX26" fmla="*/ 357865 w 746460"/>
                <a:gd name="connsiteY26" fmla="*/ 876995 h 916686"/>
                <a:gd name="connsiteX27" fmla="*/ 339876 w 746460"/>
                <a:gd name="connsiteY27" fmla="*/ 857721 h 916686"/>
                <a:gd name="connsiteX28" fmla="*/ 310964 w 746460"/>
                <a:gd name="connsiteY28" fmla="*/ 848726 h 916686"/>
                <a:gd name="connsiteX29" fmla="*/ 283979 w 746460"/>
                <a:gd name="connsiteY29" fmla="*/ 856436 h 916686"/>
                <a:gd name="connsiteX30" fmla="*/ 259565 w 746460"/>
                <a:gd name="connsiteY30" fmla="*/ 848726 h 916686"/>
                <a:gd name="connsiteX31" fmla="*/ 217803 w 746460"/>
                <a:gd name="connsiteY31" fmla="*/ 788975 h 916686"/>
                <a:gd name="connsiteX32" fmla="*/ 215876 w 746460"/>
                <a:gd name="connsiteY32" fmla="*/ 770985 h 916686"/>
                <a:gd name="connsiteX33" fmla="*/ 215876 w 746460"/>
                <a:gd name="connsiteY33" fmla="*/ 754280 h 916686"/>
                <a:gd name="connsiteX34" fmla="*/ 208808 w 746460"/>
                <a:gd name="connsiteY34" fmla="*/ 735648 h 916686"/>
                <a:gd name="connsiteX35" fmla="*/ 169617 w 746460"/>
                <a:gd name="connsiteY35" fmla="*/ 731793 h 916686"/>
                <a:gd name="connsiteX36" fmla="*/ 149057 w 746460"/>
                <a:gd name="connsiteY36" fmla="*/ 724726 h 916686"/>
                <a:gd name="connsiteX37" fmla="*/ 118860 w 746460"/>
                <a:gd name="connsiteY37" fmla="*/ 708021 h 916686"/>
                <a:gd name="connsiteX38" fmla="*/ 114363 w 746460"/>
                <a:gd name="connsiteY38" fmla="*/ 691316 h 916686"/>
                <a:gd name="connsiteX39" fmla="*/ 106010 w 746460"/>
                <a:gd name="connsiteY39" fmla="*/ 659192 h 916686"/>
                <a:gd name="connsiteX40" fmla="*/ 110508 w 746460"/>
                <a:gd name="connsiteY40" fmla="*/ 650197 h 916686"/>
                <a:gd name="connsiteX41" fmla="*/ 116933 w 746460"/>
                <a:gd name="connsiteY41" fmla="*/ 646342 h 916686"/>
                <a:gd name="connsiteX42" fmla="*/ 113078 w 746460"/>
                <a:gd name="connsiteY42" fmla="*/ 639917 h 916686"/>
                <a:gd name="connsiteX43" fmla="*/ 111793 w 746460"/>
                <a:gd name="connsiteY43" fmla="*/ 638632 h 916686"/>
                <a:gd name="connsiteX44" fmla="*/ 108580 w 746460"/>
                <a:gd name="connsiteY44" fmla="*/ 636705 h 916686"/>
                <a:gd name="connsiteX45" fmla="*/ 97016 w 746460"/>
                <a:gd name="connsiteY45" fmla="*/ 628995 h 916686"/>
                <a:gd name="connsiteX46" fmla="*/ 86736 w 746460"/>
                <a:gd name="connsiteY46" fmla="*/ 621928 h 916686"/>
                <a:gd name="connsiteX47" fmla="*/ 53326 w 746460"/>
                <a:gd name="connsiteY47" fmla="*/ 621928 h 916686"/>
                <a:gd name="connsiteX48" fmla="*/ 37264 w 746460"/>
                <a:gd name="connsiteY48" fmla="*/ 621285 h 916686"/>
                <a:gd name="connsiteX49" fmla="*/ 37264 w 746460"/>
                <a:gd name="connsiteY49" fmla="*/ 613575 h 916686"/>
                <a:gd name="connsiteX50" fmla="*/ 21202 w 746460"/>
                <a:gd name="connsiteY50" fmla="*/ 579524 h 916686"/>
                <a:gd name="connsiteX51" fmla="*/ 15420 w 746460"/>
                <a:gd name="connsiteY51" fmla="*/ 551254 h 916686"/>
                <a:gd name="connsiteX52" fmla="*/ 14135 w 746460"/>
                <a:gd name="connsiteY52" fmla="*/ 548684 h 916686"/>
                <a:gd name="connsiteX53" fmla="*/ 9637 w 746460"/>
                <a:gd name="connsiteY53" fmla="*/ 537119 h 916686"/>
                <a:gd name="connsiteX54" fmla="*/ 23130 w 746460"/>
                <a:gd name="connsiteY54" fmla="*/ 522342 h 916686"/>
                <a:gd name="connsiteX55" fmla="*/ 26984 w 746460"/>
                <a:gd name="connsiteY55" fmla="*/ 519130 h 916686"/>
                <a:gd name="connsiteX56" fmla="*/ 27627 w 746460"/>
                <a:gd name="connsiteY56" fmla="*/ 515275 h 916686"/>
                <a:gd name="connsiteX57" fmla="*/ 19917 w 746460"/>
                <a:gd name="connsiteY57" fmla="*/ 492145 h 916686"/>
                <a:gd name="connsiteX58" fmla="*/ 4497 w 746460"/>
                <a:gd name="connsiteY58" fmla="*/ 472228 h 916686"/>
                <a:gd name="connsiteX59" fmla="*/ 0 w 746460"/>
                <a:gd name="connsiteY59" fmla="*/ 462591 h 916686"/>
                <a:gd name="connsiteX60" fmla="*/ 12850 w 746460"/>
                <a:gd name="connsiteY60" fmla="*/ 450384 h 916686"/>
                <a:gd name="connsiteX61" fmla="*/ 46901 w 746460"/>
                <a:gd name="connsiteY61" fmla="*/ 438819 h 916686"/>
                <a:gd name="connsiteX62" fmla="*/ 68746 w 746460"/>
                <a:gd name="connsiteY62" fmla="*/ 440104 h 916686"/>
                <a:gd name="connsiteX63" fmla="*/ 102155 w 746460"/>
                <a:gd name="connsiteY63" fmla="*/ 443959 h 916686"/>
                <a:gd name="connsiteX64" fmla="*/ 109865 w 746460"/>
                <a:gd name="connsiteY64" fmla="*/ 443316 h 916686"/>
                <a:gd name="connsiteX65" fmla="*/ 113720 w 746460"/>
                <a:gd name="connsiteY65" fmla="*/ 438819 h 916686"/>
                <a:gd name="connsiteX66" fmla="*/ 136207 w 746460"/>
                <a:gd name="connsiteY66" fmla="*/ 395772 h 916686"/>
                <a:gd name="connsiteX67" fmla="*/ 137492 w 746460"/>
                <a:gd name="connsiteY67" fmla="*/ 391917 h 916686"/>
                <a:gd name="connsiteX68" fmla="*/ 128497 w 746460"/>
                <a:gd name="connsiteY68" fmla="*/ 383565 h 916686"/>
                <a:gd name="connsiteX69" fmla="*/ 131067 w 746460"/>
                <a:gd name="connsiteY69" fmla="*/ 336663 h 916686"/>
                <a:gd name="connsiteX70" fmla="*/ 125928 w 746460"/>
                <a:gd name="connsiteY70" fmla="*/ 313534 h 916686"/>
                <a:gd name="connsiteX71" fmla="*/ 105368 w 746460"/>
                <a:gd name="connsiteY71" fmla="*/ 235793 h 916686"/>
                <a:gd name="connsiteX72" fmla="*/ 78383 w 746460"/>
                <a:gd name="connsiteY72" fmla="*/ 169617 h 916686"/>
                <a:gd name="connsiteX73" fmla="*/ 56539 w 746460"/>
                <a:gd name="connsiteY73" fmla="*/ 149700 h 916686"/>
                <a:gd name="connsiteX74" fmla="*/ 49471 w 746460"/>
                <a:gd name="connsiteY74" fmla="*/ 112435 h 916686"/>
                <a:gd name="connsiteX75" fmla="*/ 57824 w 746460"/>
                <a:gd name="connsiteY75" fmla="*/ 94446 h 916686"/>
                <a:gd name="connsiteX76" fmla="*/ 79026 w 746460"/>
                <a:gd name="connsiteY76" fmla="*/ 92518 h 916686"/>
                <a:gd name="connsiteX77" fmla="*/ 100228 w 746460"/>
                <a:gd name="connsiteY77" fmla="*/ 89948 h 916686"/>
                <a:gd name="connsiteX78" fmla="*/ 106653 w 746460"/>
                <a:gd name="connsiteY78" fmla="*/ 75171 h 916686"/>
                <a:gd name="connsiteX79" fmla="*/ 107938 w 746460"/>
                <a:gd name="connsiteY79" fmla="*/ 66819 h 916686"/>
                <a:gd name="connsiteX80" fmla="*/ 109223 w 746460"/>
                <a:gd name="connsiteY80" fmla="*/ 63606 h 916686"/>
                <a:gd name="connsiteX81" fmla="*/ 112435 w 746460"/>
                <a:gd name="connsiteY81" fmla="*/ 62321 h 916686"/>
                <a:gd name="connsiteX82" fmla="*/ 147772 w 746460"/>
                <a:gd name="connsiteY82" fmla="*/ 67461 h 916686"/>
                <a:gd name="connsiteX83" fmla="*/ 154839 w 746460"/>
                <a:gd name="connsiteY83" fmla="*/ 71959 h 916686"/>
                <a:gd name="connsiteX84" fmla="*/ 161264 w 746460"/>
                <a:gd name="connsiteY84" fmla="*/ 73886 h 916686"/>
                <a:gd name="connsiteX85" fmla="*/ 188249 w 746460"/>
                <a:gd name="connsiteY85" fmla="*/ 76456 h 916686"/>
                <a:gd name="connsiteX86" fmla="*/ 212663 w 746460"/>
                <a:gd name="connsiteY86" fmla="*/ 71316 h 916686"/>
                <a:gd name="connsiteX87" fmla="*/ 265990 w 746460"/>
                <a:gd name="connsiteY87" fmla="*/ 21202 h 916686"/>
                <a:gd name="connsiteX88" fmla="*/ 280125 w 746460"/>
                <a:gd name="connsiteY88" fmla="*/ 0 h 916686"/>
                <a:gd name="connsiteX89" fmla="*/ 285907 w 746460"/>
                <a:gd name="connsiteY89" fmla="*/ 643 h 916686"/>
                <a:gd name="connsiteX90" fmla="*/ 294902 w 746460"/>
                <a:gd name="connsiteY90" fmla="*/ 11565 h 916686"/>
                <a:gd name="connsiteX91" fmla="*/ 319959 w 746460"/>
                <a:gd name="connsiteY91" fmla="*/ 32124 h 916686"/>
                <a:gd name="connsiteX92" fmla="*/ 336663 w 746460"/>
                <a:gd name="connsiteY92" fmla="*/ 31482 h 916686"/>
                <a:gd name="connsiteX93" fmla="*/ 347586 w 746460"/>
                <a:gd name="connsiteY93" fmla="*/ 41119 h 916686"/>
                <a:gd name="connsiteX94" fmla="*/ 342446 w 746460"/>
                <a:gd name="connsiteY94" fmla="*/ 52684 h 916686"/>
                <a:gd name="connsiteX95" fmla="*/ 350798 w 746460"/>
                <a:gd name="connsiteY95" fmla="*/ 60394 h 916686"/>
                <a:gd name="connsiteX96" fmla="*/ 400270 w 746460"/>
                <a:gd name="connsiteY96" fmla="*/ 65534 h 916686"/>
                <a:gd name="connsiteX97" fmla="*/ 409264 w 746460"/>
                <a:gd name="connsiteY97" fmla="*/ 61679 h 916686"/>
                <a:gd name="connsiteX98" fmla="*/ 416974 w 746460"/>
                <a:gd name="connsiteY98" fmla="*/ 62321 h 916686"/>
                <a:gd name="connsiteX99" fmla="*/ 441389 w 746460"/>
                <a:gd name="connsiteY99" fmla="*/ 69389 h 916686"/>
                <a:gd name="connsiteX100" fmla="*/ 456809 w 746460"/>
                <a:gd name="connsiteY100" fmla="*/ 89306 h 916686"/>
                <a:gd name="connsiteX101" fmla="*/ 458093 w 746460"/>
                <a:gd name="connsiteY101" fmla="*/ 122715 h 916686"/>
                <a:gd name="connsiteX102" fmla="*/ 457451 w 746460"/>
                <a:gd name="connsiteY102" fmla="*/ 138777 h 916686"/>
                <a:gd name="connsiteX103" fmla="*/ 452311 w 746460"/>
                <a:gd name="connsiteY103" fmla="*/ 163834 h 916686"/>
                <a:gd name="connsiteX104" fmla="*/ 452954 w 746460"/>
                <a:gd name="connsiteY104" fmla="*/ 179896 h 916686"/>
                <a:gd name="connsiteX105" fmla="*/ 435606 w 746460"/>
                <a:gd name="connsiteY105" fmla="*/ 212663 h 916686"/>
                <a:gd name="connsiteX106" fmla="*/ 437534 w 746460"/>
                <a:gd name="connsiteY106" fmla="*/ 219088 h 916686"/>
                <a:gd name="connsiteX107" fmla="*/ 447814 w 746460"/>
                <a:gd name="connsiteY107" fmla="*/ 222301 h 916686"/>
                <a:gd name="connsiteX108" fmla="*/ 470943 w 746460"/>
                <a:gd name="connsiteY108" fmla="*/ 222301 h 916686"/>
                <a:gd name="connsiteX109" fmla="*/ 484435 w 746460"/>
                <a:gd name="connsiteY109" fmla="*/ 228726 h 916686"/>
                <a:gd name="connsiteX110" fmla="*/ 481223 w 746460"/>
                <a:gd name="connsiteY110" fmla="*/ 235793 h 916686"/>
                <a:gd name="connsiteX111" fmla="*/ 471586 w 746460"/>
                <a:gd name="connsiteY111" fmla="*/ 259565 h 916686"/>
                <a:gd name="connsiteX112" fmla="*/ 470943 w 746460"/>
                <a:gd name="connsiteY112" fmla="*/ 284622 h 916686"/>
                <a:gd name="connsiteX113" fmla="*/ 467088 w 746460"/>
                <a:gd name="connsiteY113" fmla="*/ 307109 h 916686"/>
                <a:gd name="connsiteX114" fmla="*/ 488933 w 746460"/>
                <a:gd name="connsiteY114" fmla="*/ 407979 h 916686"/>
                <a:gd name="connsiteX115" fmla="*/ 573741 w 746460"/>
                <a:gd name="connsiteY115" fmla="*/ 458093 h 916686"/>
                <a:gd name="connsiteX116" fmla="*/ 664332 w 746460"/>
                <a:gd name="connsiteY116" fmla="*/ 478011 h 916686"/>
                <a:gd name="connsiteX117" fmla="*/ 717658 w 746460"/>
                <a:gd name="connsiteY117" fmla="*/ 487648 h 916686"/>
                <a:gd name="connsiteX118" fmla="*/ 733720 w 746460"/>
                <a:gd name="connsiteY118" fmla="*/ 539047 h 916686"/>
                <a:gd name="connsiteX119" fmla="*/ 742073 w 746460"/>
                <a:gd name="connsiteY119" fmla="*/ 572456 h 91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746460" h="916686">
                  <a:moveTo>
                    <a:pt x="742073" y="572456"/>
                  </a:moveTo>
                  <a:cubicBezTo>
                    <a:pt x="731151" y="584021"/>
                    <a:pt x="716373" y="594943"/>
                    <a:pt x="711876" y="597513"/>
                  </a:cubicBezTo>
                  <a:cubicBezTo>
                    <a:pt x="701596" y="594943"/>
                    <a:pt x="691316" y="591731"/>
                    <a:pt x="681037" y="589161"/>
                  </a:cubicBezTo>
                  <a:cubicBezTo>
                    <a:pt x="668187" y="585949"/>
                    <a:pt x="668829" y="589161"/>
                    <a:pt x="654695" y="589161"/>
                  </a:cubicBezTo>
                  <a:cubicBezTo>
                    <a:pt x="640560" y="589161"/>
                    <a:pt x="605223" y="616145"/>
                    <a:pt x="603938" y="614860"/>
                  </a:cubicBezTo>
                  <a:cubicBezTo>
                    <a:pt x="602653" y="613575"/>
                    <a:pt x="591731" y="618073"/>
                    <a:pt x="585306" y="618073"/>
                  </a:cubicBezTo>
                  <a:cubicBezTo>
                    <a:pt x="578881" y="618073"/>
                    <a:pt x="566674" y="614860"/>
                    <a:pt x="555752" y="614860"/>
                  </a:cubicBezTo>
                  <a:cubicBezTo>
                    <a:pt x="545472" y="614860"/>
                    <a:pt x="544829" y="623213"/>
                    <a:pt x="537762" y="632208"/>
                  </a:cubicBezTo>
                  <a:cubicBezTo>
                    <a:pt x="531337" y="640560"/>
                    <a:pt x="519130" y="639917"/>
                    <a:pt x="504353" y="641202"/>
                  </a:cubicBezTo>
                  <a:cubicBezTo>
                    <a:pt x="489575" y="642487"/>
                    <a:pt x="489575" y="634778"/>
                    <a:pt x="480580" y="641202"/>
                  </a:cubicBezTo>
                  <a:cubicBezTo>
                    <a:pt x="471586" y="647627"/>
                    <a:pt x="467088" y="677824"/>
                    <a:pt x="467088" y="692601"/>
                  </a:cubicBezTo>
                  <a:cubicBezTo>
                    <a:pt x="467088" y="707379"/>
                    <a:pt x="465803" y="720871"/>
                    <a:pt x="460663" y="732436"/>
                  </a:cubicBezTo>
                  <a:cubicBezTo>
                    <a:pt x="457451" y="738860"/>
                    <a:pt x="458093" y="744000"/>
                    <a:pt x="460021" y="749783"/>
                  </a:cubicBezTo>
                  <a:cubicBezTo>
                    <a:pt x="461306" y="754923"/>
                    <a:pt x="464518" y="760063"/>
                    <a:pt x="467088" y="767772"/>
                  </a:cubicBezTo>
                  <a:cubicBezTo>
                    <a:pt x="473513" y="783192"/>
                    <a:pt x="477368" y="824311"/>
                    <a:pt x="481865" y="838446"/>
                  </a:cubicBezTo>
                  <a:cubicBezTo>
                    <a:pt x="484435" y="845513"/>
                    <a:pt x="492145" y="848726"/>
                    <a:pt x="501783" y="850653"/>
                  </a:cubicBezTo>
                  <a:cubicBezTo>
                    <a:pt x="501783" y="857078"/>
                    <a:pt x="502425" y="861576"/>
                    <a:pt x="503067" y="864788"/>
                  </a:cubicBezTo>
                  <a:cubicBezTo>
                    <a:pt x="503710" y="868643"/>
                    <a:pt x="512062" y="871855"/>
                    <a:pt x="513990" y="874425"/>
                  </a:cubicBezTo>
                  <a:cubicBezTo>
                    <a:pt x="516560" y="876353"/>
                    <a:pt x="515275" y="882778"/>
                    <a:pt x="511420" y="887275"/>
                  </a:cubicBezTo>
                  <a:cubicBezTo>
                    <a:pt x="507565" y="891773"/>
                    <a:pt x="503710" y="897555"/>
                    <a:pt x="503710" y="905265"/>
                  </a:cubicBezTo>
                  <a:cubicBezTo>
                    <a:pt x="503710" y="912975"/>
                    <a:pt x="494073" y="915544"/>
                    <a:pt x="488933" y="915544"/>
                  </a:cubicBezTo>
                  <a:cubicBezTo>
                    <a:pt x="483150" y="915544"/>
                    <a:pt x="474798" y="918114"/>
                    <a:pt x="467088" y="915544"/>
                  </a:cubicBezTo>
                  <a:cubicBezTo>
                    <a:pt x="459378" y="912975"/>
                    <a:pt x="446529" y="914260"/>
                    <a:pt x="436249" y="912975"/>
                  </a:cubicBezTo>
                  <a:cubicBezTo>
                    <a:pt x="425969" y="912332"/>
                    <a:pt x="422114" y="897555"/>
                    <a:pt x="418259" y="892415"/>
                  </a:cubicBezTo>
                  <a:cubicBezTo>
                    <a:pt x="414404" y="887275"/>
                    <a:pt x="397700" y="884705"/>
                    <a:pt x="397700" y="884705"/>
                  </a:cubicBezTo>
                  <a:cubicBezTo>
                    <a:pt x="397700" y="884705"/>
                    <a:pt x="382922" y="869928"/>
                    <a:pt x="378425" y="869285"/>
                  </a:cubicBezTo>
                  <a:cubicBezTo>
                    <a:pt x="373928" y="868643"/>
                    <a:pt x="367503" y="877638"/>
                    <a:pt x="357865" y="876995"/>
                  </a:cubicBezTo>
                  <a:cubicBezTo>
                    <a:pt x="348228" y="876353"/>
                    <a:pt x="343731" y="861576"/>
                    <a:pt x="339876" y="857721"/>
                  </a:cubicBezTo>
                  <a:cubicBezTo>
                    <a:pt x="336021" y="853866"/>
                    <a:pt x="319959" y="848726"/>
                    <a:pt x="310964" y="848726"/>
                  </a:cubicBezTo>
                  <a:cubicBezTo>
                    <a:pt x="301969" y="848726"/>
                    <a:pt x="288477" y="853223"/>
                    <a:pt x="283979" y="856436"/>
                  </a:cubicBezTo>
                  <a:cubicBezTo>
                    <a:pt x="278839" y="860290"/>
                    <a:pt x="271130" y="856436"/>
                    <a:pt x="259565" y="848726"/>
                  </a:cubicBezTo>
                  <a:cubicBezTo>
                    <a:pt x="248000" y="841016"/>
                    <a:pt x="222301" y="794114"/>
                    <a:pt x="217803" y="788975"/>
                  </a:cubicBezTo>
                  <a:cubicBezTo>
                    <a:pt x="213306" y="783835"/>
                    <a:pt x="212663" y="774197"/>
                    <a:pt x="215876" y="770985"/>
                  </a:cubicBezTo>
                  <a:cubicBezTo>
                    <a:pt x="219088" y="767130"/>
                    <a:pt x="217803" y="757493"/>
                    <a:pt x="215876" y="754280"/>
                  </a:cubicBezTo>
                  <a:cubicBezTo>
                    <a:pt x="213948" y="751068"/>
                    <a:pt x="210093" y="735648"/>
                    <a:pt x="208808" y="735648"/>
                  </a:cubicBezTo>
                  <a:cubicBezTo>
                    <a:pt x="206881" y="735648"/>
                    <a:pt x="183109" y="735648"/>
                    <a:pt x="169617" y="731793"/>
                  </a:cubicBezTo>
                  <a:cubicBezTo>
                    <a:pt x="156124" y="727296"/>
                    <a:pt x="157409" y="726653"/>
                    <a:pt x="149057" y="724726"/>
                  </a:cubicBezTo>
                  <a:cubicBezTo>
                    <a:pt x="140705" y="723441"/>
                    <a:pt x="125928" y="717658"/>
                    <a:pt x="118860" y="708021"/>
                  </a:cubicBezTo>
                  <a:cubicBezTo>
                    <a:pt x="115648" y="702881"/>
                    <a:pt x="115005" y="697099"/>
                    <a:pt x="114363" y="691316"/>
                  </a:cubicBezTo>
                  <a:cubicBezTo>
                    <a:pt x="113078" y="680394"/>
                    <a:pt x="106653" y="670114"/>
                    <a:pt x="106010" y="659192"/>
                  </a:cubicBezTo>
                  <a:cubicBezTo>
                    <a:pt x="105368" y="655337"/>
                    <a:pt x="106653" y="652767"/>
                    <a:pt x="110508" y="650197"/>
                  </a:cubicBezTo>
                  <a:cubicBezTo>
                    <a:pt x="112435" y="648912"/>
                    <a:pt x="116290" y="648270"/>
                    <a:pt x="116933" y="646342"/>
                  </a:cubicBezTo>
                  <a:cubicBezTo>
                    <a:pt x="117575" y="643772"/>
                    <a:pt x="114363" y="641202"/>
                    <a:pt x="113078" y="639917"/>
                  </a:cubicBezTo>
                  <a:cubicBezTo>
                    <a:pt x="112435" y="639275"/>
                    <a:pt x="112435" y="639275"/>
                    <a:pt x="111793" y="638632"/>
                  </a:cubicBezTo>
                  <a:cubicBezTo>
                    <a:pt x="111150" y="637990"/>
                    <a:pt x="109865" y="637348"/>
                    <a:pt x="108580" y="636705"/>
                  </a:cubicBezTo>
                  <a:cubicBezTo>
                    <a:pt x="104083" y="634778"/>
                    <a:pt x="100870" y="631565"/>
                    <a:pt x="97016" y="628995"/>
                  </a:cubicBezTo>
                  <a:cubicBezTo>
                    <a:pt x="93803" y="626425"/>
                    <a:pt x="89306" y="625140"/>
                    <a:pt x="86736" y="621928"/>
                  </a:cubicBezTo>
                  <a:cubicBezTo>
                    <a:pt x="77098" y="612933"/>
                    <a:pt x="59109" y="622570"/>
                    <a:pt x="53326" y="621928"/>
                  </a:cubicBezTo>
                  <a:cubicBezTo>
                    <a:pt x="50114" y="621928"/>
                    <a:pt x="43689" y="621285"/>
                    <a:pt x="37264" y="621285"/>
                  </a:cubicBezTo>
                  <a:cubicBezTo>
                    <a:pt x="37907" y="618715"/>
                    <a:pt x="37907" y="616145"/>
                    <a:pt x="37264" y="613575"/>
                  </a:cubicBezTo>
                  <a:cubicBezTo>
                    <a:pt x="34694" y="600726"/>
                    <a:pt x="25057" y="591088"/>
                    <a:pt x="21202" y="579524"/>
                  </a:cubicBezTo>
                  <a:cubicBezTo>
                    <a:pt x="17990" y="570529"/>
                    <a:pt x="19275" y="560249"/>
                    <a:pt x="15420" y="551254"/>
                  </a:cubicBezTo>
                  <a:cubicBezTo>
                    <a:pt x="14777" y="550612"/>
                    <a:pt x="14777" y="549327"/>
                    <a:pt x="14135" y="548684"/>
                  </a:cubicBezTo>
                  <a:cubicBezTo>
                    <a:pt x="12207" y="544829"/>
                    <a:pt x="9637" y="540974"/>
                    <a:pt x="9637" y="537119"/>
                  </a:cubicBezTo>
                  <a:cubicBezTo>
                    <a:pt x="10280" y="530052"/>
                    <a:pt x="17347" y="525555"/>
                    <a:pt x="23130" y="522342"/>
                  </a:cubicBezTo>
                  <a:cubicBezTo>
                    <a:pt x="24414" y="521700"/>
                    <a:pt x="26342" y="520415"/>
                    <a:pt x="26984" y="519130"/>
                  </a:cubicBezTo>
                  <a:cubicBezTo>
                    <a:pt x="27627" y="517845"/>
                    <a:pt x="27627" y="516560"/>
                    <a:pt x="27627" y="515275"/>
                  </a:cubicBezTo>
                  <a:cubicBezTo>
                    <a:pt x="28269" y="506923"/>
                    <a:pt x="24414" y="499213"/>
                    <a:pt x="19917" y="492145"/>
                  </a:cubicBezTo>
                  <a:cubicBezTo>
                    <a:pt x="15420" y="485078"/>
                    <a:pt x="9637" y="478653"/>
                    <a:pt x="4497" y="472228"/>
                  </a:cubicBezTo>
                  <a:cubicBezTo>
                    <a:pt x="2570" y="469658"/>
                    <a:pt x="0" y="465803"/>
                    <a:pt x="0" y="462591"/>
                  </a:cubicBezTo>
                  <a:cubicBezTo>
                    <a:pt x="643" y="456809"/>
                    <a:pt x="7067" y="452954"/>
                    <a:pt x="12850" y="450384"/>
                  </a:cubicBezTo>
                  <a:cubicBezTo>
                    <a:pt x="23772" y="445244"/>
                    <a:pt x="34694" y="440104"/>
                    <a:pt x="46901" y="438819"/>
                  </a:cubicBezTo>
                  <a:cubicBezTo>
                    <a:pt x="53969" y="438176"/>
                    <a:pt x="61679" y="438819"/>
                    <a:pt x="68746" y="440104"/>
                  </a:cubicBezTo>
                  <a:cubicBezTo>
                    <a:pt x="79668" y="441389"/>
                    <a:pt x="91233" y="442674"/>
                    <a:pt x="102155" y="443959"/>
                  </a:cubicBezTo>
                  <a:cubicBezTo>
                    <a:pt x="104725" y="443959"/>
                    <a:pt x="107295" y="444601"/>
                    <a:pt x="109865" y="443316"/>
                  </a:cubicBezTo>
                  <a:cubicBezTo>
                    <a:pt x="111793" y="442031"/>
                    <a:pt x="112435" y="440746"/>
                    <a:pt x="113720" y="438819"/>
                  </a:cubicBezTo>
                  <a:cubicBezTo>
                    <a:pt x="121430" y="424042"/>
                    <a:pt x="129140" y="409907"/>
                    <a:pt x="136207" y="395772"/>
                  </a:cubicBezTo>
                  <a:cubicBezTo>
                    <a:pt x="136850" y="394487"/>
                    <a:pt x="137492" y="393202"/>
                    <a:pt x="137492" y="391917"/>
                  </a:cubicBezTo>
                  <a:cubicBezTo>
                    <a:pt x="138135" y="387420"/>
                    <a:pt x="132352" y="384850"/>
                    <a:pt x="128497" y="383565"/>
                  </a:cubicBezTo>
                  <a:cubicBezTo>
                    <a:pt x="132352" y="368145"/>
                    <a:pt x="133637" y="352083"/>
                    <a:pt x="131067" y="336663"/>
                  </a:cubicBezTo>
                  <a:cubicBezTo>
                    <a:pt x="129782" y="328954"/>
                    <a:pt x="127855" y="321244"/>
                    <a:pt x="125928" y="313534"/>
                  </a:cubicBezTo>
                  <a:cubicBezTo>
                    <a:pt x="118860" y="287834"/>
                    <a:pt x="112435" y="261492"/>
                    <a:pt x="105368" y="235793"/>
                  </a:cubicBezTo>
                  <a:cubicBezTo>
                    <a:pt x="98943" y="212663"/>
                    <a:pt x="97016" y="187606"/>
                    <a:pt x="78383" y="169617"/>
                  </a:cubicBezTo>
                  <a:cubicBezTo>
                    <a:pt x="71316" y="162549"/>
                    <a:pt x="62321" y="157409"/>
                    <a:pt x="56539" y="149700"/>
                  </a:cubicBezTo>
                  <a:cubicBezTo>
                    <a:pt x="48829" y="139420"/>
                    <a:pt x="48187" y="125285"/>
                    <a:pt x="49471" y="112435"/>
                  </a:cubicBezTo>
                  <a:cubicBezTo>
                    <a:pt x="50114" y="106010"/>
                    <a:pt x="52042" y="98301"/>
                    <a:pt x="57824" y="94446"/>
                  </a:cubicBezTo>
                  <a:cubicBezTo>
                    <a:pt x="63606" y="90591"/>
                    <a:pt x="71958" y="91876"/>
                    <a:pt x="79026" y="92518"/>
                  </a:cubicBezTo>
                  <a:cubicBezTo>
                    <a:pt x="86093" y="93803"/>
                    <a:pt x="94446" y="94446"/>
                    <a:pt x="100228" y="89948"/>
                  </a:cubicBezTo>
                  <a:cubicBezTo>
                    <a:pt x="104725" y="86093"/>
                    <a:pt x="105368" y="80953"/>
                    <a:pt x="106653" y="75171"/>
                  </a:cubicBezTo>
                  <a:cubicBezTo>
                    <a:pt x="107295" y="72601"/>
                    <a:pt x="107295" y="70031"/>
                    <a:pt x="107938" y="66819"/>
                  </a:cubicBezTo>
                  <a:cubicBezTo>
                    <a:pt x="107938" y="65534"/>
                    <a:pt x="108580" y="64249"/>
                    <a:pt x="109223" y="63606"/>
                  </a:cubicBezTo>
                  <a:cubicBezTo>
                    <a:pt x="109865" y="62964"/>
                    <a:pt x="111150" y="62321"/>
                    <a:pt x="112435" y="62321"/>
                  </a:cubicBezTo>
                  <a:cubicBezTo>
                    <a:pt x="124000" y="59109"/>
                    <a:pt x="137492" y="61036"/>
                    <a:pt x="147772" y="67461"/>
                  </a:cubicBezTo>
                  <a:cubicBezTo>
                    <a:pt x="150342" y="68746"/>
                    <a:pt x="152269" y="70674"/>
                    <a:pt x="154839" y="71959"/>
                  </a:cubicBezTo>
                  <a:cubicBezTo>
                    <a:pt x="156767" y="72601"/>
                    <a:pt x="159337" y="73244"/>
                    <a:pt x="161264" y="73886"/>
                  </a:cubicBezTo>
                  <a:cubicBezTo>
                    <a:pt x="169617" y="75171"/>
                    <a:pt x="179254" y="77098"/>
                    <a:pt x="188249" y="76456"/>
                  </a:cubicBezTo>
                  <a:cubicBezTo>
                    <a:pt x="196601" y="75814"/>
                    <a:pt x="204953" y="73244"/>
                    <a:pt x="212663" y="71316"/>
                  </a:cubicBezTo>
                  <a:cubicBezTo>
                    <a:pt x="220373" y="70031"/>
                    <a:pt x="251213" y="43689"/>
                    <a:pt x="265990" y="21202"/>
                  </a:cubicBezTo>
                  <a:cubicBezTo>
                    <a:pt x="269845" y="14777"/>
                    <a:pt x="274985" y="7067"/>
                    <a:pt x="280125" y="0"/>
                  </a:cubicBezTo>
                  <a:cubicBezTo>
                    <a:pt x="282052" y="0"/>
                    <a:pt x="283979" y="0"/>
                    <a:pt x="285907" y="643"/>
                  </a:cubicBezTo>
                  <a:cubicBezTo>
                    <a:pt x="290404" y="2570"/>
                    <a:pt x="292974" y="7067"/>
                    <a:pt x="294902" y="11565"/>
                  </a:cubicBezTo>
                  <a:cubicBezTo>
                    <a:pt x="300041" y="21202"/>
                    <a:pt x="308394" y="31482"/>
                    <a:pt x="319959" y="32124"/>
                  </a:cubicBezTo>
                  <a:cubicBezTo>
                    <a:pt x="325741" y="32767"/>
                    <a:pt x="330881" y="30839"/>
                    <a:pt x="336663" y="31482"/>
                  </a:cubicBezTo>
                  <a:cubicBezTo>
                    <a:pt x="342446" y="32124"/>
                    <a:pt x="348228" y="35979"/>
                    <a:pt x="347586" y="41119"/>
                  </a:cubicBezTo>
                  <a:cubicBezTo>
                    <a:pt x="346943" y="45617"/>
                    <a:pt x="341803" y="48187"/>
                    <a:pt x="342446" y="52684"/>
                  </a:cubicBezTo>
                  <a:cubicBezTo>
                    <a:pt x="343088" y="56539"/>
                    <a:pt x="346943" y="58466"/>
                    <a:pt x="350798" y="60394"/>
                  </a:cubicBezTo>
                  <a:cubicBezTo>
                    <a:pt x="366860" y="66819"/>
                    <a:pt x="384850" y="73244"/>
                    <a:pt x="400270" y="65534"/>
                  </a:cubicBezTo>
                  <a:cubicBezTo>
                    <a:pt x="403482" y="64249"/>
                    <a:pt x="406052" y="62321"/>
                    <a:pt x="409264" y="61679"/>
                  </a:cubicBezTo>
                  <a:cubicBezTo>
                    <a:pt x="411834" y="61036"/>
                    <a:pt x="414404" y="61679"/>
                    <a:pt x="416974" y="62321"/>
                  </a:cubicBezTo>
                  <a:cubicBezTo>
                    <a:pt x="425326" y="64249"/>
                    <a:pt x="433679" y="66176"/>
                    <a:pt x="441389" y="69389"/>
                  </a:cubicBezTo>
                  <a:cubicBezTo>
                    <a:pt x="451026" y="73886"/>
                    <a:pt x="456166" y="79668"/>
                    <a:pt x="456809" y="89306"/>
                  </a:cubicBezTo>
                  <a:cubicBezTo>
                    <a:pt x="457451" y="100228"/>
                    <a:pt x="458093" y="111793"/>
                    <a:pt x="458093" y="122715"/>
                  </a:cubicBezTo>
                  <a:cubicBezTo>
                    <a:pt x="458093" y="127855"/>
                    <a:pt x="458736" y="133637"/>
                    <a:pt x="457451" y="138777"/>
                  </a:cubicBezTo>
                  <a:cubicBezTo>
                    <a:pt x="456166" y="147130"/>
                    <a:pt x="452311" y="154839"/>
                    <a:pt x="452311" y="163834"/>
                  </a:cubicBezTo>
                  <a:cubicBezTo>
                    <a:pt x="452311" y="168974"/>
                    <a:pt x="453596" y="174757"/>
                    <a:pt x="452954" y="179896"/>
                  </a:cubicBezTo>
                  <a:cubicBezTo>
                    <a:pt x="451026" y="192104"/>
                    <a:pt x="436249" y="200456"/>
                    <a:pt x="435606" y="212663"/>
                  </a:cubicBezTo>
                  <a:cubicBezTo>
                    <a:pt x="435606" y="215233"/>
                    <a:pt x="435606" y="217803"/>
                    <a:pt x="437534" y="219088"/>
                  </a:cubicBezTo>
                  <a:cubicBezTo>
                    <a:pt x="440104" y="221658"/>
                    <a:pt x="443959" y="222301"/>
                    <a:pt x="447814" y="222301"/>
                  </a:cubicBezTo>
                  <a:cubicBezTo>
                    <a:pt x="455523" y="222301"/>
                    <a:pt x="463233" y="222943"/>
                    <a:pt x="470943" y="222301"/>
                  </a:cubicBezTo>
                  <a:cubicBezTo>
                    <a:pt x="476725" y="222301"/>
                    <a:pt x="483793" y="223586"/>
                    <a:pt x="484435" y="228726"/>
                  </a:cubicBezTo>
                  <a:cubicBezTo>
                    <a:pt x="484435" y="231295"/>
                    <a:pt x="482508" y="233865"/>
                    <a:pt x="481223" y="235793"/>
                  </a:cubicBezTo>
                  <a:cubicBezTo>
                    <a:pt x="476083" y="242860"/>
                    <a:pt x="472871" y="251213"/>
                    <a:pt x="471586" y="259565"/>
                  </a:cubicBezTo>
                  <a:cubicBezTo>
                    <a:pt x="470301" y="267917"/>
                    <a:pt x="471586" y="276270"/>
                    <a:pt x="470943" y="284622"/>
                  </a:cubicBezTo>
                  <a:cubicBezTo>
                    <a:pt x="470301" y="292332"/>
                    <a:pt x="468373" y="299399"/>
                    <a:pt x="467088" y="307109"/>
                  </a:cubicBezTo>
                  <a:cubicBezTo>
                    <a:pt x="461306" y="341803"/>
                    <a:pt x="469016" y="378425"/>
                    <a:pt x="488933" y="407979"/>
                  </a:cubicBezTo>
                  <a:cubicBezTo>
                    <a:pt x="488933" y="407979"/>
                    <a:pt x="521057" y="458093"/>
                    <a:pt x="573741" y="458093"/>
                  </a:cubicBezTo>
                  <a:cubicBezTo>
                    <a:pt x="626425" y="458093"/>
                    <a:pt x="639275" y="472871"/>
                    <a:pt x="664332" y="478011"/>
                  </a:cubicBezTo>
                  <a:cubicBezTo>
                    <a:pt x="689389" y="483151"/>
                    <a:pt x="702881" y="476726"/>
                    <a:pt x="717658" y="487648"/>
                  </a:cubicBezTo>
                  <a:cubicBezTo>
                    <a:pt x="732436" y="498570"/>
                    <a:pt x="733078" y="530695"/>
                    <a:pt x="733720" y="539047"/>
                  </a:cubicBezTo>
                  <a:cubicBezTo>
                    <a:pt x="735648" y="546757"/>
                    <a:pt x="754923" y="558322"/>
                    <a:pt x="742073" y="572456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 60">
              <a:extLst>
                <a:ext uri="{FF2B5EF4-FFF2-40B4-BE49-F238E27FC236}">
                  <a16:creationId xmlns:a16="http://schemas.microsoft.com/office/drawing/2014/main" id="{B96DBECD-89EE-C1BB-7B80-AD89C5017CE4}"/>
                </a:ext>
              </a:extLst>
            </p:cNvPr>
            <p:cNvSpPr/>
            <p:nvPr/>
          </p:nvSpPr>
          <p:spPr>
            <a:xfrm>
              <a:off x="2929197" y="3685363"/>
              <a:ext cx="772418" cy="627389"/>
            </a:xfrm>
            <a:custGeom>
              <a:avLst/>
              <a:gdLst>
                <a:gd name="connsiteX0" fmla="*/ 753638 w 772418"/>
                <a:gd name="connsiteY0" fmla="*/ 325102 h 627389"/>
                <a:gd name="connsiteX1" fmla="*/ 725368 w 772418"/>
                <a:gd name="connsiteY1" fmla="*/ 341165 h 627389"/>
                <a:gd name="connsiteX2" fmla="*/ 700954 w 772418"/>
                <a:gd name="connsiteY2" fmla="*/ 352087 h 627389"/>
                <a:gd name="connsiteX3" fmla="*/ 689389 w 772418"/>
                <a:gd name="connsiteY3" fmla="*/ 359797 h 627389"/>
                <a:gd name="connsiteX4" fmla="*/ 688104 w 772418"/>
                <a:gd name="connsiteY4" fmla="*/ 375216 h 627389"/>
                <a:gd name="connsiteX5" fmla="*/ 690031 w 772418"/>
                <a:gd name="connsiteY5" fmla="*/ 394491 h 627389"/>
                <a:gd name="connsiteX6" fmla="*/ 691959 w 772418"/>
                <a:gd name="connsiteY6" fmla="*/ 401558 h 627389"/>
                <a:gd name="connsiteX7" fmla="*/ 713161 w 772418"/>
                <a:gd name="connsiteY7" fmla="*/ 406698 h 627389"/>
                <a:gd name="connsiteX8" fmla="*/ 668187 w 772418"/>
                <a:gd name="connsiteY8" fmla="*/ 449745 h 627389"/>
                <a:gd name="connsiteX9" fmla="*/ 648270 w 772418"/>
                <a:gd name="connsiteY9" fmla="*/ 465164 h 627389"/>
                <a:gd name="connsiteX10" fmla="*/ 641202 w 772418"/>
                <a:gd name="connsiteY10" fmla="*/ 469662 h 627389"/>
                <a:gd name="connsiteX11" fmla="*/ 630280 w 772418"/>
                <a:gd name="connsiteY11" fmla="*/ 472232 h 627389"/>
                <a:gd name="connsiteX12" fmla="*/ 618715 w 772418"/>
                <a:gd name="connsiteY12" fmla="*/ 468377 h 627389"/>
                <a:gd name="connsiteX13" fmla="*/ 599441 w 772418"/>
                <a:gd name="connsiteY13" fmla="*/ 478014 h 627389"/>
                <a:gd name="connsiteX14" fmla="*/ 594301 w 772418"/>
                <a:gd name="connsiteY14" fmla="*/ 499216 h 627389"/>
                <a:gd name="connsiteX15" fmla="*/ 589803 w 772418"/>
                <a:gd name="connsiteY15" fmla="*/ 512709 h 627389"/>
                <a:gd name="connsiteX16" fmla="*/ 582736 w 772418"/>
                <a:gd name="connsiteY16" fmla="*/ 520418 h 627389"/>
                <a:gd name="connsiteX17" fmla="*/ 587876 w 772418"/>
                <a:gd name="connsiteY17" fmla="*/ 524916 h 627389"/>
                <a:gd name="connsiteX18" fmla="*/ 553182 w 772418"/>
                <a:gd name="connsiteY18" fmla="*/ 535196 h 627389"/>
                <a:gd name="connsiteX19" fmla="*/ 504353 w 772418"/>
                <a:gd name="connsiteY19" fmla="*/ 542263 h 627389"/>
                <a:gd name="connsiteX20" fmla="*/ 472871 w 772418"/>
                <a:gd name="connsiteY20" fmla="*/ 542263 h 627389"/>
                <a:gd name="connsiteX21" fmla="*/ 446529 w 772418"/>
                <a:gd name="connsiteY21" fmla="*/ 499216 h 627389"/>
                <a:gd name="connsiteX22" fmla="*/ 447171 w 772418"/>
                <a:gd name="connsiteY22" fmla="*/ 496004 h 627389"/>
                <a:gd name="connsiteX23" fmla="*/ 450384 w 772418"/>
                <a:gd name="connsiteY23" fmla="*/ 494076 h 627389"/>
                <a:gd name="connsiteX24" fmla="*/ 449741 w 772418"/>
                <a:gd name="connsiteY24" fmla="*/ 484439 h 627389"/>
                <a:gd name="connsiteX25" fmla="*/ 438819 w 772418"/>
                <a:gd name="connsiteY25" fmla="*/ 482512 h 627389"/>
                <a:gd name="connsiteX26" fmla="*/ 434321 w 772418"/>
                <a:gd name="connsiteY26" fmla="*/ 483797 h 627389"/>
                <a:gd name="connsiteX27" fmla="*/ 430467 w 772418"/>
                <a:gd name="connsiteY27" fmla="*/ 486367 h 627389"/>
                <a:gd name="connsiteX28" fmla="*/ 419544 w 772418"/>
                <a:gd name="connsiteY28" fmla="*/ 487009 h 627389"/>
                <a:gd name="connsiteX29" fmla="*/ 402840 w 772418"/>
                <a:gd name="connsiteY29" fmla="*/ 496647 h 627389"/>
                <a:gd name="connsiteX30" fmla="*/ 397700 w 772418"/>
                <a:gd name="connsiteY30" fmla="*/ 505641 h 627389"/>
                <a:gd name="connsiteX31" fmla="*/ 389990 w 772418"/>
                <a:gd name="connsiteY31" fmla="*/ 509496 h 627389"/>
                <a:gd name="connsiteX32" fmla="*/ 392560 w 772418"/>
                <a:gd name="connsiteY32" fmla="*/ 517206 h 627389"/>
                <a:gd name="connsiteX33" fmla="*/ 400270 w 772418"/>
                <a:gd name="connsiteY33" fmla="*/ 521703 h 627389"/>
                <a:gd name="connsiteX34" fmla="*/ 405410 w 772418"/>
                <a:gd name="connsiteY34" fmla="*/ 537766 h 627389"/>
                <a:gd name="connsiteX35" fmla="*/ 403482 w 772418"/>
                <a:gd name="connsiteY35" fmla="*/ 555113 h 627389"/>
                <a:gd name="connsiteX36" fmla="*/ 405410 w 772418"/>
                <a:gd name="connsiteY36" fmla="*/ 562823 h 627389"/>
                <a:gd name="connsiteX37" fmla="*/ 404767 w 772418"/>
                <a:gd name="connsiteY37" fmla="*/ 579527 h 627389"/>
                <a:gd name="connsiteX38" fmla="*/ 398342 w 772418"/>
                <a:gd name="connsiteY38" fmla="*/ 590450 h 627389"/>
                <a:gd name="connsiteX39" fmla="*/ 384850 w 772418"/>
                <a:gd name="connsiteY39" fmla="*/ 594304 h 627389"/>
                <a:gd name="connsiteX40" fmla="*/ 366218 w 772418"/>
                <a:gd name="connsiteY40" fmla="*/ 592377 h 627389"/>
                <a:gd name="connsiteX41" fmla="*/ 353368 w 772418"/>
                <a:gd name="connsiteY41" fmla="*/ 574387 h 627389"/>
                <a:gd name="connsiteX42" fmla="*/ 328311 w 772418"/>
                <a:gd name="connsiteY42" fmla="*/ 549973 h 627389"/>
                <a:gd name="connsiteX43" fmla="*/ 285264 w 772418"/>
                <a:gd name="connsiteY43" fmla="*/ 543548 h 627389"/>
                <a:gd name="connsiteX44" fmla="*/ 240933 w 772418"/>
                <a:gd name="connsiteY44" fmla="*/ 564108 h 627389"/>
                <a:gd name="connsiteX45" fmla="*/ 244788 w 772418"/>
                <a:gd name="connsiteY45" fmla="*/ 579527 h 627389"/>
                <a:gd name="connsiteX46" fmla="*/ 253782 w 772418"/>
                <a:gd name="connsiteY46" fmla="*/ 580170 h 627389"/>
                <a:gd name="connsiteX47" fmla="*/ 258280 w 772418"/>
                <a:gd name="connsiteY47" fmla="*/ 593662 h 627389"/>
                <a:gd name="connsiteX48" fmla="*/ 249928 w 772418"/>
                <a:gd name="connsiteY48" fmla="*/ 599445 h 627389"/>
                <a:gd name="connsiteX49" fmla="*/ 246073 w 772418"/>
                <a:gd name="connsiteY49" fmla="*/ 623859 h 627389"/>
                <a:gd name="connsiteX50" fmla="*/ 231295 w 772418"/>
                <a:gd name="connsiteY50" fmla="*/ 627071 h 627389"/>
                <a:gd name="connsiteX51" fmla="*/ 201741 w 772418"/>
                <a:gd name="connsiteY51" fmla="*/ 616149 h 627389"/>
                <a:gd name="connsiteX52" fmla="*/ 188891 w 772418"/>
                <a:gd name="connsiteY52" fmla="*/ 598159 h 627389"/>
                <a:gd name="connsiteX53" fmla="*/ 144560 w 772418"/>
                <a:gd name="connsiteY53" fmla="*/ 523631 h 627389"/>
                <a:gd name="connsiteX54" fmla="*/ 97016 w 772418"/>
                <a:gd name="connsiteY54" fmla="*/ 484439 h 627389"/>
                <a:gd name="connsiteX55" fmla="*/ 87378 w 772418"/>
                <a:gd name="connsiteY55" fmla="*/ 479299 h 627389"/>
                <a:gd name="connsiteX56" fmla="*/ 77098 w 772418"/>
                <a:gd name="connsiteY56" fmla="*/ 478014 h 627389"/>
                <a:gd name="connsiteX57" fmla="*/ 66176 w 772418"/>
                <a:gd name="connsiteY57" fmla="*/ 478014 h 627389"/>
                <a:gd name="connsiteX58" fmla="*/ 61036 w 772418"/>
                <a:gd name="connsiteY58" fmla="*/ 478657 h 627389"/>
                <a:gd name="connsiteX59" fmla="*/ 55896 w 772418"/>
                <a:gd name="connsiteY59" fmla="*/ 482512 h 627389"/>
                <a:gd name="connsiteX60" fmla="*/ 39192 w 772418"/>
                <a:gd name="connsiteY60" fmla="*/ 500501 h 627389"/>
                <a:gd name="connsiteX61" fmla="*/ 39192 w 772418"/>
                <a:gd name="connsiteY61" fmla="*/ 500501 h 627389"/>
                <a:gd name="connsiteX62" fmla="*/ 37264 w 772418"/>
                <a:gd name="connsiteY62" fmla="*/ 485082 h 627389"/>
                <a:gd name="connsiteX63" fmla="*/ 40477 w 772418"/>
                <a:gd name="connsiteY63" fmla="*/ 467735 h 627389"/>
                <a:gd name="connsiteX64" fmla="*/ 51399 w 772418"/>
                <a:gd name="connsiteY64" fmla="*/ 442035 h 627389"/>
                <a:gd name="connsiteX65" fmla="*/ 35337 w 772418"/>
                <a:gd name="connsiteY65" fmla="*/ 424045 h 627389"/>
                <a:gd name="connsiteX66" fmla="*/ 28269 w 772418"/>
                <a:gd name="connsiteY66" fmla="*/ 424045 h 627389"/>
                <a:gd name="connsiteX67" fmla="*/ 19275 w 772418"/>
                <a:gd name="connsiteY67" fmla="*/ 430470 h 627389"/>
                <a:gd name="connsiteX68" fmla="*/ 9637 w 772418"/>
                <a:gd name="connsiteY68" fmla="*/ 429185 h 627389"/>
                <a:gd name="connsiteX69" fmla="*/ 8995 w 772418"/>
                <a:gd name="connsiteY69" fmla="*/ 427258 h 627389"/>
                <a:gd name="connsiteX70" fmla="*/ 12850 w 772418"/>
                <a:gd name="connsiteY70" fmla="*/ 356584 h 627389"/>
                <a:gd name="connsiteX71" fmla="*/ 32767 w 772418"/>
                <a:gd name="connsiteY71" fmla="*/ 323175 h 627389"/>
                <a:gd name="connsiteX72" fmla="*/ 43047 w 772418"/>
                <a:gd name="connsiteY72" fmla="*/ 309040 h 627389"/>
                <a:gd name="connsiteX73" fmla="*/ 60394 w 772418"/>
                <a:gd name="connsiteY73" fmla="*/ 287838 h 627389"/>
                <a:gd name="connsiteX74" fmla="*/ 73886 w 772418"/>
                <a:gd name="connsiteY74" fmla="*/ 269206 h 627389"/>
                <a:gd name="connsiteX75" fmla="*/ 77741 w 772418"/>
                <a:gd name="connsiteY75" fmla="*/ 262139 h 627389"/>
                <a:gd name="connsiteX76" fmla="*/ 75171 w 772418"/>
                <a:gd name="connsiteY76" fmla="*/ 244149 h 627389"/>
                <a:gd name="connsiteX77" fmla="*/ 67461 w 772418"/>
                <a:gd name="connsiteY77" fmla="*/ 234512 h 627389"/>
                <a:gd name="connsiteX78" fmla="*/ 61679 w 772418"/>
                <a:gd name="connsiteY78" fmla="*/ 221662 h 627389"/>
                <a:gd name="connsiteX79" fmla="*/ 50114 w 772418"/>
                <a:gd name="connsiteY79" fmla="*/ 191465 h 627389"/>
                <a:gd name="connsiteX80" fmla="*/ 41762 w 772418"/>
                <a:gd name="connsiteY80" fmla="*/ 177330 h 627389"/>
                <a:gd name="connsiteX81" fmla="*/ 25699 w 772418"/>
                <a:gd name="connsiteY81" fmla="*/ 168978 h 627389"/>
                <a:gd name="connsiteX82" fmla="*/ 7710 w 772418"/>
                <a:gd name="connsiteY82" fmla="*/ 147133 h 627389"/>
                <a:gd name="connsiteX83" fmla="*/ 643 w 772418"/>
                <a:gd name="connsiteY83" fmla="*/ 120149 h 627389"/>
                <a:gd name="connsiteX84" fmla="*/ 0 w 772418"/>
                <a:gd name="connsiteY84" fmla="*/ 116936 h 627389"/>
                <a:gd name="connsiteX85" fmla="*/ 4497 w 772418"/>
                <a:gd name="connsiteY85" fmla="*/ 119506 h 627389"/>
                <a:gd name="connsiteX86" fmla="*/ 35337 w 772418"/>
                <a:gd name="connsiteY86" fmla="*/ 104729 h 627389"/>
                <a:gd name="connsiteX87" fmla="*/ 59109 w 772418"/>
                <a:gd name="connsiteY87" fmla="*/ 98947 h 627389"/>
                <a:gd name="connsiteX88" fmla="*/ 64249 w 772418"/>
                <a:gd name="connsiteY88" fmla="*/ 90594 h 627389"/>
                <a:gd name="connsiteX89" fmla="*/ 84166 w 772418"/>
                <a:gd name="connsiteY89" fmla="*/ 82885 h 627389"/>
                <a:gd name="connsiteX90" fmla="*/ 111793 w 772418"/>
                <a:gd name="connsiteY90" fmla="*/ 62968 h 627389"/>
                <a:gd name="connsiteX91" fmla="*/ 169617 w 772418"/>
                <a:gd name="connsiteY91" fmla="*/ 37268 h 627389"/>
                <a:gd name="connsiteX92" fmla="*/ 197886 w 772418"/>
                <a:gd name="connsiteY92" fmla="*/ 22491 h 627389"/>
                <a:gd name="connsiteX93" fmla="*/ 218446 w 772418"/>
                <a:gd name="connsiteY93" fmla="*/ 3216 h 627389"/>
                <a:gd name="connsiteX94" fmla="*/ 234508 w 772418"/>
                <a:gd name="connsiteY94" fmla="*/ 3859 h 627389"/>
                <a:gd name="connsiteX95" fmla="*/ 267917 w 772418"/>
                <a:gd name="connsiteY95" fmla="*/ 3859 h 627389"/>
                <a:gd name="connsiteX96" fmla="*/ 278197 w 772418"/>
                <a:gd name="connsiteY96" fmla="*/ 10926 h 627389"/>
                <a:gd name="connsiteX97" fmla="*/ 289762 w 772418"/>
                <a:gd name="connsiteY97" fmla="*/ 18636 h 627389"/>
                <a:gd name="connsiteX98" fmla="*/ 292974 w 772418"/>
                <a:gd name="connsiteY98" fmla="*/ 20563 h 627389"/>
                <a:gd name="connsiteX99" fmla="*/ 294259 w 772418"/>
                <a:gd name="connsiteY99" fmla="*/ 21848 h 627389"/>
                <a:gd name="connsiteX100" fmla="*/ 298114 w 772418"/>
                <a:gd name="connsiteY100" fmla="*/ 28273 h 627389"/>
                <a:gd name="connsiteX101" fmla="*/ 291047 w 772418"/>
                <a:gd name="connsiteY101" fmla="*/ 32128 h 627389"/>
                <a:gd name="connsiteX102" fmla="*/ 286549 w 772418"/>
                <a:gd name="connsiteY102" fmla="*/ 41123 h 627389"/>
                <a:gd name="connsiteX103" fmla="*/ 294902 w 772418"/>
                <a:gd name="connsiteY103" fmla="*/ 73247 h 627389"/>
                <a:gd name="connsiteX104" fmla="*/ 299399 w 772418"/>
                <a:gd name="connsiteY104" fmla="*/ 89952 h 627389"/>
                <a:gd name="connsiteX105" fmla="*/ 329596 w 772418"/>
                <a:gd name="connsiteY105" fmla="*/ 106657 h 627389"/>
                <a:gd name="connsiteX106" fmla="*/ 350156 w 772418"/>
                <a:gd name="connsiteY106" fmla="*/ 113724 h 627389"/>
                <a:gd name="connsiteX107" fmla="*/ 389347 w 772418"/>
                <a:gd name="connsiteY107" fmla="*/ 117579 h 627389"/>
                <a:gd name="connsiteX108" fmla="*/ 396415 w 772418"/>
                <a:gd name="connsiteY108" fmla="*/ 136211 h 627389"/>
                <a:gd name="connsiteX109" fmla="*/ 396415 w 772418"/>
                <a:gd name="connsiteY109" fmla="*/ 152916 h 627389"/>
                <a:gd name="connsiteX110" fmla="*/ 398342 w 772418"/>
                <a:gd name="connsiteY110" fmla="*/ 170905 h 627389"/>
                <a:gd name="connsiteX111" fmla="*/ 440104 w 772418"/>
                <a:gd name="connsiteY111" fmla="*/ 230657 h 627389"/>
                <a:gd name="connsiteX112" fmla="*/ 464518 w 772418"/>
                <a:gd name="connsiteY112" fmla="*/ 238367 h 627389"/>
                <a:gd name="connsiteX113" fmla="*/ 491503 w 772418"/>
                <a:gd name="connsiteY113" fmla="*/ 230657 h 627389"/>
                <a:gd name="connsiteX114" fmla="*/ 520415 w 772418"/>
                <a:gd name="connsiteY114" fmla="*/ 239652 h 627389"/>
                <a:gd name="connsiteX115" fmla="*/ 538404 w 772418"/>
                <a:gd name="connsiteY115" fmla="*/ 258926 h 627389"/>
                <a:gd name="connsiteX116" fmla="*/ 558964 w 772418"/>
                <a:gd name="connsiteY116" fmla="*/ 251216 h 627389"/>
                <a:gd name="connsiteX117" fmla="*/ 578239 w 772418"/>
                <a:gd name="connsiteY117" fmla="*/ 266636 h 627389"/>
                <a:gd name="connsiteX118" fmla="*/ 598798 w 772418"/>
                <a:gd name="connsiteY118" fmla="*/ 274346 h 627389"/>
                <a:gd name="connsiteX119" fmla="*/ 616788 w 772418"/>
                <a:gd name="connsiteY119" fmla="*/ 294905 h 627389"/>
                <a:gd name="connsiteX120" fmla="*/ 647627 w 772418"/>
                <a:gd name="connsiteY120" fmla="*/ 297475 h 627389"/>
                <a:gd name="connsiteX121" fmla="*/ 669472 w 772418"/>
                <a:gd name="connsiteY121" fmla="*/ 297475 h 627389"/>
                <a:gd name="connsiteX122" fmla="*/ 684249 w 772418"/>
                <a:gd name="connsiteY122" fmla="*/ 287838 h 627389"/>
                <a:gd name="connsiteX123" fmla="*/ 691959 w 772418"/>
                <a:gd name="connsiteY123" fmla="*/ 269848 h 627389"/>
                <a:gd name="connsiteX124" fmla="*/ 694529 w 772418"/>
                <a:gd name="connsiteY124" fmla="*/ 256999 h 627389"/>
                <a:gd name="connsiteX125" fmla="*/ 683606 w 772418"/>
                <a:gd name="connsiteY125" fmla="*/ 247361 h 627389"/>
                <a:gd name="connsiteX126" fmla="*/ 682322 w 772418"/>
                <a:gd name="connsiteY126" fmla="*/ 233227 h 627389"/>
                <a:gd name="connsiteX127" fmla="*/ 713161 w 772418"/>
                <a:gd name="connsiteY127" fmla="*/ 239009 h 627389"/>
                <a:gd name="connsiteX128" fmla="*/ 759420 w 772418"/>
                <a:gd name="connsiteY128" fmla="*/ 279486 h 627389"/>
                <a:gd name="connsiteX129" fmla="*/ 772270 w 772418"/>
                <a:gd name="connsiteY129" fmla="*/ 304543 h 627389"/>
                <a:gd name="connsiteX130" fmla="*/ 753638 w 772418"/>
                <a:gd name="connsiteY130" fmla="*/ 325102 h 62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772418" h="627389">
                  <a:moveTo>
                    <a:pt x="753638" y="325102"/>
                  </a:moveTo>
                  <a:cubicBezTo>
                    <a:pt x="750425" y="330242"/>
                    <a:pt x="732436" y="337310"/>
                    <a:pt x="725368" y="341165"/>
                  </a:cubicBezTo>
                  <a:cubicBezTo>
                    <a:pt x="717658" y="345019"/>
                    <a:pt x="700954" y="352087"/>
                    <a:pt x="700954" y="352087"/>
                  </a:cubicBezTo>
                  <a:cubicBezTo>
                    <a:pt x="695814" y="354014"/>
                    <a:pt x="691959" y="355299"/>
                    <a:pt x="689389" y="359797"/>
                  </a:cubicBezTo>
                  <a:cubicBezTo>
                    <a:pt x="686819" y="364294"/>
                    <a:pt x="687461" y="370076"/>
                    <a:pt x="688104" y="375216"/>
                  </a:cubicBezTo>
                  <a:cubicBezTo>
                    <a:pt x="688746" y="381641"/>
                    <a:pt x="689389" y="388066"/>
                    <a:pt x="690031" y="394491"/>
                  </a:cubicBezTo>
                  <a:cubicBezTo>
                    <a:pt x="690031" y="397061"/>
                    <a:pt x="690674" y="399631"/>
                    <a:pt x="691959" y="401558"/>
                  </a:cubicBezTo>
                  <a:cubicBezTo>
                    <a:pt x="696456" y="407341"/>
                    <a:pt x="706736" y="402843"/>
                    <a:pt x="713161" y="406698"/>
                  </a:cubicBezTo>
                  <a:cubicBezTo>
                    <a:pt x="701596" y="424045"/>
                    <a:pt x="684892" y="436895"/>
                    <a:pt x="668187" y="449745"/>
                  </a:cubicBezTo>
                  <a:cubicBezTo>
                    <a:pt x="661762" y="454885"/>
                    <a:pt x="655337" y="460025"/>
                    <a:pt x="648270" y="465164"/>
                  </a:cubicBezTo>
                  <a:cubicBezTo>
                    <a:pt x="646342" y="467092"/>
                    <a:pt x="643772" y="468377"/>
                    <a:pt x="641202" y="469662"/>
                  </a:cubicBezTo>
                  <a:cubicBezTo>
                    <a:pt x="637990" y="471589"/>
                    <a:pt x="634135" y="472874"/>
                    <a:pt x="630280" y="472232"/>
                  </a:cubicBezTo>
                  <a:cubicBezTo>
                    <a:pt x="626425" y="471589"/>
                    <a:pt x="622570" y="469662"/>
                    <a:pt x="618715" y="468377"/>
                  </a:cubicBezTo>
                  <a:cubicBezTo>
                    <a:pt x="611005" y="466450"/>
                    <a:pt x="603296" y="471589"/>
                    <a:pt x="599441" y="478014"/>
                  </a:cubicBezTo>
                  <a:cubicBezTo>
                    <a:pt x="595586" y="484439"/>
                    <a:pt x="594943" y="491507"/>
                    <a:pt x="594301" y="499216"/>
                  </a:cubicBezTo>
                  <a:cubicBezTo>
                    <a:pt x="593658" y="504356"/>
                    <a:pt x="593658" y="509496"/>
                    <a:pt x="589803" y="512709"/>
                  </a:cubicBezTo>
                  <a:cubicBezTo>
                    <a:pt x="587233" y="515279"/>
                    <a:pt x="582736" y="517206"/>
                    <a:pt x="582736" y="520418"/>
                  </a:cubicBezTo>
                  <a:cubicBezTo>
                    <a:pt x="582736" y="522988"/>
                    <a:pt x="585306" y="524273"/>
                    <a:pt x="587876" y="524916"/>
                  </a:cubicBezTo>
                  <a:cubicBezTo>
                    <a:pt x="587876" y="524916"/>
                    <a:pt x="586591" y="529413"/>
                    <a:pt x="553182" y="535196"/>
                  </a:cubicBezTo>
                  <a:cubicBezTo>
                    <a:pt x="519772" y="541621"/>
                    <a:pt x="513990" y="538408"/>
                    <a:pt x="504353" y="542263"/>
                  </a:cubicBezTo>
                  <a:cubicBezTo>
                    <a:pt x="495358" y="546118"/>
                    <a:pt x="481865" y="548688"/>
                    <a:pt x="472871" y="542263"/>
                  </a:cubicBezTo>
                  <a:cubicBezTo>
                    <a:pt x="457451" y="531983"/>
                    <a:pt x="448456" y="517206"/>
                    <a:pt x="446529" y="499216"/>
                  </a:cubicBezTo>
                  <a:cubicBezTo>
                    <a:pt x="446529" y="497931"/>
                    <a:pt x="446529" y="497289"/>
                    <a:pt x="447171" y="496004"/>
                  </a:cubicBezTo>
                  <a:cubicBezTo>
                    <a:pt x="447814" y="494719"/>
                    <a:pt x="449099" y="494719"/>
                    <a:pt x="450384" y="494076"/>
                  </a:cubicBezTo>
                  <a:cubicBezTo>
                    <a:pt x="453596" y="492149"/>
                    <a:pt x="452311" y="487009"/>
                    <a:pt x="449741" y="484439"/>
                  </a:cubicBezTo>
                  <a:cubicBezTo>
                    <a:pt x="446529" y="481869"/>
                    <a:pt x="442674" y="481869"/>
                    <a:pt x="438819" y="482512"/>
                  </a:cubicBezTo>
                  <a:cubicBezTo>
                    <a:pt x="436891" y="482512"/>
                    <a:pt x="435606" y="483154"/>
                    <a:pt x="434321" y="483797"/>
                  </a:cubicBezTo>
                  <a:cubicBezTo>
                    <a:pt x="433036" y="484439"/>
                    <a:pt x="432394" y="485724"/>
                    <a:pt x="430467" y="486367"/>
                  </a:cubicBezTo>
                  <a:cubicBezTo>
                    <a:pt x="427254" y="488294"/>
                    <a:pt x="423399" y="487009"/>
                    <a:pt x="419544" y="487009"/>
                  </a:cubicBezTo>
                  <a:cubicBezTo>
                    <a:pt x="412477" y="486367"/>
                    <a:pt x="405410" y="490864"/>
                    <a:pt x="402840" y="496647"/>
                  </a:cubicBezTo>
                  <a:cubicBezTo>
                    <a:pt x="401555" y="499859"/>
                    <a:pt x="400912" y="503714"/>
                    <a:pt x="397700" y="505641"/>
                  </a:cubicBezTo>
                  <a:cubicBezTo>
                    <a:pt x="395130" y="507569"/>
                    <a:pt x="391275" y="507569"/>
                    <a:pt x="389990" y="509496"/>
                  </a:cubicBezTo>
                  <a:cubicBezTo>
                    <a:pt x="388705" y="512066"/>
                    <a:pt x="389990" y="515279"/>
                    <a:pt x="392560" y="517206"/>
                  </a:cubicBezTo>
                  <a:cubicBezTo>
                    <a:pt x="395130" y="519134"/>
                    <a:pt x="397700" y="519776"/>
                    <a:pt x="400270" y="521703"/>
                  </a:cubicBezTo>
                  <a:cubicBezTo>
                    <a:pt x="404767" y="525558"/>
                    <a:pt x="406052" y="531983"/>
                    <a:pt x="405410" y="537766"/>
                  </a:cubicBezTo>
                  <a:cubicBezTo>
                    <a:pt x="404767" y="543548"/>
                    <a:pt x="402840" y="549330"/>
                    <a:pt x="403482" y="555113"/>
                  </a:cubicBezTo>
                  <a:cubicBezTo>
                    <a:pt x="403482" y="557683"/>
                    <a:pt x="404767" y="560253"/>
                    <a:pt x="405410" y="562823"/>
                  </a:cubicBezTo>
                  <a:cubicBezTo>
                    <a:pt x="406694" y="568605"/>
                    <a:pt x="406052" y="574387"/>
                    <a:pt x="404767" y="579527"/>
                  </a:cubicBezTo>
                  <a:cubicBezTo>
                    <a:pt x="403482" y="583382"/>
                    <a:pt x="401555" y="587880"/>
                    <a:pt x="398342" y="590450"/>
                  </a:cubicBezTo>
                  <a:cubicBezTo>
                    <a:pt x="394487" y="593020"/>
                    <a:pt x="389347" y="593662"/>
                    <a:pt x="384850" y="594304"/>
                  </a:cubicBezTo>
                  <a:cubicBezTo>
                    <a:pt x="378425" y="594947"/>
                    <a:pt x="372000" y="595590"/>
                    <a:pt x="366218" y="592377"/>
                  </a:cubicBezTo>
                  <a:cubicBezTo>
                    <a:pt x="359150" y="588522"/>
                    <a:pt x="356580" y="580812"/>
                    <a:pt x="353368" y="574387"/>
                  </a:cubicBezTo>
                  <a:cubicBezTo>
                    <a:pt x="347586" y="564108"/>
                    <a:pt x="339233" y="555755"/>
                    <a:pt x="328311" y="549973"/>
                  </a:cubicBezTo>
                  <a:cubicBezTo>
                    <a:pt x="315461" y="543548"/>
                    <a:pt x="299399" y="541621"/>
                    <a:pt x="285264" y="543548"/>
                  </a:cubicBezTo>
                  <a:cubicBezTo>
                    <a:pt x="270487" y="545475"/>
                    <a:pt x="247358" y="549330"/>
                    <a:pt x="240933" y="564108"/>
                  </a:cubicBezTo>
                  <a:cubicBezTo>
                    <a:pt x="238363" y="569248"/>
                    <a:pt x="239005" y="577600"/>
                    <a:pt x="244788" y="579527"/>
                  </a:cubicBezTo>
                  <a:cubicBezTo>
                    <a:pt x="247358" y="580170"/>
                    <a:pt x="251213" y="579527"/>
                    <a:pt x="253782" y="580170"/>
                  </a:cubicBezTo>
                  <a:cubicBezTo>
                    <a:pt x="259565" y="581455"/>
                    <a:pt x="262135" y="589165"/>
                    <a:pt x="258280" y="593662"/>
                  </a:cubicBezTo>
                  <a:cubicBezTo>
                    <a:pt x="255710" y="596232"/>
                    <a:pt x="251855" y="596874"/>
                    <a:pt x="249928" y="599445"/>
                  </a:cubicBezTo>
                  <a:cubicBezTo>
                    <a:pt x="244145" y="605869"/>
                    <a:pt x="251855" y="617434"/>
                    <a:pt x="246073" y="623859"/>
                  </a:cubicBezTo>
                  <a:cubicBezTo>
                    <a:pt x="242860" y="627714"/>
                    <a:pt x="236435" y="627714"/>
                    <a:pt x="231295" y="627071"/>
                  </a:cubicBezTo>
                  <a:cubicBezTo>
                    <a:pt x="220373" y="625786"/>
                    <a:pt x="209451" y="623216"/>
                    <a:pt x="201741" y="616149"/>
                  </a:cubicBezTo>
                  <a:cubicBezTo>
                    <a:pt x="195959" y="611652"/>
                    <a:pt x="192104" y="605227"/>
                    <a:pt x="188891" y="598159"/>
                  </a:cubicBezTo>
                  <a:cubicBezTo>
                    <a:pt x="174757" y="573102"/>
                    <a:pt x="163834" y="545475"/>
                    <a:pt x="144560" y="523631"/>
                  </a:cubicBezTo>
                  <a:cubicBezTo>
                    <a:pt x="131067" y="508211"/>
                    <a:pt x="113720" y="496004"/>
                    <a:pt x="97016" y="484439"/>
                  </a:cubicBezTo>
                  <a:cubicBezTo>
                    <a:pt x="93803" y="482512"/>
                    <a:pt x="91233" y="479942"/>
                    <a:pt x="87378" y="479299"/>
                  </a:cubicBezTo>
                  <a:cubicBezTo>
                    <a:pt x="84166" y="478014"/>
                    <a:pt x="80311" y="478014"/>
                    <a:pt x="77098" y="478014"/>
                  </a:cubicBezTo>
                  <a:cubicBezTo>
                    <a:pt x="73244" y="478014"/>
                    <a:pt x="69389" y="478014"/>
                    <a:pt x="66176" y="478014"/>
                  </a:cubicBezTo>
                  <a:cubicBezTo>
                    <a:pt x="64249" y="478014"/>
                    <a:pt x="62964" y="478014"/>
                    <a:pt x="61036" y="478657"/>
                  </a:cubicBezTo>
                  <a:cubicBezTo>
                    <a:pt x="59109" y="479299"/>
                    <a:pt x="57181" y="481227"/>
                    <a:pt x="55896" y="482512"/>
                  </a:cubicBezTo>
                  <a:cubicBezTo>
                    <a:pt x="50114" y="488294"/>
                    <a:pt x="44974" y="494719"/>
                    <a:pt x="39192" y="500501"/>
                  </a:cubicBezTo>
                  <a:lnTo>
                    <a:pt x="39192" y="500501"/>
                  </a:lnTo>
                  <a:cubicBezTo>
                    <a:pt x="39834" y="498574"/>
                    <a:pt x="37264" y="487009"/>
                    <a:pt x="37264" y="485082"/>
                  </a:cubicBezTo>
                  <a:cubicBezTo>
                    <a:pt x="37264" y="479299"/>
                    <a:pt x="38549" y="473517"/>
                    <a:pt x="40477" y="467735"/>
                  </a:cubicBezTo>
                  <a:cubicBezTo>
                    <a:pt x="44332" y="458097"/>
                    <a:pt x="52684" y="453600"/>
                    <a:pt x="51399" y="442035"/>
                  </a:cubicBezTo>
                  <a:cubicBezTo>
                    <a:pt x="50756" y="433683"/>
                    <a:pt x="43689" y="425973"/>
                    <a:pt x="35337" y="424045"/>
                  </a:cubicBezTo>
                  <a:cubicBezTo>
                    <a:pt x="33409" y="423403"/>
                    <a:pt x="30839" y="423403"/>
                    <a:pt x="28269" y="424045"/>
                  </a:cubicBezTo>
                  <a:cubicBezTo>
                    <a:pt x="24414" y="425330"/>
                    <a:pt x="21845" y="428543"/>
                    <a:pt x="19275" y="430470"/>
                  </a:cubicBezTo>
                  <a:cubicBezTo>
                    <a:pt x="16062" y="432398"/>
                    <a:pt x="10922" y="433040"/>
                    <a:pt x="9637" y="429185"/>
                  </a:cubicBezTo>
                  <a:cubicBezTo>
                    <a:pt x="9637" y="428543"/>
                    <a:pt x="9637" y="427900"/>
                    <a:pt x="8995" y="427258"/>
                  </a:cubicBezTo>
                  <a:cubicBezTo>
                    <a:pt x="7067" y="403486"/>
                    <a:pt x="4497" y="379071"/>
                    <a:pt x="12850" y="356584"/>
                  </a:cubicBezTo>
                  <a:cubicBezTo>
                    <a:pt x="17347" y="344377"/>
                    <a:pt x="25057" y="333455"/>
                    <a:pt x="32767" y="323175"/>
                  </a:cubicBezTo>
                  <a:cubicBezTo>
                    <a:pt x="35979" y="318677"/>
                    <a:pt x="39834" y="313538"/>
                    <a:pt x="43047" y="309040"/>
                  </a:cubicBezTo>
                  <a:cubicBezTo>
                    <a:pt x="48829" y="301973"/>
                    <a:pt x="54611" y="294905"/>
                    <a:pt x="60394" y="287838"/>
                  </a:cubicBezTo>
                  <a:cubicBezTo>
                    <a:pt x="65534" y="282056"/>
                    <a:pt x="70031" y="275631"/>
                    <a:pt x="73886" y="269206"/>
                  </a:cubicBezTo>
                  <a:cubicBezTo>
                    <a:pt x="75171" y="267278"/>
                    <a:pt x="76456" y="264709"/>
                    <a:pt x="77741" y="262139"/>
                  </a:cubicBezTo>
                  <a:cubicBezTo>
                    <a:pt x="79668" y="256356"/>
                    <a:pt x="78384" y="249931"/>
                    <a:pt x="75171" y="244149"/>
                  </a:cubicBezTo>
                  <a:cubicBezTo>
                    <a:pt x="73244" y="240294"/>
                    <a:pt x="70031" y="237724"/>
                    <a:pt x="67461" y="234512"/>
                  </a:cubicBezTo>
                  <a:cubicBezTo>
                    <a:pt x="64249" y="230657"/>
                    <a:pt x="62964" y="226159"/>
                    <a:pt x="61679" y="221662"/>
                  </a:cubicBezTo>
                  <a:cubicBezTo>
                    <a:pt x="57824" y="211382"/>
                    <a:pt x="53969" y="201745"/>
                    <a:pt x="50114" y="191465"/>
                  </a:cubicBezTo>
                  <a:cubicBezTo>
                    <a:pt x="48187" y="186325"/>
                    <a:pt x="46259" y="181185"/>
                    <a:pt x="41762" y="177330"/>
                  </a:cubicBezTo>
                  <a:cubicBezTo>
                    <a:pt x="37264" y="173475"/>
                    <a:pt x="31482" y="171548"/>
                    <a:pt x="25699" y="168978"/>
                  </a:cubicBezTo>
                  <a:cubicBezTo>
                    <a:pt x="17347" y="164481"/>
                    <a:pt x="10922" y="156128"/>
                    <a:pt x="7710" y="147133"/>
                  </a:cubicBezTo>
                  <a:cubicBezTo>
                    <a:pt x="3855" y="138138"/>
                    <a:pt x="2570" y="129144"/>
                    <a:pt x="643" y="120149"/>
                  </a:cubicBezTo>
                  <a:cubicBezTo>
                    <a:pt x="643" y="118864"/>
                    <a:pt x="0" y="118221"/>
                    <a:pt x="0" y="116936"/>
                  </a:cubicBezTo>
                  <a:cubicBezTo>
                    <a:pt x="1285" y="117579"/>
                    <a:pt x="3212" y="118221"/>
                    <a:pt x="4497" y="119506"/>
                  </a:cubicBezTo>
                  <a:cubicBezTo>
                    <a:pt x="12207" y="111154"/>
                    <a:pt x="23772" y="106014"/>
                    <a:pt x="35337" y="104729"/>
                  </a:cubicBezTo>
                  <a:cubicBezTo>
                    <a:pt x="43689" y="104087"/>
                    <a:pt x="53969" y="104729"/>
                    <a:pt x="59109" y="98947"/>
                  </a:cubicBezTo>
                  <a:cubicBezTo>
                    <a:pt x="61036" y="96377"/>
                    <a:pt x="62321" y="93164"/>
                    <a:pt x="64249" y="90594"/>
                  </a:cubicBezTo>
                  <a:cubicBezTo>
                    <a:pt x="68746" y="85455"/>
                    <a:pt x="77098" y="84812"/>
                    <a:pt x="84166" y="82885"/>
                  </a:cubicBezTo>
                  <a:cubicBezTo>
                    <a:pt x="95088" y="79030"/>
                    <a:pt x="102798" y="70035"/>
                    <a:pt x="111793" y="62968"/>
                  </a:cubicBezTo>
                  <a:cubicBezTo>
                    <a:pt x="128497" y="50118"/>
                    <a:pt x="150342" y="45620"/>
                    <a:pt x="169617" y="37268"/>
                  </a:cubicBezTo>
                  <a:cubicBezTo>
                    <a:pt x="179254" y="32771"/>
                    <a:pt x="188891" y="27631"/>
                    <a:pt x="197886" y="22491"/>
                  </a:cubicBezTo>
                  <a:cubicBezTo>
                    <a:pt x="205596" y="17993"/>
                    <a:pt x="215876" y="11569"/>
                    <a:pt x="218446" y="3216"/>
                  </a:cubicBezTo>
                  <a:cubicBezTo>
                    <a:pt x="224871" y="3216"/>
                    <a:pt x="231938" y="3216"/>
                    <a:pt x="234508" y="3859"/>
                  </a:cubicBezTo>
                  <a:cubicBezTo>
                    <a:pt x="240290" y="4501"/>
                    <a:pt x="258280" y="-5136"/>
                    <a:pt x="267917" y="3859"/>
                  </a:cubicBezTo>
                  <a:cubicBezTo>
                    <a:pt x="271130" y="6429"/>
                    <a:pt x="274985" y="8356"/>
                    <a:pt x="278197" y="10926"/>
                  </a:cubicBezTo>
                  <a:cubicBezTo>
                    <a:pt x="282052" y="13496"/>
                    <a:pt x="285264" y="16708"/>
                    <a:pt x="289762" y="18636"/>
                  </a:cubicBezTo>
                  <a:cubicBezTo>
                    <a:pt x="291047" y="19278"/>
                    <a:pt x="292332" y="19921"/>
                    <a:pt x="292974" y="20563"/>
                  </a:cubicBezTo>
                  <a:cubicBezTo>
                    <a:pt x="293617" y="21206"/>
                    <a:pt x="293617" y="21206"/>
                    <a:pt x="294259" y="21848"/>
                  </a:cubicBezTo>
                  <a:cubicBezTo>
                    <a:pt x="295544" y="23776"/>
                    <a:pt x="299399" y="25703"/>
                    <a:pt x="298114" y="28273"/>
                  </a:cubicBezTo>
                  <a:cubicBezTo>
                    <a:pt x="297472" y="30201"/>
                    <a:pt x="292974" y="30843"/>
                    <a:pt x="291047" y="32128"/>
                  </a:cubicBezTo>
                  <a:cubicBezTo>
                    <a:pt x="287192" y="34698"/>
                    <a:pt x="286549" y="37268"/>
                    <a:pt x="286549" y="41123"/>
                  </a:cubicBezTo>
                  <a:cubicBezTo>
                    <a:pt x="287192" y="52045"/>
                    <a:pt x="293617" y="62325"/>
                    <a:pt x="294902" y="73247"/>
                  </a:cubicBezTo>
                  <a:cubicBezTo>
                    <a:pt x="295544" y="79030"/>
                    <a:pt x="296187" y="84812"/>
                    <a:pt x="299399" y="89952"/>
                  </a:cubicBezTo>
                  <a:cubicBezTo>
                    <a:pt x="305824" y="99589"/>
                    <a:pt x="321244" y="105372"/>
                    <a:pt x="329596" y="106657"/>
                  </a:cubicBezTo>
                  <a:cubicBezTo>
                    <a:pt x="337948" y="107942"/>
                    <a:pt x="336663" y="109227"/>
                    <a:pt x="350156" y="113724"/>
                  </a:cubicBezTo>
                  <a:cubicBezTo>
                    <a:pt x="363648" y="117579"/>
                    <a:pt x="387420" y="117579"/>
                    <a:pt x="389347" y="117579"/>
                  </a:cubicBezTo>
                  <a:cubicBezTo>
                    <a:pt x="391275" y="117579"/>
                    <a:pt x="395130" y="132999"/>
                    <a:pt x="396415" y="136211"/>
                  </a:cubicBezTo>
                  <a:cubicBezTo>
                    <a:pt x="398342" y="139424"/>
                    <a:pt x="399627" y="149061"/>
                    <a:pt x="396415" y="152916"/>
                  </a:cubicBezTo>
                  <a:cubicBezTo>
                    <a:pt x="393202" y="156771"/>
                    <a:pt x="393845" y="165766"/>
                    <a:pt x="398342" y="170905"/>
                  </a:cubicBezTo>
                  <a:cubicBezTo>
                    <a:pt x="402840" y="176045"/>
                    <a:pt x="427897" y="222947"/>
                    <a:pt x="440104" y="230657"/>
                  </a:cubicBezTo>
                  <a:cubicBezTo>
                    <a:pt x="451669" y="238367"/>
                    <a:pt x="459378" y="242222"/>
                    <a:pt x="464518" y="238367"/>
                  </a:cubicBezTo>
                  <a:cubicBezTo>
                    <a:pt x="469658" y="234512"/>
                    <a:pt x="483151" y="230657"/>
                    <a:pt x="491503" y="230657"/>
                  </a:cubicBezTo>
                  <a:cubicBezTo>
                    <a:pt x="499855" y="230657"/>
                    <a:pt x="516560" y="235797"/>
                    <a:pt x="520415" y="239652"/>
                  </a:cubicBezTo>
                  <a:cubicBezTo>
                    <a:pt x="524270" y="243506"/>
                    <a:pt x="528767" y="258284"/>
                    <a:pt x="538404" y="258926"/>
                  </a:cubicBezTo>
                  <a:cubicBezTo>
                    <a:pt x="548042" y="259569"/>
                    <a:pt x="554466" y="250574"/>
                    <a:pt x="558964" y="251216"/>
                  </a:cubicBezTo>
                  <a:cubicBezTo>
                    <a:pt x="563461" y="251859"/>
                    <a:pt x="578239" y="266636"/>
                    <a:pt x="578239" y="266636"/>
                  </a:cubicBezTo>
                  <a:cubicBezTo>
                    <a:pt x="578239" y="266636"/>
                    <a:pt x="594943" y="269206"/>
                    <a:pt x="598798" y="274346"/>
                  </a:cubicBezTo>
                  <a:cubicBezTo>
                    <a:pt x="602653" y="279486"/>
                    <a:pt x="606508" y="294263"/>
                    <a:pt x="616788" y="294905"/>
                  </a:cubicBezTo>
                  <a:cubicBezTo>
                    <a:pt x="627068" y="295548"/>
                    <a:pt x="639275" y="294905"/>
                    <a:pt x="647627" y="297475"/>
                  </a:cubicBezTo>
                  <a:cubicBezTo>
                    <a:pt x="655337" y="300045"/>
                    <a:pt x="663689" y="297475"/>
                    <a:pt x="669472" y="297475"/>
                  </a:cubicBezTo>
                  <a:cubicBezTo>
                    <a:pt x="675254" y="297475"/>
                    <a:pt x="684249" y="295548"/>
                    <a:pt x="684249" y="287838"/>
                  </a:cubicBezTo>
                  <a:cubicBezTo>
                    <a:pt x="684249" y="280128"/>
                    <a:pt x="688104" y="274346"/>
                    <a:pt x="691959" y="269848"/>
                  </a:cubicBezTo>
                  <a:cubicBezTo>
                    <a:pt x="695814" y="265351"/>
                    <a:pt x="697099" y="258926"/>
                    <a:pt x="694529" y="256999"/>
                  </a:cubicBezTo>
                  <a:cubicBezTo>
                    <a:pt x="692601" y="255071"/>
                    <a:pt x="684249" y="251216"/>
                    <a:pt x="683606" y="247361"/>
                  </a:cubicBezTo>
                  <a:cubicBezTo>
                    <a:pt x="682964" y="244149"/>
                    <a:pt x="682322" y="239652"/>
                    <a:pt x="682322" y="233227"/>
                  </a:cubicBezTo>
                  <a:cubicBezTo>
                    <a:pt x="691959" y="235154"/>
                    <a:pt x="703524" y="235797"/>
                    <a:pt x="713161" y="239009"/>
                  </a:cubicBezTo>
                  <a:cubicBezTo>
                    <a:pt x="733721" y="245434"/>
                    <a:pt x="742715" y="262781"/>
                    <a:pt x="759420" y="279486"/>
                  </a:cubicBezTo>
                  <a:cubicBezTo>
                    <a:pt x="776125" y="296190"/>
                    <a:pt x="770342" y="292978"/>
                    <a:pt x="772270" y="304543"/>
                  </a:cubicBezTo>
                  <a:cubicBezTo>
                    <a:pt x="774197" y="316108"/>
                    <a:pt x="756850" y="319963"/>
                    <a:pt x="753638" y="325102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 61">
              <a:extLst>
                <a:ext uri="{FF2B5EF4-FFF2-40B4-BE49-F238E27FC236}">
                  <a16:creationId xmlns:a16="http://schemas.microsoft.com/office/drawing/2014/main" id="{7870C8A3-46CB-9871-94C6-AA5159F2A5CE}"/>
                </a:ext>
              </a:extLst>
            </p:cNvPr>
            <p:cNvSpPr/>
            <p:nvPr/>
          </p:nvSpPr>
          <p:spPr>
            <a:xfrm>
              <a:off x="2929197" y="3685363"/>
              <a:ext cx="772418" cy="627389"/>
            </a:xfrm>
            <a:custGeom>
              <a:avLst/>
              <a:gdLst>
                <a:gd name="connsiteX0" fmla="*/ 753638 w 772418"/>
                <a:gd name="connsiteY0" fmla="*/ 325102 h 627389"/>
                <a:gd name="connsiteX1" fmla="*/ 725368 w 772418"/>
                <a:gd name="connsiteY1" fmla="*/ 341165 h 627389"/>
                <a:gd name="connsiteX2" fmla="*/ 700954 w 772418"/>
                <a:gd name="connsiteY2" fmla="*/ 352087 h 627389"/>
                <a:gd name="connsiteX3" fmla="*/ 689389 w 772418"/>
                <a:gd name="connsiteY3" fmla="*/ 359797 h 627389"/>
                <a:gd name="connsiteX4" fmla="*/ 688104 w 772418"/>
                <a:gd name="connsiteY4" fmla="*/ 375216 h 627389"/>
                <a:gd name="connsiteX5" fmla="*/ 690031 w 772418"/>
                <a:gd name="connsiteY5" fmla="*/ 394491 h 627389"/>
                <a:gd name="connsiteX6" fmla="*/ 691959 w 772418"/>
                <a:gd name="connsiteY6" fmla="*/ 401558 h 627389"/>
                <a:gd name="connsiteX7" fmla="*/ 713161 w 772418"/>
                <a:gd name="connsiteY7" fmla="*/ 406698 h 627389"/>
                <a:gd name="connsiteX8" fmla="*/ 668187 w 772418"/>
                <a:gd name="connsiteY8" fmla="*/ 449745 h 627389"/>
                <a:gd name="connsiteX9" fmla="*/ 648270 w 772418"/>
                <a:gd name="connsiteY9" fmla="*/ 465164 h 627389"/>
                <a:gd name="connsiteX10" fmla="*/ 641202 w 772418"/>
                <a:gd name="connsiteY10" fmla="*/ 469662 h 627389"/>
                <a:gd name="connsiteX11" fmla="*/ 630280 w 772418"/>
                <a:gd name="connsiteY11" fmla="*/ 472232 h 627389"/>
                <a:gd name="connsiteX12" fmla="*/ 618715 w 772418"/>
                <a:gd name="connsiteY12" fmla="*/ 468377 h 627389"/>
                <a:gd name="connsiteX13" fmla="*/ 599441 w 772418"/>
                <a:gd name="connsiteY13" fmla="*/ 478014 h 627389"/>
                <a:gd name="connsiteX14" fmla="*/ 594301 w 772418"/>
                <a:gd name="connsiteY14" fmla="*/ 499216 h 627389"/>
                <a:gd name="connsiteX15" fmla="*/ 589803 w 772418"/>
                <a:gd name="connsiteY15" fmla="*/ 512709 h 627389"/>
                <a:gd name="connsiteX16" fmla="*/ 582736 w 772418"/>
                <a:gd name="connsiteY16" fmla="*/ 520418 h 627389"/>
                <a:gd name="connsiteX17" fmla="*/ 587876 w 772418"/>
                <a:gd name="connsiteY17" fmla="*/ 524916 h 627389"/>
                <a:gd name="connsiteX18" fmla="*/ 553182 w 772418"/>
                <a:gd name="connsiteY18" fmla="*/ 535196 h 627389"/>
                <a:gd name="connsiteX19" fmla="*/ 504353 w 772418"/>
                <a:gd name="connsiteY19" fmla="*/ 542263 h 627389"/>
                <a:gd name="connsiteX20" fmla="*/ 472871 w 772418"/>
                <a:gd name="connsiteY20" fmla="*/ 542263 h 627389"/>
                <a:gd name="connsiteX21" fmla="*/ 446529 w 772418"/>
                <a:gd name="connsiteY21" fmla="*/ 499216 h 627389"/>
                <a:gd name="connsiteX22" fmla="*/ 447171 w 772418"/>
                <a:gd name="connsiteY22" fmla="*/ 496004 h 627389"/>
                <a:gd name="connsiteX23" fmla="*/ 450384 w 772418"/>
                <a:gd name="connsiteY23" fmla="*/ 494076 h 627389"/>
                <a:gd name="connsiteX24" fmla="*/ 449741 w 772418"/>
                <a:gd name="connsiteY24" fmla="*/ 484439 h 627389"/>
                <a:gd name="connsiteX25" fmla="*/ 438819 w 772418"/>
                <a:gd name="connsiteY25" fmla="*/ 482512 h 627389"/>
                <a:gd name="connsiteX26" fmla="*/ 434321 w 772418"/>
                <a:gd name="connsiteY26" fmla="*/ 483797 h 627389"/>
                <a:gd name="connsiteX27" fmla="*/ 430467 w 772418"/>
                <a:gd name="connsiteY27" fmla="*/ 486367 h 627389"/>
                <a:gd name="connsiteX28" fmla="*/ 419544 w 772418"/>
                <a:gd name="connsiteY28" fmla="*/ 487009 h 627389"/>
                <a:gd name="connsiteX29" fmla="*/ 402840 w 772418"/>
                <a:gd name="connsiteY29" fmla="*/ 496647 h 627389"/>
                <a:gd name="connsiteX30" fmla="*/ 397700 w 772418"/>
                <a:gd name="connsiteY30" fmla="*/ 505641 h 627389"/>
                <a:gd name="connsiteX31" fmla="*/ 389990 w 772418"/>
                <a:gd name="connsiteY31" fmla="*/ 509496 h 627389"/>
                <a:gd name="connsiteX32" fmla="*/ 392560 w 772418"/>
                <a:gd name="connsiteY32" fmla="*/ 517206 h 627389"/>
                <a:gd name="connsiteX33" fmla="*/ 400270 w 772418"/>
                <a:gd name="connsiteY33" fmla="*/ 521703 h 627389"/>
                <a:gd name="connsiteX34" fmla="*/ 405410 w 772418"/>
                <a:gd name="connsiteY34" fmla="*/ 537766 h 627389"/>
                <a:gd name="connsiteX35" fmla="*/ 403482 w 772418"/>
                <a:gd name="connsiteY35" fmla="*/ 555113 h 627389"/>
                <a:gd name="connsiteX36" fmla="*/ 405410 w 772418"/>
                <a:gd name="connsiteY36" fmla="*/ 562823 h 627389"/>
                <a:gd name="connsiteX37" fmla="*/ 404767 w 772418"/>
                <a:gd name="connsiteY37" fmla="*/ 579527 h 627389"/>
                <a:gd name="connsiteX38" fmla="*/ 398342 w 772418"/>
                <a:gd name="connsiteY38" fmla="*/ 590450 h 627389"/>
                <a:gd name="connsiteX39" fmla="*/ 384850 w 772418"/>
                <a:gd name="connsiteY39" fmla="*/ 594304 h 627389"/>
                <a:gd name="connsiteX40" fmla="*/ 366218 w 772418"/>
                <a:gd name="connsiteY40" fmla="*/ 592377 h 627389"/>
                <a:gd name="connsiteX41" fmla="*/ 353368 w 772418"/>
                <a:gd name="connsiteY41" fmla="*/ 574387 h 627389"/>
                <a:gd name="connsiteX42" fmla="*/ 328311 w 772418"/>
                <a:gd name="connsiteY42" fmla="*/ 549973 h 627389"/>
                <a:gd name="connsiteX43" fmla="*/ 285264 w 772418"/>
                <a:gd name="connsiteY43" fmla="*/ 543548 h 627389"/>
                <a:gd name="connsiteX44" fmla="*/ 240933 w 772418"/>
                <a:gd name="connsiteY44" fmla="*/ 564108 h 627389"/>
                <a:gd name="connsiteX45" fmla="*/ 244788 w 772418"/>
                <a:gd name="connsiteY45" fmla="*/ 579527 h 627389"/>
                <a:gd name="connsiteX46" fmla="*/ 253782 w 772418"/>
                <a:gd name="connsiteY46" fmla="*/ 580170 h 627389"/>
                <a:gd name="connsiteX47" fmla="*/ 258280 w 772418"/>
                <a:gd name="connsiteY47" fmla="*/ 593662 h 627389"/>
                <a:gd name="connsiteX48" fmla="*/ 249928 w 772418"/>
                <a:gd name="connsiteY48" fmla="*/ 599445 h 627389"/>
                <a:gd name="connsiteX49" fmla="*/ 246073 w 772418"/>
                <a:gd name="connsiteY49" fmla="*/ 623859 h 627389"/>
                <a:gd name="connsiteX50" fmla="*/ 231295 w 772418"/>
                <a:gd name="connsiteY50" fmla="*/ 627071 h 627389"/>
                <a:gd name="connsiteX51" fmla="*/ 201741 w 772418"/>
                <a:gd name="connsiteY51" fmla="*/ 616149 h 627389"/>
                <a:gd name="connsiteX52" fmla="*/ 188891 w 772418"/>
                <a:gd name="connsiteY52" fmla="*/ 598159 h 627389"/>
                <a:gd name="connsiteX53" fmla="*/ 144560 w 772418"/>
                <a:gd name="connsiteY53" fmla="*/ 523631 h 627389"/>
                <a:gd name="connsiteX54" fmla="*/ 97016 w 772418"/>
                <a:gd name="connsiteY54" fmla="*/ 484439 h 627389"/>
                <a:gd name="connsiteX55" fmla="*/ 87378 w 772418"/>
                <a:gd name="connsiteY55" fmla="*/ 479299 h 627389"/>
                <a:gd name="connsiteX56" fmla="*/ 77098 w 772418"/>
                <a:gd name="connsiteY56" fmla="*/ 478014 h 627389"/>
                <a:gd name="connsiteX57" fmla="*/ 66176 w 772418"/>
                <a:gd name="connsiteY57" fmla="*/ 478014 h 627389"/>
                <a:gd name="connsiteX58" fmla="*/ 61036 w 772418"/>
                <a:gd name="connsiteY58" fmla="*/ 478657 h 627389"/>
                <a:gd name="connsiteX59" fmla="*/ 55896 w 772418"/>
                <a:gd name="connsiteY59" fmla="*/ 482512 h 627389"/>
                <a:gd name="connsiteX60" fmla="*/ 39192 w 772418"/>
                <a:gd name="connsiteY60" fmla="*/ 500501 h 627389"/>
                <a:gd name="connsiteX61" fmla="*/ 39192 w 772418"/>
                <a:gd name="connsiteY61" fmla="*/ 500501 h 627389"/>
                <a:gd name="connsiteX62" fmla="*/ 37264 w 772418"/>
                <a:gd name="connsiteY62" fmla="*/ 485082 h 627389"/>
                <a:gd name="connsiteX63" fmla="*/ 40477 w 772418"/>
                <a:gd name="connsiteY63" fmla="*/ 467735 h 627389"/>
                <a:gd name="connsiteX64" fmla="*/ 51399 w 772418"/>
                <a:gd name="connsiteY64" fmla="*/ 442035 h 627389"/>
                <a:gd name="connsiteX65" fmla="*/ 35337 w 772418"/>
                <a:gd name="connsiteY65" fmla="*/ 424045 h 627389"/>
                <a:gd name="connsiteX66" fmla="*/ 28269 w 772418"/>
                <a:gd name="connsiteY66" fmla="*/ 424045 h 627389"/>
                <a:gd name="connsiteX67" fmla="*/ 19275 w 772418"/>
                <a:gd name="connsiteY67" fmla="*/ 430470 h 627389"/>
                <a:gd name="connsiteX68" fmla="*/ 9637 w 772418"/>
                <a:gd name="connsiteY68" fmla="*/ 429185 h 627389"/>
                <a:gd name="connsiteX69" fmla="*/ 8995 w 772418"/>
                <a:gd name="connsiteY69" fmla="*/ 427258 h 627389"/>
                <a:gd name="connsiteX70" fmla="*/ 12850 w 772418"/>
                <a:gd name="connsiteY70" fmla="*/ 356584 h 627389"/>
                <a:gd name="connsiteX71" fmla="*/ 32767 w 772418"/>
                <a:gd name="connsiteY71" fmla="*/ 323175 h 627389"/>
                <a:gd name="connsiteX72" fmla="*/ 43047 w 772418"/>
                <a:gd name="connsiteY72" fmla="*/ 309040 h 627389"/>
                <a:gd name="connsiteX73" fmla="*/ 60394 w 772418"/>
                <a:gd name="connsiteY73" fmla="*/ 287838 h 627389"/>
                <a:gd name="connsiteX74" fmla="*/ 73886 w 772418"/>
                <a:gd name="connsiteY74" fmla="*/ 269206 h 627389"/>
                <a:gd name="connsiteX75" fmla="*/ 77741 w 772418"/>
                <a:gd name="connsiteY75" fmla="*/ 262139 h 627389"/>
                <a:gd name="connsiteX76" fmla="*/ 75171 w 772418"/>
                <a:gd name="connsiteY76" fmla="*/ 244149 h 627389"/>
                <a:gd name="connsiteX77" fmla="*/ 67461 w 772418"/>
                <a:gd name="connsiteY77" fmla="*/ 234512 h 627389"/>
                <a:gd name="connsiteX78" fmla="*/ 61679 w 772418"/>
                <a:gd name="connsiteY78" fmla="*/ 221662 h 627389"/>
                <a:gd name="connsiteX79" fmla="*/ 50114 w 772418"/>
                <a:gd name="connsiteY79" fmla="*/ 191465 h 627389"/>
                <a:gd name="connsiteX80" fmla="*/ 41762 w 772418"/>
                <a:gd name="connsiteY80" fmla="*/ 177330 h 627389"/>
                <a:gd name="connsiteX81" fmla="*/ 25699 w 772418"/>
                <a:gd name="connsiteY81" fmla="*/ 168978 h 627389"/>
                <a:gd name="connsiteX82" fmla="*/ 7710 w 772418"/>
                <a:gd name="connsiteY82" fmla="*/ 147133 h 627389"/>
                <a:gd name="connsiteX83" fmla="*/ 643 w 772418"/>
                <a:gd name="connsiteY83" fmla="*/ 120149 h 627389"/>
                <a:gd name="connsiteX84" fmla="*/ 0 w 772418"/>
                <a:gd name="connsiteY84" fmla="*/ 116936 h 627389"/>
                <a:gd name="connsiteX85" fmla="*/ 4497 w 772418"/>
                <a:gd name="connsiteY85" fmla="*/ 119506 h 627389"/>
                <a:gd name="connsiteX86" fmla="*/ 35337 w 772418"/>
                <a:gd name="connsiteY86" fmla="*/ 104729 h 627389"/>
                <a:gd name="connsiteX87" fmla="*/ 59109 w 772418"/>
                <a:gd name="connsiteY87" fmla="*/ 98947 h 627389"/>
                <a:gd name="connsiteX88" fmla="*/ 64249 w 772418"/>
                <a:gd name="connsiteY88" fmla="*/ 90594 h 627389"/>
                <a:gd name="connsiteX89" fmla="*/ 84166 w 772418"/>
                <a:gd name="connsiteY89" fmla="*/ 82885 h 627389"/>
                <a:gd name="connsiteX90" fmla="*/ 111793 w 772418"/>
                <a:gd name="connsiteY90" fmla="*/ 62968 h 627389"/>
                <a:gd name="connsiteX91" fmla="*/ 169617 w 772418"/>
                <a:gd name="connsiteY91" fmla="*/ 37268 h 627389"/>
                <a:gd name="connsiteX92" fmla="*/ 197886 w 772418"/>
                <a:gd name="connsiteY92" fmla="*/ 22491 h 627389"/>
                <a:gd name="connsiteX93" fmla="*/ 218446 w 772418"/>
                <a:gd name="connsiteY93" fmla="*/ 3216 h 627389"/>
                <a:gd name="connsiteX94" fmla="*/ 234508 w 772418"/>
                <a:gd name="connsiteY94" fmla="*/ 3859 h 627389"/>
                <a:gd name="connsiteX95" fmla="*/ 267917 w 772418"/>
                <a:gd name="connsiteY95" fmla="*/ 3859 h 627389"/>
                <a:gd name="connsiteX96" fmla="*/ 278197 w 772418"/>
                <a:gd name="connsiteY96" fmla="*/ 10926 h 627389"/>
                <a:gd name="connsiteX97" fmla="*/ 289762 w 772418"/>
                <a:gd name="connsiteY97" fmla="*/ 18636 h 627389"/>
                <a:gd name="connsiteX98" fmla="*/ 292974 w 772418"/>
                <a:gd name="connsiteY98" fmla="*/ 20563 h 627389"/>
                <a:gd name="connsiteX99" fmla="*/ 294259 w 772418"/>
                <a:gd name="connsiteY99" fmla="*/ 21848 h 627389"/>
                <a:gd name="connsiteX100" fmla="*/ 298114 w 772418"/>
                <a:gd name="connsiteY100" fmla="*/ 28273 h 627389"/>
                <a:gd name="connsiteX101" fmla="*/ 291047 w 772418"/>
                <a:gd name="connsiteY101" fmla="*/ 32128 h 627389"/>
                <a:gd name="connsiteX102" fmla="*/ 286549 w 772418"/>
                <a:gd name="connsiteY102" fmla="*/ 41123 h 627389"/>
                <a:gd name="connsiteX103" fmla="*/ 294902 w 772418"/>
                <a:gd name="connsiteY103" fmla="*/ 73247 h 627389"/>
                <a:gd name="connsiteX104" fmla="*/ 299399 w 772418"/>
                <a:gd name="connsiteY104" fmla="*/ 89952 h 627389"/>
                <a:gd name="connsiteX105" fmla="*/ 329596 w 772418"/>
                <a:gd name="connsiteY105" fmla="*/ 106657 h 627389"/>
                <a:gd name="connsiteX106" fmla="*/ 350156 w 772418"/>
                <a:gd name="connsiteY106" fmla="*/ 113724 h 627389"/>
                <a:gd name="connsiteX107" fmla="*/ 389347 w 772418"/>
                <a:gd name="connsiteY107" fmla="*/ 117579 h 627389"/>
                <a:gd name="connsiteX108" fmla="*/ 396415 w 772418"/>
                <a:gd name="connsiteY108" fmla="*/ 136211 h 627389"/>
                <a:gd name="connsiteX109" fmla="*/ 396415 w 772418"/>
                <a:gd name="connsiteY109" fmla="*/ 152916 h 627389"/>
                <a:gd name="connsiteX110" fmla="*/ 398342 w 772418"/>
                <a:gd name="connsiteY110" fmla="*/ 170905 h 627389"/>
                <a:gd name="connsiteX111" fmla="*/ 440104 w 772418"/>
                <a:gd name="connsiteY111" fmla="*/ 230657 h 627389"/>
                <a:gd name="connsiteX112" fmla="*/ 464518 w 772418"/>
                <a:gd name="connsiteY112" fmla="*/ 238367 h 627389"/>
                <a:gd name="connsiteX113" fmla="*/ 491503 w 772418"/>
                <a:gd name="connsiteY113" fmla="*/ 230657 h 627389"/>
                <a:gd name="connsiteX114" fmla="*/ 520415 w 772418"/>
                <a:gd name="connsiteY114" fmla="*/ 239652 h 627389"/>
                <a:gd name="connsiteX115" fmla="*/ 538404 w 772418"/>
                <a:gd name="connsiteY115" fmla="*/ 258926 h 627389"/>
                <a:gd name="connsiteX116" fmla="*/ 558964 w 772418"/>
                <a:gd name="connsiteY116" fmla="*/ 251216 h 627389"/>
                <a:gd name="connsiteX117" fmla="*/ 578239 w 772418"/>
                <a:gd name="connsiteY117" fmla="*/ 266636 h 627389"/>
                <a:gd name="connsiteX118" fmla="*/ 598798 w 772418"/>
                <a:gd name="connsiteY118" fmla="*/ 274346 h 627389"/>
                <a:gd name="connsiteX119" fmla="*/ 616788 w 772418"/>
                <a:gd name="connsiteY119" fmla="*/ 294905 h 627389"/>
                <a:gd name="connsiteX120" fmla="*/ 647627 w 772418"/>
                <a:gd name="connsiteY120" fmla="*/ 297475 h 627389"/>
                <a:gd name="connsiteX121" fmla="*/ 669472 w 772418"/>
                <a:gd name="connsiteY121" fmla="*/ 297475 h 627389"/>
                <a:gd name="connsiteX122" fmla="*/ 684249 w 772418"/>
                <a:gd name="connsiteY122" fmla="*/ 287838 h 627389"/>
                <a:gd name="connsiteX123" fmla="*/ 691959 w 772418"/>
                <a:gd name="connsiteY123" fmla="*/ 269848 h 627389"/>
                <a:gd name="connsiteX124" fmla="*/ 694529 w 772418"/>
                <a:gd name="connsiteY124" fmla="*/ 256999 h 627389"/>
                <a:gd name="connsiteX125" fmla="*/ 683606 w 772418"/>
                <a:gd name="connsiteY125" fmla="*/ 247361 h 627389"/>
                <a:gd name="connsiteX126" fmla="*/ 682322 w 772418"/>
                <a:gd name="connsiteY126" fmla="*/ 233227 h 627389"/>
                <a:gd name="connsiteX127" fmla="*/ 713161 w 772418"/>
                <a:gd name="connsiteY127" fmla="*/ 239009 h 627389"/>
                <a:gd name="connsiteX128" fmla="*/ 759420 w 772418"/>
                <a:gd name="connsiteY128" fmla="*/ 279486 h 627389"/>
                <a:gd name="connsiteX129" fmla="*/ 772270 w 772418"/>
                <a:gd name="connsiteY129" fmla="*/ 304543 h 627389"/>
                <a:gd name="connsiteX130" fmla="*/ 753638 w 772418"/>
                <a:gd name="connsiteY130" fmla="*/ 325102 h 62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772418" h="627389">
                  <a:moveTo>
                    <a:pt x="753638" y="325102"/>
                  </a:moveTo>
                  <a:cubicBezTo>
                    <a:pt x="750425" y="330242"/>
                    <a:pt x="732436" y="337310"/>
                    <a:pt x="725368" y="341165"/>
                  </a:cubicBezTo>
                  <a:cubicBezTo>
                    <a:pt x="717658" y="345019"/>
                    <a:pt x="700954" y="352087"/>
                    <a:pt x="700954" y="352087"/>
                  </a:cubicBezTo>
                  <a:cubicBezTo>
                    <a:pt x="695814" y="354014"/>
                    <a:pt x="691959" y="355299"/>
                    <a:pt x="689389" y="359797"/>
                  </a:cubicBezTo>
                  <a:cubicBezTo>
                    <a:pt x="686819" y="364294"/>
                    <a:pt x="687461" y="370076"/>
                    <a:pt x="688104" y="375216"/>
                  </a:cubicBezTo>
                  <a:cubicBezTo>
                    <a:pt x="688746" y="381641"/>
                    <a:pt x="689389" y="388066"/>
                    <a:pt x="690031" y="394491"/>
                  </a:cubicBezTo>
                  <a:cubicBezTo>
                    <a:pt x="690031" y="397061"/>
                    <a:pt x="690674" y="399631"/>
                    <a:pt x="691959" y="401558"/>
                  </a:cubicBezTo>
                  <a:cubicBezTo>
                    <a:pt x="696456" y="407341"/>
                    <a:pt x="706736" y="402843"/>
                    <a:pt x="713161" y="406698"/>
                  </a:cubicBezTo>
                  <a:cubicBezTo>
                    <a:pt x="701596" y="424045"/>
                    <a:pt x="684892" y="436895"/>
                    <a:pt x="668187" y="449745"/>
                  </a:cubicBezTo>
                  <a:cubicBezTo>
                    <a:pt x="661762" y="454885"/>
                    <a:pt x="655337" y="460025"/>
                    <a:pt x="648270" y="465164"/>
                  </a:cubicBezTo>
                  <a:cubicBezTo>
                    <a:pt x="646342" y="467092"/>
                    <a:pt x="643772" y="468377"/>
                    <a:pt x="641202" y="469662"/>
                  </a:cubicBezTo>
                  <a:cubicBezTo>
                    <a:pt x="637990" y="471589"/>
                    <a:pt x="634135" y="472874"/>
                    <a:pt x="630280" y="472232"/>
                  </a:cubicBezTo>
                  <a:cubicBezTo>
                    <a:pt x="626425" y="471589"/>
                    <a:pt x="622570" y="469662"/>
                    <a:pt x="618715" y="468377"/>
                  </a:cubicBezTo>
                  <a:cubicBezTo>
                    <a:pt x="611005" y="466450"/>
                    <a:pt x="603296" y="471589"/>
                    <a:pt x="599441" y="478014"/>
                  </a:cubicBezTo>
                  <a:cubicBezTo>
                    <a:pt x="595586" y="484439"/>
                    <a:pt x="594943" y="491507"/>
                    <a:pt x="594301" y="499216"/>
                  </a:cubicBezTo>
                  <a:cubicBezTo>
                    <a:pt x="593658" y="504356"/>
                    <a:pt x="593658" y="509496"/>
                    <a:pt x="589803" y="512709"/>
                  </a:cubicBezTo>
                  <a:cubicBezTo>
                    <a:pt x="587233" y="515279"/>
                    <a:pt x="582736" y="517206"/>
                    <a:pt x="582736" y="520418"/>
                  </a:cubicBezTo>
                  <a:cubicBezTo>
                    <a:pt x="582736" y="522988"/>
                    <a:pt x="585306" y="524273"/>
                    <a:pt x="587876" y="524916"/>
                  </a:cubicBezTo>
                  <a:cubicBezTo>
                    <a:pt x="587876" y="524916"/>
                    <a:pt x="586591" y="529413"/>
                    <a:pt x="553182" y="535196"/>
                  </a:cubicBezTo>
                  <a:cubicBezTo>
                    <a:pt x="519772" y="541621"/>
                    <a:pt x="513990" y="538408"/>
                    <a:pt x="504353" y="542263"/>
                  </a:cubicBezTo>
                  <a:cubicBezTo>
                    <a:pt x="495358" y="546118"/>
                    <a:pt x="481865" y="548688"/>
                    <a:pt x="472871" y="542263"/>
                  </a:cubicBezTo>
                  <a:cubicBezTo>
                    <a:pt x="457451" y="531983"/>
                    <a:pt x="448456" y="517206"/>
                    <a:pt x="446529" y="499216"/>
                  </a:cubicBezTo>
                  <a:cubicBezTo>
                    <a:pt x="446529" y="497931"/>
                    <a:pt x="446529" y="497289"/>
                    <a:pt x="447171" y="496004"/>
                  </a:cubicBezTo>
                  <a:cubicBezTo>
                    <a:pt x="447814" y="494719"/>
                    <a:pt x="449099" y="494719"/>
                    <a:pt x="450384" y="494076"/>
                  </a:cubicBezTo>
                  <a:cubicBezTo>
                    <a:pt x="453596" y="492149"/>
                    <a:pt x="452311" y="487009"/>
                    <a:pt x="449741" y="484439"/>
                  </a:cubicBezTo>
                  <a:cubicBezTo>
                    <a:pt x="446529" y="481869"/>
                    <a:pt x="442674" y="481869"/>
                    <a:pt x="438819" y="482512"/>
                  </a:cubicBezTo>
                  <a:cubicBezTo>
                    <a:pt x="436891" y="482512"/>
                    <a:pt x="435606" y="483154"/>
                    <a:pt x="434321" y="483797"/>
                  </a:cubicBezTo>
                  <a:cubicBezTo>
                    <a:pt x="433036" y="484439"/>
                    <a:pt x="432394" y="485724"/>
                    <a:pt x="430467" y="486367"/>
                  </a:cubicBezTo>
                  <a:cubicBezTo>
                    <a:pt x="427254" y="488294"/>
                    <a:pt x="423399" y="487009"/>
                    <a:pt x="419544" y="487009"/>
                  </a:cubicBezTo>
                  <a:cubicBezTo>
                    <a:pt x="412477" y="486367"/>
                    <a:pt x="405410" y="490864"/>
                    <a:pt x="402840" y="496647"/>
                  </a:cubicBezTo>
                  <a:cubicBezTo>
                    <a:pt x="401555" y="499859"/>
                    <a:pt x="400912" y="503714"/>
                    <a:pt x="397700" y="505641"/>
                  </a:cubicBezTo>
                  <a:cubicBezTo>
                    <a:pt x="395130" y="507569"/>
                    <a:pt x="391275" y="507569"/>
                    <a:pt x="389990" y="509496"/>
                  </a:cubicBezTo>
                  <a:cubicBezTo>
                    <a:pt x="388705" y="512066"/>
                    <a:pt x="389990" y="515279"/>
                    <a:pt x="392560" y="517206"/>
                  </a:cubicBezTo>
                  <a:cubicBezTo>
                    <a:pt x="395130" y="519134"/>
                    <a:pt x="397700" y="519776"/>
                    <a:pt x="400270" y="521703"/>
                  </a:cubicBezTo>
                  <a:cubicBezTo>
                    <a:pt x="404767" y="525558"/>
                    <a:pt x="406052" y="531983"/>
                    <a:pt x="405410" y="537766"/>
                  </a:cubicBezTo>
                  <a:cubicBezTo>
                    <a:pt x="404767" y="543548"/>
                    <a:pt x="402840" y="549330"/>
                    <a:pt x="403482" y="555113"/>
                  </a:cubicBezTo>
                  <a:cubicBezTo>
                    <a:pt x="403482" y="557683"/>
                    <a:pt x="404767" y="560253"/>
                    <a:pt x="405410" y="562823"/>
                  </a:cubicBezTo>
                  <a:cubicBezTo>
                    <a:pt x="406694" y="568605"/>
                    <a:pt x="406052" y="574387"/>
                    <a:pt x="404767" y="579527"/>
                  </a:cubicBezTo>
                  <a:cubicBezTo>
                    <a:pt x="403482" y="583382"/>
                    <a:pt x="401555" y="587880"/>
                    <a:pt x="398342" y="590450"/>
                  </a:cubicBezTo>
                  <a:cubicBezTo>
                    <a:pt x="394487" y="593020"/>
                    <a:pt x="389347" y="593662"/>
                    <a:pt x="384850" y="594304"/>
                  </a:cubicBezTo>
                  <a:cubicBezTo>
                    <a:pt x="378425" y="594947"/>
                    <a:pt x="372000" y="595590"/>
                    <a:pt x="366218" y="592377"/>
                  </a:cubicBezTo>
                  <a:cubicBezTo>
                    <a:pt x="359150" y="588522"/>
                    <a:pt x="356580" y="580812"/>
                    <a:pt x="353368" y="574387"/>
                  </a:cubicBezTo>
                  <a:cubicBezTo>
                    <a:pt x="347586" y="564108"/>
                    <a:pt x="339233" y="555755"/>
                    <a:pt x="328311" y="549973"/>
                  </a:cubicBezTo>
                  <a:cubicBezTo>
                    <a:pt x="315461" y="543548"/>
                    <a:pt x="299399" y="541621"/>
                    <a:pt x="285264" y="543548"/>
                  </a:cubicBezTo>
                  <a:cubicBezTo>
                    <a:pt x="270487" y="545475"/>
                    <a:pt x="247358" y="549330"/>
                    <a:pt x="240933" y="564108"/>
                  </a:cubicBezTo>
                  <a:cubicBezTo>
                    <a:pt x="238363" y="569248"/>
                    <a:pt x="239005" y="577600"/>
                    <a:pt x="244788" y="579527"/>
                  </a:cubicBezTo>
                  <a:cubicBezTo>
                    <a:pt x="247358" y="580170"/>
                    <a:pt x="251213" y="579527"/>
                    <a:pt x="253782" y="580170"/>
                  </a:cubicBezTo>
                  <a:cubicBezTo>
                    <a:pt x="259565" y="581455"/>
                    <a:pt x="262135" y="589165"/>
                    <a:pt x="258280" y="593662"/>
                  </a:cubicBezTo>
                  <a:cubicBezTo>
                    <a:pt x="255710" y="596232"/>
                    <a:pt x="251855" y="596874"/>
                    <a:pt x="249928" y="599445"/>
                  </a:cubicBezTo>
                  <a:cubicBezTo>
                    <a:pt x="244145" y="605869"/>
                    <a:pt x="251855" y="617434"/>
                    <a:pt x="246073" y="623859"/>
                  </a:cubicBezTo>
                  <a:cubicBezTo>
                    <a:pt x="242860" y="627714"/>
                    <a:pt x="236435" y="627714"/>
                    <a:pt x="231295" y="627071"/>
                  </a:cubicBezTo>
                  <a:cubicBezTo>
                    <a:pt x="220373" y="625786"/>
                    <a:pt x="209451" y="623216"/>
                    <a:pt x="201741" y="616149"/>
                  </a:cubicBezTo>
                  <a:cubicBezTo>
                    <a:pt x="195959" y="611652"/>
                    <a:pt x="192104" y="605227"/>
                    <a:pt x="188891" y="598159"/>
                  </a:cubicBezTo>
                  <a:cubicBezTo>
                    <a:pt x="174757" y="573102"/>
                    <a:pt x="163834" y="545475"/>
                    <a:pt x="144560" y="523631"/>
                  </a:cubicBezTo>
                  <a:cubicBezTo>
                    <a:pt x="131067" y="508211"/>
                    <a:pt x="113720" y="496004"/>
                    <a:pt x="97016" y="484439"/>
                  </a:cubicBezTo>
                  <a:cubicBezTo>
                    <a:pt x="93803" y="482512"/>
                    <a:pt x="91233" y="479942"/>
                    <a:pt x="87378" y="479299"/>
                  </a:cubicBezTo>
                  <a:cubicBezTo>
                    <a:pt x="84166" y="478014"/>
                    <a:pt x="80311" y="478014"/>
                    <a:pt x="77098" y="478014"/>
                  </a:cubicBezTo>
                  <a:cubicBezTo>
                    <a:pt x="73244" y="478014"/>
                    <a:pt x="69389" y="478014"/>
                    <a:pt x="66176" y="478014"/>
                  </a:cubicBezTo>
                  <a:cubicBezTo>
                    <a:pt x="64249" y="478014"/>
                    <a:pt x="62964" y="478014"/>
                    <a:pt x="61036" y="478657"/>
                  </a:cubicBezTo>
                  <a:cubicBezTo>
                    <a:pt x="59109" y="479299"/>
                    <a:pt x="57181" y="481227"/>
                    <a:pt x="55896" y="482512"/>
                  </a:cubicBezTo>
                  <a:cubicBezTo>
                    <a:pt x="50114" y="488294"/>
                    <a:pt x="44974" y="494719"/>
                    <a:pt x="39192" y="500501"/>
                  </a:cubicBezTo>
                  <a:lnTo>
                    <a:pt x="39192" y="500501"/>
                  </a:lnTo>
                  <a:cubicBezTo>
                    <a:pt x="39834" y="498574"/>
                    <a:pt x="37264" y="487009"/>
                    <a:pt x="37264" y="485082"/>
                  </a:cubicBezTo>
                  <a:cubicBezTo>
                    <a:pt x="37264" y="479299"/>
                    <a:pt x="38549" y="473517"/>
                    <a:pt x="40477" y="467735"/>
                  </a:cubicBezTo>
                  <a:cubicBezTo>
                    <a:pt x="44332" y="458097"/>
                    <a:pt x="52684" y="453600"/>
                    <a:pt x="51399" y="442035"/>
                  </a:cubicBezTo>
                  <a:cubicBezTo>
                    <a:pt x="50756" y="433683"/>
                    <a:pt x="43689" y="425973"/>
                    <a:pt x="35337" y="424045"/>
                  </a:cubicBezTo>
                  <a:cubicBezTo>
                    <a:pt x="33409" y="423403"/>
                    <a:pt x="30839" y="423403"/>
                    <a:pt x="28269" y="424045"/>
                  </a:cubicBezTo>
                  <a:cubicBezTo>
                    <a:pt x="24414" y="425330"/>
                    <a:pt x="21845" y="428543"/>
                    <a:pt x="19275" y="430470"/>
                  </a:cubicBezTo>
                  <a:cubicBezTo>
                    <a:pt x="16062" y="432398"/>
                    <a:pt x="10922" y="433040"/>
                    <a:pt x="9637" y="429185"/>
                  </a:cubicBezTo>
                  <a:cubicBezTo>
                    <a:pt x="9637" y="428543"/>
                    <a:pt x="9637" y="427900"/>
                    <a:pt x="8995" y="427258"/>
                  </a:cubicBezTo>
                  <a:cubicBezTo>
                    <a:pt x="7067" y="403486"/>
                    <a:pt x="4497" y="379071"/>
                    <a:pt x="12850" y="356584"/>
                  </a:cubicBezTo>
                  <a:cubicBezTo>
                    <a:pt x="17347" y="344377"/>
                    <a:pt x="25057" y="333455"/>
                    <a:pt x="32767" y="323175"/>
                  </a:cubicBezTo>
                  <a:cubicBezTo>
                    <a:pt x="35979" y="318677"/>
                    <a:pt x="39834" y="313538"/>
                    <a:pt x="43047" y="309040"/>
                  </a:cubicBezTo>
                  <a:cubicBezTo>
                    <a:pt x="48829" y="301973"/>
                    <a:pt x="54611" y="294905"/>
                    <a:pt x="60394" y="287838"/>
                  </a:cubicBezTo>
                  <a:cubicBezTo>
                    <a:pt x="65534" y="282056"/>
                    <a:pt x="70031" y="275631"/>
                    <a:pt x="73886" y="269206"/>
                  </a:cubicBezTo>
                  <a:cubicBezTo>
                    <a:pt x="75171" y="267278"/>
                    <a:pt x="76456" y="264709"/>
                    <a:pt x="77741" y="262139"/>
                  </a:cubicBezTo>
                  <a:cubicBezTo>
                    <a:pt x="79668" y="256356"/>
                    <a:pt x="78384" y="249931"/>
                    <a:pt x="75171" y="244149"/>
                  </a:cubicBezTo>
                  <a:cubicBezTo>
                    <a:pt x="73244" y="240294"/>
                    <a:pt x="70031" y="237724"/>
                    <a:pt x="67461" y="234512"/>
                  </a:cubicBezTo>
                  <a:cubicBezTo>
                    <a:pt x="64249" y="230657"/>
                    <a:pt x="62964" y="226159"/>
                    <a:pt x="61679" y="221662"/>
                  </a:cubicBezTo>
                  <a:cubicBezTo>
                    <a:pt x="57824" y="211382"/>
                    <a:pt x="53969" y="201745"/>
                    <a:pt x="50114" y="191465"/>
                  </a:cubicBezTo>
                  <a:cubicBezTo>
                    <a:pt x="48187" y="186325"/>
                    <a:pt x="46259" y="181185"/>
                    <a:pt x="41762" y="177330"/>
                  </a:cubicBezTo>
                  <a:cubicBezTo>
                    <a:pt x="37264" y="173475"/>
                    <a:pt x="31482" y="171548"/>
                    <a:pt x="25699" y="168978"/>
                  </a:cubicBezTo>
                  <a:cubicBezTo>
                    <a:pt x="17347" y="164481"/>
                    <a:pt x="10922" y="156128"/>
                    <a:pt x="7710" y="147133"/>
                  </a:cubicBezTo>
                  <a:cubicBezTo>
                    <a:pt x="3855" y="138138"/>
                    <a:pt x="2570" y="129144"/>
                    <a:pt x="643" y="120149"/>
                  </a:cubicBezTo>
                  <a:cubicBezTo>
                    <a:pt x="643" y="118864"/>
                    <a:pt x="0" y="118221"/>
                    <a:pt x="0" y="116936"/>
                  </a:cubicBezTo>
                  <a:cubicBezTo>
                    <a:pt x="1285" y="117579"/>
                    <a:pt x="3212" y="118221"/>
                    <a:pt x="4497" y="119506"/>
                  </a:cubicBezTo>
                  <a:cubicBezTo>
                    <a:pt x="12207" y="111154"/>
                    <a:pt x="23772" y="106014"/>
                    <a:pt x="35337" y="104729"/>
                  </a:cubicBezTo>
                  <a:cubicBezTo>
                    <a:pt x="43689" y="104087"/>
                    <a:pt x="53969" y="104729"/>
                    <a:pt x="59109" y="98947"/>
                  </a:cubicBezTo>
                  <a:cubicBezTo>
                    <a:pt x="61036" y="96377"/>
                    <a:pt x="62321" y="93164"/>
                    <a:pt x="64249" y="90594"/>
                  </a:cubicBezTo>
                  <a:cubicBezTo>
                    <a:pt x="68746" y="85455"/>
                    <a:pt x="77098" y="84812"/>
                    <a:pt x="84166" y="82885"/>
                  </a:cubicBezTo>
                  <a:cubicBezTo>
                    <a:pt x="95088" y="79030"/>
                    <a:pt x="102798" y="70035"/>
                    <a:pt x="111793" y="62968"/>
                  </a:cubicBezTo>
                  <a:cubicBezTo>
                    <a:pt x="128497" y="50118"/>
                    <a:pt x="150342" y="45620"/>
                    <a:pt x="169617" y="37268"/>
                  </a:cubicBezTo>
                  <a:cubicBezTo>
                    <a:pt x="179254" y="32771"/>
                    <a:pt x="188891" y="27631"/>
                    <a:pt x="197886" y="22491"/>
                  </a:cubicBezTo>
                  <a:cubicBezTo>
                    <a:pt x="205596" y="17993"/>
                    <a:pt x="215876" y="11569"/>
                    <a:pt x="218446" y="3216"/>
                  </a:cubicBezTo>
                  <a:cubicBezTo>
                    <a:pt x="224871" y="3216"/>
                    <a:pt x="231938" y="3216"/>
                    <a:pt x="234508" y="3859"/>
                  </a:cubicBezTo>
                  <a:cubicBezTo>
                    <a:pt x="240290" y="4501"/>
                    <a:pt x="258280" y="-5136"/>
                    <a:pt x="267917" y="3859"/>
                  </a:cubicBezTo>
                  <a:cubicBezTo>
                    <a:pt x="271130" y="6429"/>
                    <a:pt x="274985" y="8356"/>
                    <a:pt x="278197" y="10926"/>
                  </a:cubicBezTo>
                  <a:cubicBezTo>
                    <a:pt x="282052" y="13496"/>
                    <a:pt x="285264" y="16708"/>
                    <a:pt x="289762" y="18636"/>
                  </a:cubicBezTo>
                  <a:cubicBezTo>
                    <a:pt x="291047" y="19278"/>
                    <a:pt x="292332" y="19921"/>
                    <a:pt x="292974" y="20563"/>
                  </a:cubicBezTo>
                  <a:cubicBezTo>
                    <a:pt x="293617" y="21206"/>
                    <a:pt x="293617" y="21206"/>
                    <a:pt x="294259" y="21848"/>
                  </a:cubicBezTo>
                  <a:cubicBezTo>
                    <a:pt x="295544" y="23776"/>
                    <a:pt x="299399" y="25703"/>
                    <a:pt x="298114" y="28273"/>
                  </a:cubicBezTo>
                  <a:cubicBezTo>
                    <a:pt x="297472" y="30201"/>
                    <a:pt x="292974" y="30843"/>
                    <a:pt x="291047" y="32128"/>
                  </a:cubicBezTo>
                  <a:cubicBezTo>
                    <a:pt x="287192" y="34698"/>
                    <a:pt x="286549" y="37268"/>
                    <a:pt x="286549" y="41123"/>
                  </a:cubicBezTo>
                  <a:cubicBezTo>
                    <a:pt x="287192" y="52045"/>
                    <a:pt x="293617" y="62325"/>
                    <a:pt x="294902" y="73247"/>
                  </a:cubicBezTo>
                  <a:cubicBezTo>
                    <a:pt x="295544" y="79030"/>
                    <a:pt x="296187" y="84812"/>
                    <a:pt x="299399" y="89952"/>
                  </a:cubicBezTo>
                  <a:cubicBezTo>
                    <a:pt x="305824" y="99589"/>
                    <a:pt x="321244" y="105372"/>
                    <a:pt x="329596" y="106657"/>
                  </a:cubicBezTo>
                  <a:cubicBezTo>
                    <a:pt x="337948" y="107942"/>
                    <a:pt x="336663" y="109227"/>
                    <a:pt x="350156" y="113724"/>
                  </a:cubicBezTo>
                  <a:cubicBezTo>
                    <a:pt x="363648" y="117579"/>
                    <a:pt x="387420" y="117579"/>
                    <a:pt x="389347" y="117579"/>
                  </a:cubicBezTo>
                  <a:cubicBezTo>
                    <a:pt x="391275" y="117579"/>
                    <a:pt x="395130" y="132999"/>
                    <a:pt x="396415" y="136211"/>
                  </a:cubicBezTo>
                  <a:cubicBezTo>
                    <a:pt x="398342" y="139424"/>
                    <a:pt x="399627" y="149061"/>
                    <a:pt x="396415" y="152916"/>
                  </a:cubicBezTo>
                  <a:cubicBezTo>
                    <a:pt x="393202" y="156771"/>
                    <a:pt x="393845" y="165766"/>
                    <a:pt x="398342" y="170905"/>
                  </a:cubicBezTo>
                  <a:cubicBezTo>
                    <a:pt x="402840" y="176045"/>
                    <a:pt x="427897" y="222947"/>
                    <a:pt x="440104" y="230657"/>
                  </a:cubicBezTo>
                  <a:cubicBezTo>
                    <a:pt x="451669" y="238367"/>
                    <a:pt x="459378" y="242222"/>
                    <a:pt x="464518" y="238367"/>
                  </a:cubicBezTo>
                  <a:cubicBezTo>
                    <a:pt x="469658" y="234512"/>
                    <a:pt x="483151" y="230657"/>
                    <a:pt x="491503" y="230657"/>
                  </a:cubicBezTo>
                  <a:cubicBezTo>
                    <a:pt x="499855" y="230657"/>
                    <a:pt x="516560" y="235797"/>
                    <a:pt x="520415" y="239652"/>
                  </a:cubicBezTo>
                  <a:cubicBezTo>
                    <a:pt x="524270" y="243506"/>
                    <a:pt x="528767" y="258284"/>
                    <a:pt x="538404" y="258926"/>
                  </a:cubicBezTo>
                  <a:cubicBezTo>
                    <a:pt x="548042" y="259569"/>
                    <a:pt x="554466" y="250574"/>
                    <a:pt x="558964" y="251216"/>
                  </a:cubicBezTo>
                  <a:cubicBezTo>
                    <a:pt x="563461" y="251859"/>
                    <a:pt x="578239" y="266636"/>
                    <a:pt x="578239" y="266636"/>
                  </a:cubicBezTo>
                  <a:cubicBezTo>
                    <a:pt x="578239" y="266636"/>
                    <a:pt x="594943" y="269206"/>
                    <a:pt x="598798" y="274346"/>
                  </a:cubicBezTo>
                  <a:cubicBezTo>
                    <a:pt x="602653" y="279486"/>
                    <a:pt x="606508" y="294263"/>
                    <a:pt x="616788" y="294905"/>
                  </a:cubicBezTo>
                  <a:cubicBezTo>
                    <a:pt x="627068" y="295548"/>
                    <a:pt x="639275" y="294905"/>
                    <a:pt x="647627" y="297475"/>
                  </a:cubicBezTo>
                  <a:cubicBezTo>
                    <a:pt x="655337" y="300045"/>
                    <a:pt x="663689" y="297475"/>
                    <a:pt x="669472" y="297475"/>
                  </a:cubicBezTo>
                  <a:cubicBezTo>
                    <a:pt x="675254" y="297475"/>
                    <a:pt x="684249" y="295548"/>
                    <a:pt x="684249" y="287838"/>
                  </a:cubicBezTo>
                  <a:cubicBezTo>
                    <a:pt x="684249" y="280128"/>
                    <a:pt x="688104" y="274346"/>
                    <a:pt x="691959" y="269848"/>
                  </a:cubicBezTo>
                  <a:cubicBezTo>
                    <a:pt x="695814" y="265351"/>
                    <a:pt x="697099" y="258926"/>
                    <a:pt x="694529" y="256999"/>
                  </a:cubicBezTo>
                  <a:cubicBezTo>
                    <a:pt x="692601" y="255071"/>
                    <a:pt x="684249" y="251216"/>
                    <a:pt x="683606" y="247361"/>
                  </a:cubicBezTo>
                  <a:cubicBezTo>
                    <a:pt x="682964" y="244149"/>
                    <a:pt x="682322" y="239652"/>
                    <a:pt x="682322" y="233227"/>
                  </a:cubicBezTo>
                  <a:cubicBezTo>
                    <a:pt x="691959" y="235154"/>
                    <a:pt x="703524" y="235797"/>
                    <a:pt x="713161" y="239009"/>
                  </a:cubicBezTo>
                  <a:cubicBezTo>
                    <a:pt x="733721" y="245434"/>
                    <a:pt x="742715" y="262781"/>
                    <a:pt x="759420" y="279486"/>
                  </a:cubicBezTo>
                  <a:cubicBezTo>
                    <a:pt x="776125" y="296190"/>
                    <a:pt x="770342" y="292978"/>
                    <a:pt x="772270" y="304543"/>
                  </a:cubicBezTo>
                  <a:cubicBezTo>
                    <a:pt x="774197" y="316108"/>
                    <a:pt x="756850" y="319963"/>
                    <a:pt x="753638" y="325102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 62">
              <a:extLst>
                <a:ext uri="{FF2B5EF4-FFF2-40B4-BE49-F238E27FC236}">
                  <a16:creationId xmlns:a16="http://schemas.microsoft.com/office/drawing/2014/main" id="{EE9332FC-47D6-EBCE-041C-04E89654E9D9}"/>
                </a:ext>
              </a:extLst>
            </p:cNvPr>
            <p:cNvSpPr/>
            <p:nvPr/>
          </p:nvSpPr>
          <p:spPr>
            <a:xfrm>
              <a:off x="2661704" y="4164662"/>
              <a:ext cx="1487698" cy="1424851"/>
            </a:xfrm>
            <a:custGeom>
              <a:avLst/>
              <a:gdLst>
                <a:gd name="connsiteX0" fmla="*/ 1486934 w 1487698"/>
                <a:gd name="connsiteY0" fmla="*/ 738860 h 1424851"/>
                <a:gd name="connsiteX1" fmla="*/ 1479224 w 1487698"/>
                <a:gd name="connsiteY1" fmla="*/ 753638 h 1424851"/>
                <a:gd name="connsiteX2" fmla="*/ 1483079 w 1487698"/>
                <a:gd name="connsiteY2" fmla="*/ 769057 h 1424851"/>
                <a:gd name="connsiteX3" fmla="*/ 1481794 w 1487698"/>
                <a:gd name="connsiteY3" fmla="*/ 792829 h 1424851"/>
                <a:gd name="connsiteX4" fmla="*/ 1474084 w 1487698"/>
                <a:gd name="connsiteY4" fmla="*/ 821099 h 1424851"/>
                <a:gd name="connsiteX5" fmla="*/ 1464447 w 1487698"/>
                <a:gd name="connsiteY5" fmla="*/ 835876 h 1424851"/>
                <a:gd name="connsiteX6" fmla="*/ 1451597 w 1487698"/>
                <a:gd name="connsiteY6" fmla="*/ 842943 h 1424851"/>
                <a:gd name="connsiteX7" fmla="*/ 1434892 w 1487698"/>
                <a:gd name="connsiteY7" fmla="*/ 834591 h 1424851"/>
                <a:gd name="connsiteX8" fmla="*/ 1423327 w 1487698"/>
                <a:gd name="connsiteY8" fmla="*/ 826881 h 1424851"/>
                <a:gd name="connsiteX9" fmla="*/ 1403410 w 1487698"/>
                <a:gd name="connsiteY9" fmla="*/ 823026 h 1424851"/>
                <a:gd name="connsiteX10" fmla="*/ 1391203 w 1487698"/>
                <a:gd name="connsiteY10" fmla="*/ 818529 h 1424851"/>
                <a:gd name="connsiteX11" fmla="*/ 1371286 w 1487698"/>
                <a:gd name="connsiteY11" fmla="*/ 826881 h 1424851"/>
                <a:gd name="connsiteX12" fmla="*/ 1373214 w 1487698"/>
                <a:gd name="connsiteY12" fmla="*/ 839731 h 1424851"/>
                <a:gd name="connsiteX13" fmla="*/ 1373856 w 1487698"/>
                <a:gd name="connsiteY13" fmla="*/ 865431 h 1424851"/>
                <a:gd name="connsiteX14" fmla="*/ 1363576 w 1487698"/>
                <a:gd name="connsiteY14" fmla="*/ 908477 h 1424851"/>
                <a:gd name="connsiteX15" fmla="*/ 1339162 w 1487698"/>
                <a:gd name="connsiteY15" fmla="*/ 928394 h 1424851"/>
                <a:gd name="connsiteX16" fmla="*/ 1312820 w 1487698"/>
                <a:gd name="connsiteY16" fmla="*/ 951524 h 1424851"/>
                <a:gd name="connsiteX17" fmla="*/ 1281980 w 1487698"/>
                <a:gd name="connsiteY17" fmla="*/ 952809 h 1424851"/>
                <a:gd name="connsiteX18" fmla="*/ 1247286 w 1487698"/>
                <a:gd name="connsiteY18" fmla="*/ 967586 h 1424851"/>
                <a:gd name="connsiteX19" fmla="*/ 1229939 w 1487698"/>
                <a:gd name="connsiteY19" fmla="*/ 984291 h 1424851"/>
                <a:gd name="connsiteX20" fmla="*/ 1204882 w 1487698"/>
                <a:gd name="connsiteY20" fmla="*/ 994570 h 1424851"/>
                <a:gd name="connsiteX21" fmla="*/ 1183037 w 1487698"/>
                <a:gd name="connsiteY21" fmla="*/ 1012560 h 1424851"/>
                <a:gd name="connsiteX22" fmla="*/ 1165690 w 1487698"/>
                <a:gd name="connsiteY22" fmla="*/ 1038260 h 1424851"/>
                <a:gd name="connsiteX23" fmla="*/ 1177255 w 1487698"/>
                <a:gd name="connsiteY23" fmla="*/ 1058819 h 1424851"/>
                <a:gd name="connsiteX24" fmla="*/ 1205524 w 1487698"/>
                <a:gd name="connsiteY24" fmla="*/ 1085804 h 1424851"/>
                <a:gd name="connsiteX25" fmla="*/ 1229939 w 1487698"/>
                <a:gd name="connsiteY25" fmla="*/ 1106363 h 1424851"/>
                <a:gd name="connsiteX26" fmla="*/ 1242788 w 1487698"/>
                <a:gd name="connsiteY26" fmla="*/ 1129493 h 1424851"/>
                <a:gd name="connsiteX27" fmla="*/ 1247928 w 1487698"/>
                <a:gd name="connsiteY27" fmla="*/ 1148125 h 1424851"/>
                <a:gd name="connsiteX28" fmla="*/ 1238291 w 1487698"/>
                <a:gd name="connsiteY28" fmla="*/ 1170612 h 1424851"/>
                <a:gd name="connsiteX29" fmla="*/ 1227369 w 1487698"/>
                <a:gd name="connsiteY29" fmla="*/ 1188602 h 1424851"/>
                <a:gd name="connsiteX30" fmla="*/ 1226726 w 1487698"/>
                <a:gd name="connsiteY30" fmla="*/ 1202736 h 1424851"/>
                <a:gd name="connsiteX31" fmla="*/ 1252426 w 1487698"/>
                <a:gd name="connsiteY31" fmla="*/ 1202094 h 1424851"/>
                <a:gd name="connsiteX32" fmla="*/ 1262706 w 1487698"/>
                <a:gd name="connsiteY32" fmla="*/ 1195669 h 1424851"/>
                <a:gd name="connsiteX33" fmla="*/ 1280695 w 1487698"/>
                <a:gd name="connsiteY33" fmla="*/ 1219441 h 1424851"/>
                <a:gd name="connsiteX34" fmla="*/ 1287120 w 1487698"/>
                <a:gd name="connsiteY34" fmla="*/ 1235503 h 1424851"/>
                <a:gd name="connsiteX35" fmla="*/ 1282623 w 1487698"/>
                <a:gd name="connsiteY35" fmla="*/ 1257990 h 1424851"/>
                <a:gd name="connsiteX36" fmla="*/ 1281338 w 1487698"/>
                <a:gd name="connsiteY36" fmla="*/ 1272767 h 1424851"/>
                <a:gd name="connsiteX37" fmla="*/ 1276198 w 1487698"/>
                <a:gd name="connsiteY37" fmla="*/ 1289472 h 1424851"/>
                <a:gd name="connsiteX38" fmla="*/ 1267846 w 1487698"/>
                <a:gd name="connsiteY38" fmla="*/ 1304892 h 1424851"/>
                <a:gd name="connsiteX39" fmla="*/ 1253068 w 1487698"/>
                <a:gd name="connsiteY39" fmla="*/ 1316457 h 1424851"/>
                <a:gd name="connsiteX40" fmla="*/ 1240861 w 1487698"/>
                <a:gd name="connsiteY40" fmla="*/ 1306819 h 1424851"/>
                <a:gd name="connsiteX41" fmla="*/ 1226084 w 1487698"/>
                <a:gd name="connsiteY41" fmla="*/ 1299752 h 1424851"/>
                <a:gd name="connsiteX42" fmla="*/ 1211307 w 1487698"/>
                <a:gd name="connsiteY42" fmla="*/ 1287545 h 1424851"/>
                <a:gd name="connsiteX43" fmla="*/ 1190747 w 1487698"/>
                <a:gd name="connsiteY43" fmla="*/ 1274695 h 1424851"/>
                <a:gd name="connsiteX44" fmla="*/ 1188177 w 1487698"/>
                <a:gd name="connsiteY44" fmla="*/ 1258633 h 1424851"/>
                <a:gd name="connsiteX45" fmla="*/ 1195244 w 1487698"/>
                <a:gd name="connsiteY45" fmla="*/ 1245783 h 1424851"/>
                <a:gd name="connsiteX46" fmla="*/ 1188820 w 1487698"/>
                <a:gd name="connsiteY46" fmla="*/ 1232933 h 1424851"/>
                <a:gd name="connsiteX47" fmla="*/ 1171473 w 1487698"/>
                <a:gd name="connsiteY47" fmla="*/ 1221368 h 1424851"/>
                <a:gd name="connsiteX48" fmla="*/ 1141918 w 1487698"/>
                <a:gd name="connsiteY48" fmla="*/ 1219441 h 1424851"/>
                <a:gd name="connsiteX49" fmla="*/ 1125856 w 1487698"/>
                <a:gd name="connsiteY49" fmla="*/ 1232933 h 1424851"/>
                <a:gd name="connsiteX50" fmla="*/ 1118146 w 1487698"/>
                <a:gd name="connsiteY50" fmla="*/ 1245140 h 1424851"/>
                <a:gd name="connsiteX51" fmla="*/ 1097587 w 1487698"/>
                <a:gd name="connsiteY51" fmla="*/ 1250280 h 1424851"/>
                <a:gd name="connsiteX52" fmla="*/ 1092446 w 1487698"/>
                <a:gd name="connsiteY52" fmla="*/ 1240001 h 1424851"/>
                <a:gd name="connsiteX53" fmla="*/ 1079597 w 1487698"/>
                <a:gd name="connsiteY53" fmla="*/ 1231648 h 1424851"/>
                <a:gd name="connsiteX54" fmla="*/ 1064177 w 1487698"/>
                <a:gd name="connsiteY54" fmla="*/ 1231006 h 1424851"/>
                <a:gd name="connsiteX55" fmla="*/ 1054540 w 1487698"/>
                <a:gd name="connsiteY55" fmla="*/ 1237430 h 1424851"/>
                <a:gd name="connsiteX56" fmla="*/ 1023700 w 1487698"/>
                <a:gd name="connsiteY56" fmla="*/ 1236146 h 1424851"/>
                <a:gd name="connsiteX57" fmla="*/ 1014705 w 1487698"/>
                <a:gd name="connsiteY57" fmla="*/ 1241928 h 1424851"/>
                <a:gd name="connsiteX58" fmla="*/ 1008281 w 1487698"/>
                <a:gd name="connsiteY58" fmla="*/ 1250280 h 1424851"/>
                <a:gd name="connsiteX59" fmla="*/ 1005711 w 1487698"/>
                <a:gd name="connsiteY59" fmla="*/ 1260560 h 1424851"/>
                <a:gd name="connsiteX60" fmla="*/ 992861 w 1487698"/>
                <a:gd name="connsiteY60" fmla="*/ 1263130 h 1424851"/>
                <a:gd name="connsiteX61" fmla="*/ 977441 w 1487698"/>
                <a:gd name="connsiteY61" fmla="*/ 1261203 h 1424851"/>
                <a:gd name="connsiteX62" fmla="*/ 924115 w 1487698"/>
                <a:gd name="connsiteY62" fmla="*/ 1260560 h 1424851"/>
                <a:gd name="connsiteX63" fmla="*/ 906768 w 1487698"/>
                <a:gd name="connsiteY63" fmla="*/ 1265058 h 1424851"/>
                <a:gd name="connsiteX64" fmla="*/ 883638 w 1487698"/>
                <a:gd name="connsiteY64" fmla="*/ 1274052 h 1424851"/>
                <a:gd name="connsiteX65" fmla="*/ 862436 w 1487698"/>
                <a:gd name="connsiteY65" fmla="*/ 1273410 h 1424851"/>
                <a:gd name="connsiteX66" fmla="*/ 833524 w 1487698"/>
                <a:gd name="connsiteY66" fmla="*/ 1282405 h 1424851"/>
                <a:gd name="connsiteX67" fmla="*/ 811680 w 1487698"/>
                <a:gd name="connsiteY67" fmla="*/ 1299752 h 1424851"/>
                <a:gd name="connsiteX68" fmla="*/ 798830 w 1487698"/>
                <a:gd name="connsiteY68" fmla="*/ 1309389 h 1424851"/>
                <a:gd name="connsiteX69" fmla="*/ 770560 w 1487698"/>
                <a:gd name="connsiteY69" fmla="*/ 1315814 h 1424851"/>
                <a:gd name="connsiteX70" fmla="*/ 747431 w 1487698"/>
                <a:gd name="connsiteY70" fmla="*/ 1326736 h 1424851"/>
                <a:gd name="connsiteX71" fmla="*/ 739078 w 1487698"/>
                <a:gd name="connsiteY71" fmla="*/ 1336374 h 1424851"/>
                <a:gd name="connsiteX72" fmla="*/ 717876 w 1487698"/>
                <a:gd name="connsiteY72" fmla="*/ 1348581 h 1424851"/>
                <a:gd name="connsiteX73" fmla="*/ 697959 w 1487698"/>
                <a:gd name="connsiteY73" fmla="*/ 1356291 h 1424851"/>
                <a:gd name="connsiteX74" fmla="*/ 672260 w 1487698"/>
                <a:gd name="connsiteY74" fmla="*/ 1363358 h 1424851"/>
                <a:gd name="connsiteX75" fmla="*/ 638850 w 1487698"/>
                <a:gd name="connsiteY75" fmla="*/ 1364643 h 1424851"/>
                <a:gd name="connsiteX76" fmla="*/ 624716 w 1487698"/>
                <a:gd name="connsiteY76" fmla="*/ 1362715 h 1424851"/>
                <a:gd name="connsiteX77" fmla="*/ 611866 w 1487698"/>
                <a:gd name="connsiteY77" fmla="*/ 1343441 h 1424851"/>
                <a:gd name="connsiteX78" fmla="*/ 607369 w 1487698"/>
                <a:gd name="connsiteY78" fmla="*/ 1324166 h 1424851"/>
                <a:gd name="connsiteX79" fmla="*/ 597089 w 1487698"/>
                <a:gd name="connsiteY79" fmla="*/ 1312602 h 1424851"/>
                <a:gd name="connsiteX80" fmla="*/ 583597 w 1487698"/>
                <a:gd name="connsiteY80" fmla="*/ 1313244 h 1424851"/>
                <a:gd name="connsiteX81" fmla="*/ 579099 w 1487698"/>
                <a:gd name="connsiteY81" fmla="*/ 1305534 h 1424851"/>
                <a:gd name="connsiteX82" fmla="*/ 566249 w 1487698"/>
                <a:gd name="connsiteY82" fmla="*/ 1305534 h 1424851"/>
                <a:gd name="connsiteX83" fmla="*/ 546975 w 1487698"/>
                <a:gd name="connsiteY83" fmla="*/ 1304249 h 1424851"/>
                <a:gd name="connsiteX84" fmla="*/ 530913 w 1487698"/>
                <a:gd name="connsiteY84" fmla="*/ 1297824 h 1424851"/>
                <a:gd name="connsiteX85" fmla="*/ 517420 w 1487698"/>
                <a:gd name="connsiteY85" fmla="*/ 1302322 h 1424851"/>
                <a:gd name="connsiteX86" fmla="*/ 487866 w 1487698"/>
                <a:gd name="connsiteY86" fmla="*/ 1307462 h 1424851"/>
                <a:gd name="connsiteX87" fmla="*/ 476944 w 1487698"/>
                <a:gd name="connsiteY87" fmla="*/ 1297182 h 1424851"/>
                <a:gd name="connsiteX88" fmla="*/ 467949 w 1487698"/>
                <a:gd name="connsiteY88" fmla="*/ 1285617 h 1424851"/>
                <a:gd name="connsiteX89" fmla="*/ 458954 w 1487698"/>
                <a:gd name="connsiteY89" fmla="*/ 1289472 h 1424851"/>
                <a:gd name="connsiteX90" fmla="*/ 456384 w 1487698"/>
                <a:gd name="connsiteY90" fmla="*/ 1310674 h 1424851"/>
                <a:gd name="connsiteX91" fmla="*/ 462809 w 1487698"/>
                <a:gd name="connsiteY91" fmla="*/ 1323524 h 1424851"/>
                <a:gd name="connsiteX92" fmla="*/ 462809 w 1487698"/>
                <a:gd name="connsiteY92" fmla="*/ 1357576 h 1424851"/>
                <a:gd name="connsiteX93" fmla="*/ 437752 w 1487698"/>
                <a:gd name="connsiteY93" fmla="*/ 1391627 h 1424851"/>
                <a:gd name="connsiteX94" fmla="*/ 416550 w 1487698"/>
                <a:gd name="connsiteY94" fmla="*/ 1408332 h 1424851"/>
                <a:gd name="connsiteX95" fmla="*/ 378001 w 1487698"/>
                <a:gd name="connsiteY95" fmla="*/ 1424394 h 1424851"/>
                <a:gd name="connsiteX96" fmla="*/ 371576 w 1487698"/>
                <a:gd name="connsiteY96" fmla="*/ 1417327 h 1424851"/>
                <a:gd name="connsiteX97" fmla="*/ 378643 w 1487698"/>
                <a:gd name="connsiteY97" fmla="*/ 1394840 h 1424851"/>
                <a:gd name="connsiteX98" fmla="*/ 385068 w 1487698"/>
                <a:gd name="connsiteY98" fmla="*/ 1381990 h 1424851"/>
                <a:gd name="connsiteX99" fmla="*/ 377358 w 1487698"/>
                <a:gd name="connsiteY99" fmla="*/ 1369140 h 1424851"/>
                <a:gd name="connsiteX100" fmla="*/ 368363 w 1487698"/>
                <a:gd name="connsiteY100" fmla="*/ 1358861 h 1424851"/>
                <a:gd name="connsiteX101" fmla="*/ 350374 w 1487698"/>
                <a:gd name="connsiteY101" fmla="*/ 1345369 h 1424851"/>
                <a:gd name="connsiteX102" fmla="*/ 330456 w 1487698"/>
                <a:gd name="connsiteY102" fmla="*/ 1333804 h 1424851"/>
                <a:gd name="connsiteX103" fmla="*/ 316964 w 1487698"/>
                <a:gd name="connsiteY103" fmla="*/ 1320311 h 1424851"/>
                <a:gd name="connsiteX104" fmla="*/ 304757 w 1487698"/>
                <a:gd name="connsiteY104" fmla="*/ 1305534 h 1424851"/>
                <a:gd name="connsiteX105" fmla="*/ 280343 w 1487698"/>
                <a:gd name="connsiteY105" fmla="*/ 1299752 h 1424851"/>
                <a:gd name="connsiteX106" fmla="*/ 259141 w 1487698"/>
                <a:gd name="connsiteY106" fmla="*/ 1289472 h 1424851"/>
                <a:gd name="connsiteX107" fmla="*/ 243721 w 1487698"/>
                <a:gd name="connsiteY107" fmla="*/ 1294612 h 1424851"/>
                <a:gd name="connsiteX108" fmla="*/ 231513 w 1487698"/>
                <a:gd name="connsiteY108" fmla="*/ 1312602 h 1424851"/>
                <a:gd name="connsiteX109" fmla="*/ 200674 w 1487698"/>
                <a:gd name="connsiteY109" fmla="*/ 1315814 h 1424851"/>
                <a:gd name="connsiteX110" fmla="*/ 200674 w 1487698"/>
                <a:gd name="connsiteY110" fmla="*/ 1315814 h 1424851"/>
                <a:gd name="connsiteX111" fmla="*/ 200674 w 1487698"/>
                <a:gd name="connsiteY111" fmla="*/ 1315814 h 1424851"/>
                <a:gd name="connsiteX112" fmla="*/ 200674 w 1487698"/>
                <a:gd name="connsiteY112" fmla="*/ 1315814 h 1424851"/>
                <a:gd name="connsiteX113" fmla="*/ 190394 w 1487698"/>
                <a:gd name="connsiteY113" fmla="*/ 1313244 h 1424851"/>
                <a:gd name="connsiteX114" fmla="*/ 183327 w 1487698"/>
                <a:gd name="connsiteY114" fmla="*/ 1311959 h 1424851"/>
                <a:gd name="connsiteX115" fmla="*/ 183327 w 1487698"/>
                <a:gd name="connsiteY115" fmla="*/ 1311959 h 1424851"/>
                <a:gd name="connsiteX116" fmla="*/ 224446 w 1487698"/>
                <a:gd name="connsiteY116" fmla="*/ 1270198 h 1424851"/>
                <a:gd name="connsiteX117" fmla="*/ 274560 w 1487698"/>
                <a:gd name="connsiteY117" fmla="*/ 1255420 h 1424851"/>
                <a:gd name="connsiteX118" fmla="*/ 318249 w 1487698"/>
                <a:gd name="connsiteY118" fmla="*/ 1255420 h 1424851"/>
                <a:gd name="connsiteX119" fmla="*/ 356798 w 1487698"/>
                <a:gd name="connsiteY119" fmla="*/ 1234861 h 1424851"/>
                <a:gd name="connsiteX120" fmla="*/ 345234 w 1487698"/>
                <a:gd name="connsiteY120" fmla="*/ 1171897 h 1424851"/>
                <a:gd name="connsiteX121" fmla="*/ 360011 w 1487698"/>
                <a:gd name="connsiteY121" fmla="*/ 1117928 h 1424851"/>
                <a:gd name="connsiteX122" fmla="*/ 357441 w 1487698"/>
                <a:gd name="connsiteY122" fmla="*/ 1053679 h 1424851"/>
                <a:gd name="connsiteX123" fmla="*/ 340736 w 1487698"/>
                <a:gd name="connsiteY123" fmla="*/ 999068 h 1424851"/>
                <a:gd name="connsiteX124" fmla="*/ 311182 w 1487698"/>
                <a:gd name="connsiteY124" fmla="*/ 950881 h 1424851"/>
                <a:gd name="connsiteX125" fmla="*/ 316964 w 1487698"/>
                <a:gd name="connsiteY125" fmla="*/ 918757 h 1424851"/>
                <a:gd name="connsiteX126" fmla="*/ 349089 w 1487698"/>
                <a:gd name="connsiteY126" fmla="*/ 891772 h 1424851"/>
                <a:gd name="connsiteX127" fmla="*/ 351016 w 1487698"/>
                <a:gd name="connsiteY127" fmla="*/ 905265 h 1424851"/>
                <a:gd name="connsiteX128" fmla="*/ 368363 w 1487698"/>
                <a:gd name="connsiteY128" fmla="*/ 905265 h 1424851"/>
                <a:gd name="connsiteX129" fmla="*/ 404985 w 1487698"/>
                <a:gd name="connsiteY129" fmla="*/ 880850 h 1424851"/>
                <a:gd name="connsiteX130" fmla="*/ 412695 w 1487698"/>
                <a:gd name="connsiteY130" fmla="*/ 841658 h 1424851"/>
                <a:gd name="connsiteX131" fmla="*/ 439679 w 1487698"/>
                <a:gd name="connsiteY131" fmla="*/ 808892 h 1424851"/>
                <a:gd name="connsiteX132" fmla="*/ 456384 w 1487698"/>
                <a:gd name="connsiteY132" fmla="*/ 776767 h 1424851"/>
                <a:gd name="connsiteX133" fmla="*/ 452529 w 1487698"/>
                <a:gd name="connsiteY133" fmla="*/ 750425 h 1424851"/>
                <a:gd name="connsiteX134" fmla="*/ 456384 w 1487698"/>
                <a:gd name="connsiteY134" fmla="*/ 708663 h 1424851"/>
                <a:gd name="connsiteX135" fmla="*/ 435825 w 1487698"/>
                <a:gd name="connsiteY135" fmla="*/ 679752 h 1424851"/>
                <a:gd name="connsiteX136" fmla="*/ 412695 w 1487698"/>
                <a:gd name="connsiteY136" fmla="*/ 658550 h 1424851"/>
                <a:gd name="connsiteX137" fmla="*/ 393420 w 1487698"/>
                <a:gd name="connsiteY137" fmla="*/ 640560 h 1424851"/>
                <a:gd name="connsiteX138" fmla="*/ 348446 w 1487698"/>
                <a:gd name="connsiteY138" fmla="*/ 569244 h 1424851"/>
                <a:gd name="connsiteX139" fmla="*/ 340094 w 1487698"/>
                <a:gd name="connsiteY139" fmla="*/ 524912 h 1424851"/>
                <a:gd name="connsiteX140" fmla="*/ 351016 w 1487698"/>
                <a:gd name="connsiteY140" fmla="*/ 495358 h 1424851"/>
                <a:gd name="connsiteX141" fmla="*/ 351016 w 1487698"/>
                <a:gd name="connsiteY141" fmla="*/ 454881 h 1424851"/>
                <a:gd name="connsiteX142" fmla="*/ 334311 w 1487698"/>
                <a:gd name="connsiteY142" fmla="*/ 431752 h 1424851"/>
                <a:gd name="connsiteX143" fmla="*/ 323389 w 1487698"/>
                <a:gd name="connsiteY143" fmla="*/ 443316 h 1424851"/>
                <a:gd name="connsiteX144" fmla="*/ 320177 w 1487698"/>
                <a:gd name="connsiteY144" fmla="*/ 467088 h 1424851"/>
                <a:gd name="connsiteX145" fmla="*/ 288695 w 1487698"/>
                <a:gd name="connsiteY145" fmla="*/ 463876 h 1424851"/>
                <a:gd name="connsiteX146" fmla="*/ 286125 w 1487698"/>
                <a:gd name="connsiteY146" fmla="*/ 429824 h 1424851"/>
                <a:gd name="connsiteX147" fmla="*/ 254001 w 1487698"/>
                <a:gd name="connsiteY147" fmla="*/ 368788 h 1424851"/>
                <a:gd name="connsiteX148" fmla="*/ 236011 w 1487698"/>
                <a:gd name="connsiteY148" fmla="*/ 357223 h 1424851"/>
                <a:gd name="connsiteX149" fmla="*/ 212881 w 1487698"/>
                <a:gd name="connsiteY149" fmla="*/ 359150 h 1424851"/>
                <a:gd name="connsiteX150" fmla="*/ 197462 w 1487698"/>
                <a:gd name="connsiteY150" fmla="*/ 337306 h 1424851"/>
                <a:gd name="connsiteX151" fmla="*/ 168550 w 1487698"/>
                <a:gd name="connsiteY151" fmla="*/ 337948 h 1424851"/>
                <a:gd name="connsiteX152" fmla="*/ 148633 w 1487698"/>
                <a:gd name="connsiteY152" fmla="*/ 338591 h 1424851"/>
                <a:gd name="connsiteX153" fmla="*/ 143493 w 1487698"/>
                <a:gd name="connsiteY153" fmla="*/ 328954 h 1424851"/>
                <a:gd name="connsiteX154" fmla="*/ 131928 w 1487698"/>
                <a:gd name="connsiteY154" fmla="*/ 328954 h 1424851"/>
                <a:gd name="connsiteX155" fmla="*/ 128715 w 1487698"/>
                <a:gd name="connsiteY155" fmla="*/ 336021 h 1424851"/>
                <a:gd name="connsiteX156" fmla="*/ 113296 w 1487698"/>
                <a:gd name="connsiteY156" fmla="*/ 336021 h 1424851"/>
                <a:gd name="connsiteX157" fmla="*/ 94664 w 1487698"/>
                <a:gd name="connsiteY157" fmla="*/ 353368 h 1424851"/>
                <a:gd name="connsiteX158" fmla="*/ 111368 w 1487698"/>
                <a:gd name="connsiteY158" fmla="*/ 360435 h 1424851"/>
                <a:gd name="connsiteX159" fmla="*/ 127431 w 1487698"/>
                <a:gd name="connsiteY159" fmla="*/ 363005 h 1424851"/>
                <a:gd name="connsiteX160" fmla="*/ 132570 w 1487698"/>
                <a:gd name="connsiteY160" fmla="*/ 389347 h 1424851"/>
                <a:gd name="connsiteX161" fmla="*/ 112011 w 1487698"/>
                <a:gd name="connsiteY161" fmla="*/ 407337 h 1424851"/>
                <a:gd name="connsiteX162" fmla="*/ 63824 w 1487698"/>
                <a:gd name="connsiteY162" fmla="*/ 422757 h 1424851"/>
                <a:gd name="connsiteX163" fmla="*/ 43265 w 1487698"/>
                <a:gd name="connsiteY163" fmla="*/ 428539 h 1424851"/>
                <a:gd name="connsiteX164" fmla="*/ 34270 w 1487698"/>
                <a:gd name="connsiteY164" fmla="*/ 418259 h 1424851"/>
                <a:gd name="connsiteX165" fmla="*/ 32342 w 1487698"/>
                <a:gd name="connsiteY165" fmla="*/ 397057 h 1424851"/>
                <a:gd name="connsiteX166" fmla="*/ 43265 w 1487698"/>
                <a:gd name="connsiteY166" fmla="*/ 357866 h 1424851"/>
                <a:gd name="connsiteX167" fmla="*/ 28488 w 1487698"/>
                <a:gd name="connsiteY167" fmla="*/ 323171 h 1424851"/>
                <a:gd name="connsiteX168" fmla="*/ 2145 w 1487698"/>
                <a:gd name="connsiteY168" fmla="*/ 236435 h 1424851"/>
                <a:gd name="connsiteX169" fmla="*/ 6643 w 1487698"/>
                <a:gd name="connsiteY169" fmla="*/ 199171 h 1424851"/>
                <a:gd name="connsiteX170" fmla="*/ 67037 w 1487698"/>
                <a:gd name="connsiteY170" fmla="*/ 178611 h 1424851"/>
                <a:gd name="connsiteX171" fmla="*/ 111368 w 1487698"/>
                <a:gd name="connsiteY171" fmla="*/ 187606 h 1424851"/>
                <a:gd name="connsiteX172" fmla="*/ 138353 w 1487698"/>
                <a:gd name="connsiteY172" fmla="*/ 199171 h 1424851"/>
                <a:gd name="connsiteX173" fmla="*/ 162125 w 1487698"/>
                <a:gd name="connsiteY173" fmla="*/ 192104 h 1424851"/>
                <a:gd name="connsiteX174" fmla="*/ 153130 w 1487698"/>
                <a:gd name="connsiteY174" fmla="*/ 167689 h 1424851"/>
                <a:gd name="connsiteX175" fmla="*/ 153130 w 1487698"/>
                <a:gd name="connsiteY175" fmla="*/ 142632 h 1424851"/>
                <a:gd name="connsiteX176" fmla="*/ 172405 w 1487698"/>
                <a:gd name="connsiteY176" fmla="*/ 141990 h 1424851"/>
                <a:gd name="connsiteX177" fmla="*/ 192964 w 1487698"/>
                <a:gd name="connsiteY177" fmla="*/ 141990 h 1424851"/>
                <a:gd name="connsiteX178" fmla="*/ 261068 w 1487698"/>
                <a:gd name="connsiteY178" fmla="*/ 72601 h 1424851"/>
                <a:gd name="connsiteX179" fmla="*/ 293835 w 1487698"/>
                <a:gd name="connsiteY179" fmla="*/ 53326 h 1424851"/>
                <a:gd name="connsiteX180" fmla="*/ 311824 w 1487698"/>
                <a:gd name="connsiteY180" fmla="*/ 22487 h 1424851"/>
                <a:gd name="connsiteX181" fmla="*/ 328529 w 1487698"/>
                <a:gd name="connsiteY181" fmla="*/ 4497 h 1424851"/>
                <a:gd name="connsiteX182" fmla="*/ 333669 w 1487698"/>
                <a:gd name="connsiteY182" fmla="*/ 643 h 1424851"/>
                <a:gd name="connsiteX183" fmla="*/ 338809 w 1487698"/>
                <a:gd name="connsiteY183" fmla="*/ 0 h 1424851"/>
                <a:gd name="connsiteX184" fmla="*/ 349731 w 1487698"/>
                <a:gd name="connsiteY184" fmla="*/ 0 h 1424851"/>
                <a:gd name="connsiteX185" fmla="*/ 360011 w 1487698"/>
                <a:gd name="connsiteY185" fmla="*/ 1285 h 1424851"/>
                <a:gd name="connsiteX186" fmla="*/ 369648 w 1487698"/>
                <a:gd name="connsiteY186" fmla="*/ 6425 h 1424851"/>
                <a:gd name="connsiteX187" fmla="*/ 417192 w 1487698"/>
                <a:gd name="connsiteY187" fmla="*/ 45617 h 1424851"/>
                <a:gd name="connsiteX188" fmla="*/ 461524 w 1487698"/>
                <a:gd name="connsiteY188" fmla="*/ 120145 h 1424851"/>
                <a:gd name="connsiteX189" fmla="*/ 474374 w 1487698"/>
                <a:gd name="connsiteY189" fmla="*/ 138135 h 1424851"/>
                <a:gd name="connsiteX190" fmla="*/ 503928 w 1487698"/>
                <a:gd name="connsiteY190" fmla="*/ 149057 h 1424851"/>
                <a:gd name="connsiteX191" fmla="*/ 518705 w 1487698"/>
                <a:gd name="connsiteY191" fmla="*/ 145845 h 1424851"/>
                <a:gd name="connsiteX192" fmla="*/ 522560 w 1487698"/>
                <a:gd name="connsiteY192" fmla="*/ 121430 h 1424851"/>
                <a:gd name="connsiteX193" fmla="*/ 530913 w 1487698"/>
                <a:gd name="connsiteY193" fmla="*/ 115648 h 1424851"/>
                <a:gd name="connsiteX194" fmla="*/ 526415 w 1487698"/>
                <a:gd name="connsiteY194" fmla="*/ 102155 h 1424851"/>
                <a:gd name="connsiteX195" fmla="*/ 517420 w 1487698"/>
                <a:gd name="connsiteY195" fmla="*/ 101513 h 1424851"/>
                <a:gd name="connsiteX196" fmla="*/ 513565 w 1487698"/>
                <a:gd name="connsiteY196" fmla="*/ 86093 h 1424851"/>
                <a:gd name="connsiteX197" fmla="*/ 557897 w 1487698"/>
                <a:gd name="connsiteY197" fmla="*/ 65534 h 1424851"/>
                <a:gd name="connsiteX198" fmla="*/ 600944 w 1487698"/>
                <a:gd name="connsiteY198" fmla="*/ 71959 h 1424851"/>
                <a:gd name="connsiteX199" fmla="*/ 626001 w 1487698"/>
                <a:gd name="connsiteY199" fmla="*/ 96373 h 1424851"/>
                <a:gd name="connsiteX200" fmla="*/ 638850 w 1487698"/>
                <a:gd name="connsiteY200" fmla="*/ 114363 h 1424851"/>
                <a:gd name="connsiteX201" fmla="*/ 657483 w 1487698"/>
                <a:gd name="connsiteY201" fmla="*/ 116290 h 1424851"/>
                <a:gd name="connsiteX202" fmla="*/ 670975 w 1487698"/>
                <a:gd name="connsiteY202" fmla="*/ 112435 h 1424851"/>
                <a:gd name="connsiteX203" fmla="*/ 677400 w 1487698"/>
                <a:gd name="connsiteY203" fmla="*/ 101513 h 1424851"/>
                <a:gd name="connsiteX204" fmla="*/ 678042 w 1487698"/>
                <a:gd name="connsiteY204" fmla="*/ 84808 h 1424851"/>
                <a:gd name="connsiteX205" fmla="*/ 676115 w 1487698"/>
                <a:gd name="connsiteY205" fmla="*/ 77098 h 1424851"/>
                <a:gd name="connsiteX206" fmla="*/ 678042 w 1487698"/>
                <a:gd name="connsiteY206" fmla="*/ 59751 h 1424851"/>
                <a:gd name="connsiteX207" fmla="*/ 672902 w 1487698"/>
                <a:gd name="connsiteY207" fmla="*/ 43689 h 1424851"/>
                <a:gd name="connsiteX208" fmla="*/ 665192 w 1487698"/>
                <a:gd name="connsiteY208" fmla="*/ 39192 h 1424851"/>
                <a:gd name="connsiteX209" fmla="*/ 662622 w 1487698"/>
                <a:gd name="connsiteY209" fmla="*/ 31482 h 1424851"/>
                <a:gd name="connsiteX210" fmla="*/ 670332 w 1487698"/>
                <a:gd name="connsiteY210" fmla="*/ 27627 h 1424851"/>
                <a:gd name="connsiteX211" fmla="*/ 675472 w 1487698"/>
                <a:gd name="connsiteY211" fmla="*/ 18632 h 1424851"/>
                <a:gd name="connsiteX212" fmla="*/ 692177 w 1487698"/>
                <a:gd name="connsiteY212" fmla="*/ 8995 h 1424851"/>
                <a:gd name="connsiteX213" fmla="*/ 703099 w 1487698"/>
                <a:gd name="connsiteY213" fmla="*/ 8352 h 1424851"/>
                <a:gd name="connsiteX214" fmla="*/ 706954 w 1487698"/>
                <a:gd name="connsiteY214" fmla="*/ 5782 h 1424851"/>
                <a:gd name="connsiteX215" fmla="*/ 711452 w 1487698"/>
                <a:gd name="connsiteY215" fmla="*/ 4497 h 1424851"/>
                <a:gd name="connsiteX216" fmla="*/ 722374 w 1487698"/>
                <a:gd name="connsiteY216" fmla="*/ 6425 h 1424851"/>
                <a:gd name="connsiteX217" fmla="*/ 723016 w 1487698"/>
                <a:gd name="connsiteY217" fmla="*/ 16062 h 1424851"/>
                <a:gd name="connsiteX218" fmla="*/ 719804 w 1487698"/>
                <a:gd name="connsiteY218" fmla="*/ 17990 h 1424851"/>
                <a:gd name="connsiteX219" fmla="*/ 719161 w 1487698"/>
                <a:gd name="connsiteY219" fmla="*/ 21202 h 1424851"/>
                <a:gd name="connsiteX220" fmla="*/ 745503 w 1487698"/>
                <a:gd name="connsiteY220" fmla="*/ 64249 h 1424851"/>
                <a:gd name="connsiteX221" fmla="*/ 776985 w 1487698"/>
                <a:gd name="connsiteY221" fmla="*/ 64249 h 1424851"/>
                <a:gd name="connsiteX222" fmla="*/ 825814 w 1487698"/>
                <a:gd name="connsiteY222" fmla="*/ 57181 h 1424851"/>
                <a:gd name="connsiteX223" fmla="*/ 860508 w 1487698"/>
                <a:gd name="connsiteY223" fmla="*/ 46901 h 1424851"/>
                <a:gd name="connsiteX224" fmla="*/ 867576 w 1487698"/>
                <a:gd name="connsiteY224" fmla="*/ 46901 h 1424851"/>
                <a:gd name="connsiteX225" fmla="*/ 882996 w 1487698"/>
                <a:gd name="connsiteY225" fmla="*/ 50756 h 1424851"/>
                <a:gd name="connsiteX226" fmla="*/ 888136 w 1487698"/>
                <a:gd name="connsiteY226" fmla="*/ 64249 h 1424851"/>
                <a:gd name="connsiteX227" fmla="*/ 886851 w 1487698"/>
                <a:gd name="connsiteY227" fmla="*/ 71316 h 1424851"/>
                <a:gd name="connsiteX228" fmla="*/ 894560 w 1487698"/>
                <a:gd name="connsiteY228" fmla="*/ 78384 h 1424851"/>
                <a:gd name="connsiteX229" fmla="*/ 931825 w 1487698"/>
                <a:gd name="connsiteY229" fmla="*/ 89306 h 1424851"/>
                <a:gd name="connsiteX230" fmla="*/ 931825 w 1487698"/>
                <a:gd name="connsiteY230" fmla="*/ 92518 h 1424851"/>
                <a:gd name="connsiteX231" fmla="*/ 940177 w 1487698"/>
                <a:gd name="connsiteY231" fmla="*/ 108580 h 1424851"/>
                <a:gd name="connsiteX232" fmla="*/ 956239 w 1487698"/>
                <a:gd name="connsiteY232" fmla="*/ 137492 h 1424851"/>
                <a:gd name="connsiteX233" fmla="*/ 963949 w 1487698"/>
                <a:gd name="connsiteY233" fmla="*/ 149057 h 1424851"/>
                <a:gd name="connsiteX234" fmla="*/ 957524 w 1487698"/>
                <a:gd name="connsiteY234" fmla="*/ 160622 h 1424851"/>
                <a:gd name="connsiteX235" fmla="*/ 960737 w 1487698"/>
                <a:gd name="connsiteY235" fmla="*/ 172829 h 1424851"/>
                <a:gd name="connsiteX236" fmla="*/ 971659 w 1487698"/>
                <a:gd name="connsiteY236" fmla="*/ 183109 h 1424851"/>
                <a:gd name="connsiteX237" fmla="*/ 980654 w 1487698"/>
                <a:gd name="connsiteY237" fmla="*/ 186321 h 1424851"/>
                <a:gd name="connsiteX238" fmla="*/ 992861 w 1487698"/>
                <a:gd name="connsiteY238" fmla="*/ 195316 h 1424851"/>
                <a:gd name="connsiteX239" fmla="*/ 1005711 w 1487698"/>
                <a:gd name="connsiteY239" fmla="*/ 208808 h 1424851"/>
                <a:gd name="connsiteX240" fmla="*/ 1024985 w 1487698"/>
                <a:gd name="connsiteY240" fmla="*/ 215876 h 1424851"/>
                <a:gd name="connsiteX241" fmla="*/ 1046187 w 1487698"/>
                <a:gd name="connsiteY241" fmla="*/ 232580 h 1424851"/>
                <a:gd name="connsiteX242" fmla="*/ 1058395 w 1487698"/>
                <a:gd name="connsiteY242" fmla="*/ 244788 h 1424851"/>
                <a:gd name="connsiteX243" fmla="*/ 1067390 w 1487698"/>
                <a:gd name="connsiteY243" fmla="*/ 254425 h 1424851"/>
                <a:gd name="connsiteX244" fmla="*/ 1068032 w 1487698"/>
                <a:gd name="connsiteY244" fmla="*/ 274342 h 1424851"/>
                <a:gd name="connsiteX245" fmla="*/ 1060322 w 1487698"/>
                <a:gd name="connsiteY245" fmla="*/ 290404 h 1424851"/>
                <a:gd name="connsiteX246" fmla="*/ 1050042 w 1487698"/>
                <a:gd name="connsiteY246" fmla="*/ 310321 h 1424851"/>
                <a:gd name="connsiteX247" fmla="*/ 1042333 w 1487698"/>
                <a:gd name="connsiteY247" fmla="*/ 338591 h 1424851"/>
                <a:gd name="connsiteX248" fmla="*/ 1057752 w 1487698"/>
                <a:gd name="connsiteY248" fmla="*/ 355938 h 1424851"/>
                <a:gd name="connsiteX249" fmla="*/ 1062892 w 1487698"/>
                <a:gd name="connsiteY249" fmla="*/ 364933 h 1424851"/>
                <a:gd name="connsiteX250" fmla="*/ 1084094 w 1487698"/>
                <a:gd name="connsiteY250" fmla="*/ 397700 h 1424851"/>
                <a:gd name="connsiteX251" fmla="*/ 1087307 w 1487698"/>
                <a:gd name="connsiteY251" fmla="*/ 421472 h 1424851"/>
                <a:gd name="connsiteX252" fmla="*/ 1106581 w 1487698"/>
                <a:gd name="connsiteY252" fmla="*/ 454239 h 1424851"/>
                <a:gd name="connsiteX253" fmla="*/ 1135493 w 1487698"/>
                <a:gd name="connsiteY253" fmla="*/ 485720 h 1424851"/>
                <a:gd name="connsiteX254" fmla="*/ 1153483 w 1487698"/>
                <a:gd name="connsiteY254" fmla="*/ 494073 h 1424851"/>
                <a:gd name="connsiteX255" fmla="*/ 1170187 w 1487698"/>
                <a:gd name="connsiteY255" fmla="*/ 503067 h 1424851"/>
                <a:gd name="connsiteX256" fmla="*/ 1182395 w 1487698"/>
                <a:gd name="connsiteY256" fmla="*/ 495358 h 1424851"/>
                <a:gd name="connsiteX257" fmla="*/ 1200384 w 1487698"/>
                <a:gd name="connsiteY257" fmla="*/ 494073 h 1424851"/>
                <a:gd name="connsiteX258" fmla="*/ 1215804 w 1487698"/>
                <a:gd name="connsiteY258" fmla="*/ 511420 h 1424851"/>
                <a:gd name="connsiteX259" fmla="*/ 1248571 w 1487698"/>
                <a:gd name="connsiteY259" fmla="*/ 539689 h 1424851"/>
                <a:gd name="connsiteX260" fmla="*/ 1271700 w 1487698"/>
                <a:gd name="connsiteY260" fmla="*/ 569886 h 1424851"/>
                <a:gd name="connsiteX261" fmla="*/ 1308322 w 1487698"/>
                <a:gd name="connsiteY261" fmla="*/ 593016 h 1424851"/>
                <a:gd name="connsiteX262" fmla="*/ 1326954 w 1487698"/>
                <a:gd name="connsiteY262" fmla="*/ 605223 h 1424851"/>
                <a:gd name="connsiteX263" fmla="*/ 1341089 w 1487698"/>
                <a:gd name="connsiteY263" fmla="*/ 623213 h 1424851"/>
                <a:gd name="connsiteX264" fmla="*/ 1359721 w 1487698"/>
                <a:gd name="connsiteY264" fmla="*/ 641845 h 1424851"/>
                <a:gd name="connsiteX265" fmla="*/ 1398270 w 1487698"/>
                <a:gd name="connsiteY265" fmla="*/ 645700 h 1424851"/>
                <a:gd name="connsiteX266" fmla="*/ 1413048 w 1487698"/>
                <a:gd name="connsiteY266" fmla="*/ 658550 h 1424851"/>
                <a:gd name="connsiteX267" fmla="*/ 1429110 w 1487698"/>
                <a:gd name="connsiteY267" fmla="*/ 679752 h 1424851"/>
                <a:gd name="connsiteX268" fmla="*/ 1452882 w 1487698"/>
                <a:gd name="connsiteY268" fmla="*/ 686819 h 1424851"/>
                <a:gd name="connsiteX269" fmla="*/ 1462519 w 1487698"/>
                <a:gd name="connsiteY269" fmla="*/ 696456 h 1424851"/>
                <a:gd name="connsiteX270" fmla="*/ 1478581 w 1487698"/>
                <a:gd name="connsiteY270" fmla="*/ 722156 h 1424851"/>
                <a:gd name="connsiteX271" fmla="*/ 1486934 w 1487698"/>
                <a:gd name="connsiteY271" fmla="*/ 738860 h 142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</a:cxnLst>
              <a:rect l="l" t="t" r="r" b="b"/>
              <a:pathLst>
                <a:path w="1487698" h="1424851">
                  <a:moveTo>
                    <a:pt x="1486934" y="738860"/>
                  </a:moveTo>
                  <a:cubicBezTo>
                    <a:pt x="1483721" y="743358"/>
                    <a:pt x="1478581" y="746570"/>
                    <a:pt x="1479224" y="753638"/>
                  </a:cubicBezTo>
                  <a:cubicBezTo>
                    <a:pt x="1479866" y="760705"/>
                    <a:pt x="1482436" y="765202"/>
                    <a:pt x="1483079" y="769057"/>
                  </a:cubicBezTo>
                  <a:cubicBezTo>
                    <a:pt x="1484364" y="772912"/>
                    <a:pt x="1484364" y="777410"/>
                    <a:pt x="1481794" y="792829"/>
                  </a:cubicBezTo>
                  <a:cubicBezTo>
                    <a:pt x="1479224" y="808249"/>
                    <a:pt x="1478581" y="815959"/>
                    <a:pt x="1474084" y="821099"/>
                  </a:cubicBezTo>
                  <a:cubicBezTo>
                    <a:pt x="1469587" y="826239"/>
                    <a:pt x="1468944" y="831379"/>
                    <a:pt x="1464447" y="835876"/>
                  </a:cubicBezTo>
                  <a:cubicBezTo>
                    <a:pt x="1459307" y="841016"/>
                    <a:pt x="1458664" y="844228"/>
                    <a:pt x="1451597" y="842943"/>
                  </a:cubicBezTo>
                  <a:cubicBezTo>
                    <a:pt x="1444530" y="842301"/>
                    <a:pt x="1438747" y="836519"/>
                    <a:pt x="1434892" y="834591"/>
                  </a:cubicBezTo>
                  <a:cubicBezTo>
                    <a:pt x="1431037" y="832021"/>
                    <a:pt x="1429110" y="829451"/>
                    <a:pt x="1423327" y="826881"/>
                  </a:cubicBezTo>
                  <a:cubicBezTo>
                    <a:pt x="1416903" y="824954"/>
                    <a:pt x="1403410" y="823026"/>
                    <a:pt x="1403410" y="823026"/>
                  </a:cubicBezTo>
                  <a:cubicBezTo>
                    <a:pt x="1403410" y="823026"/>
                    <a:pt x="1400198" y="815959"/>
                    <a:pt x="1391203" y="818529"/>
                  </a:cubicBezTo>
                  <a:cubicBezTo>
                    <a:pt x="1381566" y="821099"/>
                    <a:pt x="1373214" y="820456"/>
                    <a:pt x="1371286" y="826881"/>
                  </a:cubicBezTo>
                  <a:cubicBezTo>
                    <a:pt x="1369359" y="833306"/>
                    <a:pt x="1371928" y="838446"/>
                    <a:pt x="1373214" y="839731"/>
                  </a:cubicBezTo>
                  <a:cubicBezTo>
                    <a:pt x="1373856" y="841016"/>
                    <a:pt x="1376426" y="859006"/>
                    <a:pt x="1373856" y="865431"/>
                  </a:cubicBezTo>
                  <a:cubicBezTo>
                    <a:pt x="1370644" y="871855"/>
                    <a:pt x="1368716" y="902052"/>
                    <a:pt x="1363576" y="908477"/>
                  </a:cubicBezTo>
                  <a:cubicBezTo>
                    <a:pt x="1358436" y="914902"/>
                    <a:pt x="1347514" y="919399"/>
                    <a:pt x="1339162" y="928394"/>
                  </a:cubicBezTo>
                  <a:cubicBezTo>
                    <a:pt x="1330809" y="937389"/>
                    <a:pt x="1318602" y="948311"/>
                    <a:pt x="1312820" y="951524"/>
                  </a:cubicBezTo>
                  <a:cubicBezTo>
                    <a:pt x="1307037" y="954094"/>
                    <a:pt x="1289690" y="950881"/>
                    <a:pt x="1281980" y="952809"/>
                  </a:cubicBezTo>
                  <a:cubicBezTo>
                    <a:pt x="1273628" y="955379"/>
                    <a:pt x="1257566" y="958591"/>
                    <a:pt x="1247286" y="967586"/>
                  </a:cubicBezTo>
                  <a:cubicBezTo>
                    <a:pt x="1236364" y="976581"/>
                    <a:pt x="1237649" y="980436"/>
                    <a:pt x="1229939" y="984291"/>
                  </a:cubicBezTo>
                  <a:cubicBezTo>
                    <a:pt x="1221586" y="988788"/>
                    <a:pt x="1209379" y="991358"/>
                    <a:pt x="1204882" y="994570"/>
                  </a:cubicBezTo>
                  <a:cubicBezTo>
                    <a:pt x="1200384" y="997140"/>
                    <a:pt x="1191389" y="1002280"/>
                    <a:pt x="1183037" y="1012560"/>
                  </a:cubicBezTo>
                  <a:cubicBezTo>
                    <a:pt x="1174685" y="1022840"/>
                    <a:pt x="1165690" y="1031192"/>
                    <a:pt x="1165690" y="1038260"/>
                  </a:cubicBezTo>
                  <a:cubicBezTo>
                    <a:pt x="1166333" y="1045327"/>
                    <a:pt x="1168902" y="1053037"/>
                    <a:pt x="1177255" y="1058819"/>
                  </a:cubicBezTo>
                  <a:cubicBezTo>
                    <a:pt x="1185607" y="1064602"/>
                    <a:pt x="1192032" y="1073596"/>
                    <a:pt x="1205524" y="1085804"/>
                  </a:cubicBezTo>
                  <a:cubicBezTo>
                    <a:pt x="1219659" y="1097368"/>
                    <a:pt x="1222229" y="1093514"/>
                    <a:pt x="1229939" y="1106363"/>
                  </a:cubicBezTo>
                  <a:cubicBezTo>
                    <a:pt x="1237649" y="1119855"/>
                    <a:pt x="1239576" y="1124995"/>
                    <a:pt x="1242788" y="1129493"/>
                  </a:cubicBezTo>
                  <a:cubicBezTo>
                    <a:pt x="1245359" y="1133348"/>
                    <a:pt x="1249213" y="1141700"/>
                    <a:pt x="1247928" y="1148125"/>
                  </a:cubicBezTo>
                  <a:cubicBezTo>
                    <a:pt x="1246643" y="1154550"/>
                    <a:pt x="1241504" y="1164829"/>
                    <a:pt x="1238291" y="1170612"/>
                  </a:cubicBezTo>
                  <a:cubicBezTo>
                    <a:pt x="1235079" y="1176394"/>
                    <a:pt x="1228654" y="1183462"/>
                    <a:pt x="1227369" y="1188602"/>
                  </a:cubicBezTo>
                  <a:cubicBezTo>
                    <a:pt x="1226084" y="1193741"/>
                    <a:pt x="1219017" y="1201451"/>
                    <a:pt x="1226726" y="1202736"/>
                  </a:cubicBezTo>
                  <a:cubicBezTo>
                    <a:pt x="1234436" y="1204021"/>
                    <a:pt x="1249856" y="1204664"/>
                    <a:pt x="1252426" y="1202094"/>
                  </a:cubicBezTo>
                  <a:cubicBezTo>
                    <a:pt x="1254996" y="1198881"/>
                    <a:pt x="1258851" y="1194384"/>
                    <a:pt x="1262706" y="1195669"/>
                  </a:cubicBezTo>
                  <a:cubicBezTo>
                    <a:pt x="1266561" y="1196954"/>
                    <a:pt x="1275555" y="1212374"/>
                    <a:pt x="1280695" y="1219441"/>
                  </a:cubicBezTo>
                  <a:cubicBezTo>
                    <a:pt x="1285193" y="1226508"/>
                    <a:pt x="1287120" y="1227793"/>
                    <a:pt x="1287120" y="1235503"/>
                  </a:cubicBezTo>
                  <a:cubicBezTo>
                    <a:pt x="1287120" y="1243213"/>
                    <a:pt x="1283908" y="1252208"/>
                    <a:pt x="1282623" y="1257990"/>
                  </a:cubicBezTo>
                  <a:cubicBezTo>
                    <a:pt x="1281338" y="1263773"/>
                    <a:pt x="1281338" y="1270198"/>
                    <a:pt x="1281338" y="1272767"/>
                  </a:cubicBezTo>
                  <a:cubicBezTo>
                    <a:pt x="1281338" y="1275337"/>
                    <a:pt x="1275555" y="1280477"/>
                    <a:pt x="1276198" y="1289472"/>
                  </a:cubicBezTo>
                  <a:cubicBezTo>
                    <a:pt x="1276198" y="1298467"/>
                    <a:pt x="1270416" y="1300395"/>
                    <a:pt x="1267846" y="1304892"/>
                  </a:cubicBezTo>
                  <a:cubicBezTo>
                    <a:pt x="1265276" y="1308747"/>
                    <a:pt x="1258208" y="1319669"/>
                    <a:pt x="1253068" y="1316457"/>
                  </a:cubicBezTo>
                  <a:cubicBezTo>
                    <a:pt x="1247286" y="1313244"/>
                    <a:pt x="1243431" y="1308104"/>
                    <a:pt x="1240861" y="1306819"/>
                  </a:cubicBezTo>
                  <a:cubicBezTo>
                    <a:pt x="1238291" y="1305534"/>
                    <a:pt x="1226084" y="1299752"/>
                    <a:pt x="1226084" y="1299752"/>
                  </a:cubicBezTo>
                  <a:cubicBezTo>
                    <a:pt x="1226084" y="1299752"/>
                    <a:pt x="1219659" y="1292042"/>
                    <a:pt x="1211307" y="1287545"/>
                  </a:cubicBezTo>
                  <a:cubicBezTo>
                    <a:pt x="1202954" y="1283047"/>
                    <a:pt x="1193317" y="1281120"/>
                    <a:pt x="1190747" y="1274695"/>
                  </a:cubicBezTo>
                  <a:cubicBezTo>
                    <a:pt x="1188177" y="1268912"/>
                    <a:pt x="1184965" y="1265700"/>
                    <a:pt x="1188177" y="1258633"/>
                  </a:cubicBezTo>
                  <a:cubicBezTo>
                    <a:pt x="1192032" y="1251565"/>
                    <a:pt x="1195887" y="1250923"/>
                    <a:pt x="1195244" y="1245783"/>
                  </a:cubicBezTo>
                  <a:cubicBezTo>
                    <a:pt x="1194602" y="1240643"/>
                    <a:pt x="1189462" y="1233576"/>
                    <a:pt x="1188820" y="1232933"/>
                  </a:cubicBezTo>
                  <a:cubicBezTo>
                    <a:pt x="1188177" y="1232291"/>
                    <a:pt x="1181110" y="1223938"/>
                    <a:pt x="1171473" y="1221368"/>
                  </a:cubicBezTo>
                  <a:cubicBezTo>
                    <a:pt x="1161835" y="1218799"/>
                    <a:pt x="1143203" y="1217513"/>
                    <a:pt x="1141918" y="1219441"/>
                  </a:cubicBezTo>
                  <a:cubicBezTo>
                    <a:pt x="1140633" y="1221368"/>
                    <a:pt x="1128426" y="1227151"/>
                    <a:pt x="1125856" y="1232933"/>
                  </a:cubicBezTo>
                  <a:cubicBezTo>
                    <a:pt x="1123286" y="1239358"/>
                    <a:pt x="1122643" y="1243213"/>
                    <a:pt x="1118146" y="1245140"/>
                  </a:cubicBezTo>
                  <a:cubicBezTo>
                    <a:pt x="1113649" y="1247068"/>
                    <a:pt x="1099514" y="1254135"/>
                    <a:pt x="1097587" y="1250280"/>
                  </a:cubicBezTo>
                  <a:cubicBezTo>
                    <a:pt x="1095659" y="1245783"/>
                    <a:pt x="1093089" y="1242571"/>
                    <a:pt x="1092446" y="1240001"/>
                  </a:cubicBezTo>
                  <a:cubicBezTo>
                    <a:pt x="1091162" y="1237430"/>
                    <a:pt x="1081524" y="1232291"/>
                    <a:pt x="1079597" y="1231648"/>
                  </a:cubicBezTo>
                  <a:cubicBezTo>
                    <a:pt x="1077669" y="1231006"/>
                    <a:pt x="1068032" y="1227151"/>
                    <a:pt x="1064177" y="1231006"/>
                  </a:cubicBezTo>
                  <a:cubicBezTo>
                    <a:pt x="1060322" y="1234218"/>
                    <a:pt x="1062250" y="1236788"/>
                    <a:pt x="1054540" y="1237430"/>
                  </a:cubicBezTo>
                  <a:cubicBezTo>
                    <a:pt x="1046187" y="1237430"/>
                    <a:pt x="1028840" y="1234218"/>
                    <a:pt x="1023700" y="1236146"/>
                  </a:cubicBezTo>
                  <a:cubicBezTo>
                    <a:pt x="1018560" y="1238073"/>
                    <a:pt x="1016633" y="1240001"/>
                    <a:pt x="1014705" y="1241928"/>
                  </a:cubicBezTo>
                  <a:cubicBezTo>
                    <a:pt x="1013421" y="1243855"/>
                    <a:pt x="1008923" y="1244498"/>
                    <a:pt x="1008281" y="1250280"/>
                  </a:cubicBezTo>
                  <a:cubicBezTo>
                    <a:pt x="1006996" y="1256063"/>
                    <a:pt x="1008923" y="1258633"/>
                    <a:pt x="1005711" y="1260560"/>
                  </a:cubicBezTo>
                  <a:cubicBezTo>
                    <a:pt x="1002498" y="1262488"/>
                    <a:pt x="996716" y="1264415"/>
                    <a:pt x="992861" y="1263130"/>
                  </a:cubicBezTo>
                  <a:cubicBezTo>
                    <a:pt x="989648" y="1262488"/>
                    <a:pt x="981939" y="1259918"/>
                    <a:pt x="977441" y="1261203"/>
                  </a:cubicBezTo>
                  <a:cubicBezTo>
                    <a:pt x="972944" y="1262488"/>
                    <a:pt x="926685" y="1259918"/>
                    <a:pt x="924115" y="1260560"/>
                  </a:cubicBezTo>
                  <a:cubicBezTo>
                    <a:pt x="921545" y="1261203"/>
                    <a:pt x="917047" y="1260560"/>
                    <a:pt x="906768" y="1265058"/>
                  </a:cubicBezTo>
                  <a:cubicBezTo>
                    <a:pt x="896488" y="1269555"/>
                    <a:pt x="885566" y="1274052"/>
                    <a:pt x="883638" y="1274052"/>
                  </a:cubicBezTo>
                  <a:cubicBezTo>
                    <a:pt x="881711" y="1274052"/>
                    <a:pt x="870146" y="1270840"/>
                    <a:pt x="862436" y="1273410"/>
                  </a:cubicBezTo>
                  <a:cubicBezTo>
                    <a:pt x="854726" y="1275980"/>
                    <a:pt x="844446" y="1274695"/>
                    <a:pt x="833524" y="1282405"/>
                  </a:cubicBezTo>
                  <a:cubicBezTo>
                    <a:pt x="823244" y="1289472"/>
                    <a:pt x="811680" y="1299752"/>
                    <a:pt x="811680" y="1299752"/>
                  </a:cubicBezTo>
                  <a:cubicBezTo>
                    <a:pt x="811680" y="1299752"/>
                    <a:pt x="802685" y="1308747"/>
                    <a:pt x="798830" y="1309389"/>
                  </a:cubicBezTo>
                  <a:cubicBezTo>
                    <a:pt x="794975" y="1310032"/>
                    <a:pt x="779555" y="1311316"/>
                    <a:pt x="770560" y="1315814"/>
                  </a:cubicBezTo>
                  <a:cubicBezTo>
                    <a:pt x="760923" y="1320311"/>
                    <a:pt x="748716" y="1324809"/>
                    <a:pt x="747431" y="1326736"/>
                  </a:cubicBezTo>
                  <a:cubicBezTo>
                    <a:pt x="746146" y="1328664"/>
                    <a:pt x="746146" y="1331234"/>
                    <a:pt x="739078" y="1336374"/>
                  </a:cubicBezTo>
                  <a:cubicBezTo>
                    <a:pt x="732011" y="1341513"/>
                    <a:pt x="718519" y="1347938"/>
                    <a:pt x="717876" y="1348581"/>
                  </a:cubicBezTo>
                  <a:cubicBezTo>
                    <a:pt x="717234" y="1348581"/>
                    <a:pt x="705027" y="1353721"/>
                    <a:pt x="697959" y="1356291"/>
                  </a:cubicBezTo>
                  <a:cubicBezTo>
                    <a:pt x="690892" y="1358861"/>
                    <a:pt x="684467" y="1361431"/>
                    <a:pt x="672260" y="1363358"/>
                  </a:cubicBezTo>
                  <a:cubicBezTo>
                    <a:pt x="660053" y="1365286"/>
                    <a:pt x="638850" y="1364643"/>
                    <a:pt x="638850" y="1364643"/>
                  </a:cubicBezTo>
                  <a:cubicBezTo>
                    <a:pt x="638850" y="1364643"/>
                    <a:pt x="628571" y="1365928"/>
                    <a:pt x="624716" y="1362715"/>
                  </a:cubicBezTo>
                  <a:cubicBezTo>
                    <a:pt x="620861" y="1359503"/>
                    <a:pt x="614436" y="1353078"/>
                    <a:pt x="611866" y="1343441"/>
                  </a:cubicBezTo>
                  <a:cubicBezTo>
                    <a:pt x="609296" y="1334446"/>
                    <a:pt x="611866" y="1329949"/>
                    <a:pt x="607369" y="1324166"/>
                  </a:cubicBezTo>
                  <a:cubicBezTo>
                    <a:pt x="602871" y="1318384"/>
                    <a:pt x="600301" y="1311959"/>
                    <a:pt x="597089" y="1312602"/>
                  </a:cubicBezTo>
                  <a:cubicBezTo>
                    <a:pt x="593876" y="1313244"/>
                    <a:pt x="584881" y="1315814"/>
                    <a:pt x="583597" y="1313244"/>
                  </a:cubicBezTo>
                  <a:cubicBezTo>
                    <a:pt x="582312" y="1310674"/>
                    <a:pt x="581669" y="1306819"/>
                    <a:pt x="579099" y="1305534"/>
                  </a:cubicBezTo>
                  <a:cubicBezTo>
                    <a:pt x="575887" y="1304249"/>
                    <a:pt x="572032" y="1305534"/>
                    <a:pt x="566249" y="1305534"/>
                  </a:cubicBezTo>
                  <a:cubicBezTo>
                    <a:pt x="560467" y="1305534"/>
                    <a:pt x="550830" y="1304892"/>
                    <a:pt x="546975" y="1304249"/>
                  </a:cubicBezTo>
                  <a:cubicBezTo>
                    <a:pt x="543120" y="1303607"/>
                    <a:pt x="532198" y="1297824"/>
                    <a:pt x="530913" y="1297824"/>
                  </a:cubicBezTo>
                  <a:cubicBezTo>
                    <a:pt x="528985" y="1297824"/>
                    <a:pt x="527700" y="1299109"/>
                    <a:pt x="517420" y="1302322"/>
                  </a:cubicBezTo>
                  <a:cubicBezTo>
                    <a:pt x="507783" y="1305534"/>
                    <a:pt x="494291" y="1310032"/>
                    <a:pt x="487866" y="1307462"/>
                  </a:cubicBezTo>
                  <a:cubicBezTo>
                    <a:pt x="481441" y="1304892"/>
                    <a:pt x="480156" y="1301679"/>
                    <a:pt x="476944" y="1297182"/>
                  </a:cubicBezTo>
                  <a:cubicBezTo>
                    <a:pt x="473089" y="1292042"/>
                    <a:pt x="470519" y="1286260"/>
                    <a:pt x="467949" y="1285617"/>
                  </a:cubicBezTo>
                  <a:cubicBezTo>
                    <a:pt x="465379" y="1285617"/>
                    <a:pt x="460881" y="1284332"/>
                    <a:pt x="458954" y="1289472"/>
                  </a:cubicBezTo>
                  <a:cubicBezTo>
                    <a:pt x="457027" y="1294612"/>
                    <a:pt x="455741" y="1302322"/>
                    <a:pt x="456384" y="1310674"/>
                  </a:cubicBezTo>
                  <a:cubicBezTo>
                    <a:pt x="457027" y="1319026"/>
                    <a:pt x="460239" y="1317741"/>
                    <a:pt x="462809" y="1323524"/>
                  </a:cubicBezTo>
                  <a:cubicBezTo>
                    <a:pt x="466021" y="1329949"/>
                    <a:pt x="469876" y="1344726"/>
                    <a:pt x="462809" y="1357576"/>
                  </a:cubicBezTo>
                  <a:cubicBezTo>
                    <a:pt x="455741" y="1370425"/>
                    <a:pt x="446747" y="1383275"/>
                    <a:pt x="437752" y="1391627"/>
                  </a:cubicBezTo>
                  <a:cubicBezTo>
                    <a:pt x="429400" y="1399337"/>
                    <a:pt x="426187" y="1401265"/>
                    <a:pt x="416550" y="1408332"/>
                  </a:cubicBezTo>
                  <a:cubicBezTo>
                    <a:pt x="406913" y="1415400"/>
                    <a:pt x="381213" y="1423752"/>
                    <a:pt x="378001" y="1424394"/>
                  </a:cubicBezTo>
                  <a:cubicBezTo>
                    <a:pt x="374788" y="1425037"/>
                    <a:pt x="367721" y="1426322"/>
                    <a:pt x="371576" y="1417327"/>
                  </a:cubicBezTo>
                  <a:cubicBezTo>
                    <a:pt x="375431" y="1408332"/>
                    <a:pt x="376073" y="1399337"/>
                    <a:pt x="378643" y="1394840"/>
                  </a:cubicBezTo>
                  <a:cubicBezTo>
                    <a:pt x="381213" y="1389700"/>
                    <a:pt x="385710" y="1387130"/>
                    <a:pt x="385068" y="1381990"/>
                  </a:cubicBezTo>
                  <a:cubicBezTo>
                    <a:pt x="384426" y="1376850"/>
                    <a:pt x="383783" y="1374281"/>
                    <a:pt x="377358" y="1369140"/>
                  </a:cubicBezTo>
                  <a:cubicBezTo>
                    <a:pt x="371576" y="1363358"/>
                    <a:pt x="368363" y="1358861"/>
                    <a:pt x="368363" y="1358861"/>
                  </a:cubicBezTo>
                  <a:cubicBezTo>
                    <a:pt x="368363" y="1358861"/>
                    <a:pt x="354229" y="1349866"/>
                    <a:pt x="350374" y="1345369"/>
                  </a:cubicBezTo>
                  <a:cubicBezTo>
                    <a:pt x="345876" y="1340871"/>
                    <a:pt x="339451" y="1341513"/>
                    <a:pt x="330456" y="1333804"/>
                  </a:cubicBezTo>
                  <a:cubicBezTo>
                    <a:pt x="321462" y="1326094"/>
                    <a:pt x="321462" y="1328021"/>
                    <a:pt x="316964" y="1320311"/>
                  </a:cubicBezTo>
                  <a:cubicBezTo>
                    <a:pt x="312467" y="1312602"/>
                    <a:pt x="307969" y="1308104"/>
                    <a:pt x="304757" y="1305534"/>
                  </a:cubicBezTo>
                  <a:cubicBezTo>
                    <a:pt x="300902" y="1302964"/>
                    <a:pt x="288695" y="1302322"/>
                    <a:pt x="280343" y="1299752"/>
                  </a:cubicBezTo>
                  <a:cubicBezTo>
                    <a:pt x="271990" y="1297182"/>
                    <a:pt x="263638" y="1289472"/>
                    <a:pt x="259141" y="1289472"/>
                  </a:cubicBezTo>
                  <a:cubicBezTo>
                    <a:pt x="254643" y="1289472"/>
                    <a:pt x="246933" y="1289472"/>
                    <a:pt x="243721" y="1294612"/>
                  </a:cubicBezTo>
                  <a:cubicBezTo>
                    <a:pt x="240508" y="1299109"/>
                    <a:pt x="239866" y="1308747"/>
                    <a:pt x="231513" y="1312602"/>
                  </a:cubicBezTo>
                  <a:cubicBezTo>
                    <a:pt x="223161" y="1317099"/>
                    <a:pt x="203244" y="1315814"/>
                    <a:pt x="200674" y="1315814"/>
                  </a:cubicBezTo>
                  <a:cubicBezTo>
                    <a:pt x="200674" y="1315814"/>
                    <a:pt x="200674" y="1315814"/>
                    <a:pt x="200674" y="1315814"/>
                  </a:cubicBezTo>
                  <a:cubicBezTo>
                    <a:pt x="200674" y="1315814"/>
                    <a:pt x="200674" y="1315814"/>
                    <a:pt x="200674" y="1315814"/>
                  </a:cubicBezTo>
                  <a:lnTo>
                    <a:pt x="200674" y="1315814"/>
                  </a:lnTo>
                  <a:cubicBezTo>
                    <a:pt x="200032" y="1315814"/>
                    <a:pt x="198104" y="1315172"/>
                    <a:pt x="190394" y="1313244"/>
                  </a:cubicBezTo>
                  <a:cubicBezTo>
                    <a:pt x="187824" y="1312602"/>
                    <a:pt x="185897" y="1311959"/>
                    <a:pt x="183327" y="1311959"/>
                  </a:cubicBezTo>
                  <a:lnTo>
                    <a:pt x="183327" y="1311959"/>
                  </a:lnTo>
                  <a:cubicBezTo>
                    <a:pt x="180757" y="1288829"/>
                    <a:pt x="210954" y="1282405"/>
                    <a:pt x="224446" y="1270198"/>
                  </a:cubicBezTo>
                  <a:cubicBezTo>
                    <a:pt x="237938" y="1257990"/>
                    <a:pt x="255286" y="1252850"/>
                    <a:pt x="274560" y="1255420"/>
                  </a:cubicBezTo>
                  <a:cubicBezTo>
                    <a:pt x="293192" y="1257990"/>
                    <a:pt x="295762" y="1259275"/>
                    <a:pt x="318249" y="1255420"/>
                  </a:cubicBezTo>
                  <a:cubicBezTo>
                    <a:pt x="341379" y="1250923"/>
                    <a:pt x="352301" y="1245140"/>
                    <a:pt x="356798" y="1234861"/>
                  </a:cubicBezTo>
                  <a:cubicBezTo>
                    <a:pt x="361296" y="1225223"/>
                    <a:pt x="357441" y="1189244"/>
                    <a:pt x="345234" y="1171897"/>
                  </a:cubicBezTo>
                  <a:cubicBezTo>
                    <a:pt x="333027" y="1153907"/>
                    <a:pt x="354229" y="1137845"/>
                    <a:pt x="360011" y="1117928"/>
                  </a:cubicBezTo>
                  <a:cubicBezTo>
                    <a:pt x="365793" y="1098011"/>
                    <a:pt x="361296" y="1076166"/>
                    <a:pt x="357441" y="1053679"/>
                  </a:cubicBezTo>
                  <a:cubicBezTo>
                    <a:pt x="353586" y="1031192"/>
                    <a:pt x="346519" y="1023482"/>
                    <a:pt x="340736" y="999068"/>
                  </a:cubicBezTo>
                  <a:cubicBezTo>
                    <a:pt x="334954" y="975296"/>
                    <a:pt x="321462" y="964374"/>
                    <a:pt x="311182" y="950881"/>
                  </a:cubicBezTo>
                  <a:cubicBezTo>
                    <a:pt x="300902" y="938031"/>
                    <a:pt x="312467" y="927752"/>
                    <a:pt x="316964" y="918757"/>
                  </a:cubicBezTo>
                  <a:cubicBezTo>
                    <a:pt x="321462" y="909120"/>
                    <a:pt x="342021" y="892415"/>
                    <a:pt x="349089" y="891772"/>
                  </a:cubicBezTo>
                  <a:cubicBezTo>
                    <a:pt x="356156" y="891130"/>
                    <a:pt x="350374" y="898840"/>
                    <a:pt x="351016" y="905265"/>
                  </a:cubicBezTo>
                  <a:cubicBezTo>
                    <a:pt x="351659" y="911689"/>
                    <a:pt x="357441" y="911047"/>
                    <a:pt x="368363" y="905265"/>
                  </a:cubicBezTo>
                  <a:cubicBezTo>
                    <a:pt x="379286" y="899482"/>
                    <a:pt x="387638" y="894342"/>
                    <a:pt x="404985" y="880850"/>
                  </a:cubicBezTo>
                  <a:cubicBezTo>
                    <a:pt x="422975" y="867358"/>
                    <a:pt x="410767" y="854508"/>
                    <a:pt x="412695" y="841658"/>
                  </a:cubicBezTo>
                  <a:cubicBezTo>
                    <a:pt x="414622" y="828809"/>
                    <a:pt x="433897" y="815959"/>
                    <a:pt x="439679" y="808892"/>
                  </a:cubicBezTo>
                  <a:cubicBezTo>
                    <a:pt x="445462" y="801824"/>
                    <a:pt x="453172" y="793472"/>
                    <a:pt x="456384" y="776767"/>
                  </a:cubicBezTo>
                  <a:cubicBezTo>
                    <a:pt x="459596" y="760062"/>
                    <a:pt x="451244" y="755565"/>
                    <a:pt x="452529" y="750425"/>
                  </a:cubicBezTo>
                  <a:cubicBezTo>
                    <a:pt x="453814" y="745285"/>
                    <a:pt x="456384" y="717016"/>
                    <a:pt x="456384" y="708663"/>
                  </a:cubicBezTo>
                  <a:cubicBezTo>
                    <a:pt x="456384" y="700311"/>
                    <a:pt x="441607" y="692601"/>
                    <a:pt x="435825" y="679752"/>
                  </a:cubicBezTo>
                  <a:cubicBezTo>
                    <a:pt x="429400" y="666902"/>
                    <a:pt x="416550" y="659835"/>
                    <a:pt x="412695" y="658550"/>
                  </a:cubicBezTo>
                  <a:cubicBezTo>
                    <a:pt x="408197" y="657264"/>
                    <a:pt x="397918" y="652125"/>
                    <a:pt x="393420" y="640560"/>
                  </a:cubicBezTo>
                  <a:cubicBezTo>
                    <a:pt x="388923" y="628353"/>
                    <a:pt x="348446" y="569244"/>
                    <a:pt x="348446" y="569244"/>
                  </a:cubicBezTo>
                  <a:cubicBezTo>
                    <a:pt x="348446" y="569244"/>
                    <a:pt x="339451" y="534550"/>
                    <a:pt x="340094" y="524912"/>
                  </a:cubicBezTo>
                  <a:cubicBezTo>
                    <a:pt x="340736" y="515275"/>
                    <a:pt x="347804" y="507565"/>
                    <a:pt x="351016" y="495358"/>
                  </a:cubicBezTo>
                  <a:cubicBezTo>
                    <a:pt x="354229" y="483151"/>
                    <a:pt x="352944" y="465161"/>
                    <a:pt x="351016" y="454881"/>
                  </a:cubicBezTo>
                  <a:cubicBezTo>
                    <a:pt x="349089" y="444601"/>
                    <a:pt x="340736" y="434321"/>
                    <a:pt x="334311" y="431752"/>
                  </a:cubicBezTo>
                  <a:cubicBezTo>
                    <a:pt x="327887" y="429181"/>
                    <a:pt x="323389" y="437534"/>
                    <a:pt x="323389" y="443316"/>
                  </a:cubicBezTo>
                  <a:cubicBezTo>
                    <a:pt x="323389" y="449099"/>
                    <a:pt x="322104" y="456809"/>
                    <a:pt x="320177" y="467088"/>
                  </a:cubicBezTo>
                  <a:cubicBezTo>
                    <a:pt x="318249" y="476726"/>
                    <a:pt x="297690" y="472228"/>
                    <a:pt x="288695" y="463876"/>
                  </a:cubicBezTo>
                  <a:cubicBezTo>
                    <a:pt x="279057" y="455523"/>
                    <a:pt x="286767" y="434964"/>
                    <a:pt x="286125" y="429824"/>
                  </a:cubicBezTo>
                  <a:cubicBezTo>
                    <a:pt x="284840" y="424684"/>
                    <a:pt x="255928" y="374570"/>
                    <a:pt x="254001" y="368788"/>
                  </a:cubicBezTo>
                  <a:cubicBezTo>
                    <a:pt x="252073" y="363005"/>
                    <a:pt x="244363" y="361720"/>
                    <a:pt x="236011" y="357223"/>
                  </a:cubicBezTo>
                  <a:cubicBezTo>
                    <a:pt x="227659" y="352726"/>
                    <a:pt x="218664" y="359150"/>
                    <a:pt x="212881" y="359150"/>
                  </a:cubicBezTo>
                  <a:cubicBezTo>
                    <a:pt x="207099" y="359150"/>
                    <a:pt x="201959" y="342446"/>
                    <a:pt x="197462" y="337306"/>
                  </a:cubicBezTo>
                  <a:cubicBezTo>
                    <a:pt x="192964" y="332166"/>
                    <a:pt x="172405" y="337948"/>
                    <a:pt x="168550" y="337948"/>
                  </a:cubicBezTo>
                  <a:cubicBezTo>
                    <a:pt x="164695" y="337948"/>
                    <a:pt x="156985" y="340518"/>
                    <a:pt x="148633" y="338591"/>
                  </a:cubicBezTo>
                  <a:cubicBezTo>
                    <a:pt x="140280" y="336663"/>
                    <a:pt x="144135" y="328954"/>
                    <a:pt x="143493" y="328954"/>
                  </a:cubicBezTo>
                  <a:cubicBezTo>
                    <a:pt x="142850" y="328954"/>
                    <a:pt x="136425" y="327026"/>
                    <a:pt x="131928" y="328954"/>
                  </a:cubicBezTo>
                  <a:cubicBezTo>
                    <a:pt x="127431" y="330881"/>
                    <a:pt x="130001" y="336663"/>
                    <a:pt x="128715" y="336021"/>
                  </a:cubicBezTo>
                  <a:cubicBezTo>
                    <a:pt x="126788" y="334736"/>
                    <a:pt x="114581" y="336021"/>
                    <a:pt x="113296" y="336021"/>
                  </a:cubicBezTo>
                  <a:cubicBezTo>
                    <a:pt x="111368" y="336021"/>
                    <a:pt x="95949" y="348228"/>
                    <a:pt x="94664" y="353368"/>
                  </a:cubicBezTo>
                  <a:cubicBezTo>
                    <a:pt x="92736" y="358508"/>
                    <a:pt x="103016" y="361078"/>
                    <a:pt x="111368" y="360435"/>
                  </a:cubicBezTo>
                  <a:cubicBezTo>
                    <a:pt x="119721" y="359793"/>
                    <a:pt x="126146" y="362363"/>
                    <a:pt x="127431" y="363005"/>
                  </a:cubicBezTo>
                  <a:cubicBezTo>
                    <a:pt x="129358" y="363648"/>
                    <a:pt x="132570" y="380995"/>
                    <a:pt x="132570" y="389347"/>
                  </a:cubicBezTo>
                  <a:cubicBezTo>
                    <a:pt x="132570" y="398342"/>
                    <a:pt x="117793" y="403482"/>
                    <a:pt x="112011" y="407337"/>
                  </a:cubicBezTo>
                  <a:cubicBezTo>
                    <a:pt x="106228" y="411192"/>
                    <a:pt x="72819" y="422757"/>
                    <a:pt x="63824" y="422757"/>
                  </a:cubicBezTo>
                  <a:cubicBezTo>
                    <a:pt x="54829" y="422114"/>
                    <a:pt x="45835" y="425969"/>
                    <a:pt x="43265" y="428539"/>
                  </a:cubicBezTo>
                  <a:cubicBezTo>
                    <a:pt x="39410" y="424684"/>
                    <a:pt x="35555" y="420829"/>
                    <a:pt x="34270" y="418259"/>
                  </a:cubicBezTo>
                  <a:cubicBezTo>
                    <a:pt x="29772" y="413119"/>
                    <a:pt x="31700" y="404767"/>
                    <a:pt x="32342" y="397057"/>
                  </a:cubicBezTo>
                  <a:cubicBezTo>
                    <a:pt x="33627" y="389347"/>
                    <a:pt x="39410" y="373928"/>
                    <a:pt x="43265" y="357866"/>
                  </a:cubicBezTo>
                  <a:cubicBezTo>
                    <a:pt x="47120" y="341803"/>
                    <a:pt x="37482" y="337306"/>
                    <a:pt x="28488" y="323171"/>
                  </a:cubicBezTo>
                  <a:cubicBezTo>
                    <a:pt x="18850" y="309036"/>
                    <a:pt x="7285" y="256352"/>
                    <a:pt x="2145" y="236435"/>
                  </a:cubicBezTo>
                  <a:cubicBezTo>
                    <a:pt x="-2994" y="216518"/>
                    <a:pt x="2145" y="204311"/>
                    <a:pt x="6643" y="199171"/>
                  </a:cubicBezTo>
                  <a:cubicBezTo>
                    <a:pt x="11140" y="193389"/>
                    <a:pt x="54829" y="181182"/>
                    <a:pt x="67037" y="178611"/>
                  </a:cubicBezTo>
                  <a:cubicBezTo>
                    <a:pt x="79244" y="176041"/>
                    <a:pt x="98519" y="183109"/>
                    <a:pt x="111368" y="187606"/>
                  </a:cubicBezTo>
                  <a:cubicBezTo>
                    <a:pt x="124861" y="192104"/>
                    <a:pt x="126146" y="197886"/>
                    <a:pt x="138353" y="199171"/>
                  </a:cubicBezTo>
                  <a:cubicBezTo>
                    <a:pt x="151203" y="200456"/>
                    <a:pt x="162125" y="194674"/>
                    <a:pt x="162125" y="192104"/>
                  </a:cubicBezTo>
                  <a:cubicBezTo>
                    <a:pt x="162125" y="189534"/>
                    <a:pt x="158912" y="172187"/>
                    <a:pt x="153130" y="167689"/>
                  </a:cubicBezTo>
                  <a:cubicBezTo>
                    <a:pt x="147348" y="163192"/>
                    <a:pt x="151203" y="148415"/>
                    <a:pt x="153130" y="142632"/>
                  </a:cubicBezTo>
                  <a:cubicBezTo>
                    <a:pt x="155057" y="136850"/>
                    <a:pt x="165980" y="142632"/>
                    <a:pt x="172405" y="141990"/>
                  </a:cubicBezTo>
                  <a:cubicBezTo>
                    <a:pt x="178830" y="141347"/>
                    <a:pt x="187182" y="143275"/>
                    <a:pt x="192964" y="141990"/>
                  </a:cubicBezTo>
                  <a:cubicBezTo>
                    <a:pt x="198747" y="140705"/>
                    <a:pt x="257855" y="76456"/>
                    <a:pt x="261068" y="72601"/>
                  </a:cubicBezTo>
                  <a:cubicBezTo>
                    <a:pt x="264280" y="68104"/>
                    <a:pt x="282270" y="59751"/>
                    <a:pt x="293835" y="53326"/>
                  </a:cubicBezTo>
                  <a:cubicBezTo>
                    <a:pt x="305399" y="46259"/>
                    <a:pt x="311824" y="22487"/>
                    <a:pt x="311824" y="22487"/>
                  </a:cubicBezTo>
                  <a:cubicBezTo>
                    <a:pt x="317607" y="16705"/>
                    <a:pt x="323389" y="10280"/>
                    <a:pt x="328529" y="4497"/>
                  </a:cubicBezTo>
                  <a:cubicBezTo>
                    <a:pt x="329814" y="2570"/>
                    <a:pt x="331742" y="1285"/>
                    <a:pt x="333669" y="643"/>
                  </a:cubicBezTo>
                  <a:cubicBezTo>
                    <a:pt x="335596" y="0"/>
                    <a:pt x="336881" y="0"/>
                    <a:pt x="338809" y="0"/>
                  </a:cubicBezTo>
                  <a:cubicBezTo>
                    <a:pt x="342664" y="0"/>
                    <a:pt x="346519" y="0"/>
                    <a:pt x="349731" y="0"/>
                  </a:cubicBezTo>
                  <a:cubicBezTo>
                    <a:pt x="352944" y="0"/>
                    <a:pt x="356798" y="0"/>
                    <a:pt x="360011" y="1285"/>
                  </a:cubicBezTo>
                  <a:cubicBezTo>
                    <a:pt x="363223" y="2570"/>
                    <a:pt x="366436" y="4497"/>
                    <a:pt x="369648" y="6425"/>
                  </a:cubicBezTo>
                  <a:cubicBezTo>
                    <a:pt x="386353" y="18632"/>
                    <a:pt x="403700" y="30839"/>
                    <a:pt x="417192" y="45617"/>
                  </a:cubicBezTo>
                  <a:cubicBezTo>
                    <a:pt x="436467" y="67461"/>
                    <a:pt x="447389" y="94446"/>
                    <a:pt x="461524" y="120145"/>
                  </a:cubicBezTo>
                  <a:cubicBezTo>
                    <a:pt x="465379" y="126570"/>
                    <a:pt x="469234" y="132995"/>
                    <a:pt x="474374" y="138135"/>
                  </a:cubicBezTo>
                  <a:cubicBezTo>
                    <a:pt x="482726" y="144560"/>
                    <a:pt x="493648" y="147772"/>
                    <a:pt x="503928" y="149057"/>
                  </a:cubicBezTo>
                  <a:cubicBezTo>
                    <a:pt x="509068" y="149699"/>
                    <a:pt x="514850" y="149699"/>
                    <a:pt x="518705" y="145845"/>
                  </a:cubicBezTo>
                  <a:cubicBezTo>
                    <a:pt x="524488" y="139420"/>
                    <a:pt x="516778" y="127855"/>
                    <a:pt x="522560" y="121430"/>
                  </a:cubicBezTo>
                  <a:cubicBezTo>
                    <a:pt x="525130" y="118860"/>
                    <a:pt x="528343" y="118218"/>
                    <a:pt x="530913" y="115648"/>
                  </a:cubicBezTo>
                  <a:cubicBezTo>
                    <a:pt x="534768" y="111793"/>
                    <a:pt x="532840" y="103440"/>
                    <a:pt x="526415" y="102155"/>
                  </a:cubicBezTo>
                  <a:cubicBezTo>
                    <a:pt x="523203" y="101513"/>
                    <a:pt x="519990" y="102155"/>
                    <a:pt x="517420" y="101513"/>
                  </a:cubicBezTo>
                  <a:cubicBezTo>
                    <a:pt x="511638" y="99586"/>
                    <a:pt x="510995" y="91876"/>
                    <a:pt x="513565" y="86093"/>
                  </a:cubicBezTo>
                  <a:cubicBezTo>
                    <a:pt x="519990" y="71316"/>
                    <a:pt x="543120" y="67461"/>
                    <a:pt x="557897" y="65534"/>
                  </a:cubicBezTo>
                  <a:cubicBezTo>
                    <a:pt x="572674" y="63606"/>
                    <a:pt x="588094" y="65534"/>
                    <a:pt x="600944" y="71959"/>
                  </a:cubicBezTo>
                  <a:cubicBezTo>
                    <a:pt x="611866" y="77098"/>
                    <a:pt x="620861" y="86093"/>
                    <a:pt x="626001" y="96373"/>
                  </a:cubicBezTo>
                  <a:cubicBezTo>
                    <a:pt x="629856" y="102798"/>
                    <a:pt x="632426" y="110508"/>
                    <a:pt x="638850" y="114363"/>
                  </a:cubicBezTo>
                  <a:cubicBezTo>
                    <a:pt x="643990" y="117575"/>
                    <a:pt x="651058" y="116933"/>
                    <a:pt x="657483" y="116290"/>
                  </a:cubicBezTo>
                  <a:cubicBezTo>
                    <a:pt x="661980" y="115648"/>
                    <a:pt x="667120" y="115648"/>
                    <a:pt x="670975" y="112435"/>
                  </a:cubicBezTo>
                  <a:cubicBezTo>
                    <a:pt x="674830" y="109865"/>
                    <a:pt x="676757" y="106010"/>
                    <a:pt x="677400" y="101513"/>
                  </a:cubicBezTo>
                  <a:cubicBezTo>
                    <a:pt x="678685" y="95731"/>
                    <a:pt x="679327" y="89948"/>
                    <a:pt x="678042" y="84808"/>
                  </a:cubicBezTo>
                  <a:cubicBezTo>
                    <a:pt x="677400" y="82238"/>
                    <a:pt x="676757" y="79668"/>
                    <a:pt x="676115" y="77098"/>
                  </a:cubicBezTo>
                  <a:cubicBezTo>
                    <a:pt x="675472" y="71316"/>
                    <a:pt x="677400" y="65534"/>
                    <a:pt x="678042" y="59751"/>
                  </a:cubicBezTo>
                  <a:cubicBezTo>
                    <a:pt x="678685" y="53969"/>
                    <a:pt x="677400" y="47544"/>
                    <a:pt x="672902" y="43689"/>
                  </a:cubicBezTo>
                  <a:cubicBezTo>
                    <a:pt x="670332" y="41762"/>
                    <a:pt x="667762" y="41119"/>
                    <a:pt x="665192" y="39192"/>
                  </a:cubicBezTo>
                  <a:cubicBezTo>
                    <a:pt x="662622" y="37264"/>
                    <a:pt x="661337" y="34052"/>
                    <a:pt x="662622" y="31482"/>
                  </a:cubicBezTo>
                  <a:cubicBezTo>
                    <a:pt x="664550" y="28912"/>
                    <a:pt x="668405" y="28912"/>
                    <a:pt x="670332" y="27627"/>
                  </a:cubicBezTo>
                  <a:cubicBezTo>
                    <a:pt x="672902" y="25699"/>
                    <a:pt x="673545" y="21845"/>
                    <a:pt x="675472" y="18632"/>
                  </a:cubicBezTo>
                  <a:cubicBezTo>
                    <a:pt x="678042" y="12850"/>
                    <a:pt x="685110" y="8352"/>
                    <a:pt x="692177" y="8995"/>
                  </a:cubicBezTo>
                  <a:cubicBezTo>
                    <a:pt x="696032" y="8995"/>
                    <a:pt x="699887" y="10280"/>
                    <a:pt x="703099" y="8352"/>
                  </a:cubicBezTo>
                  <a:cubicBezTo>
                    <a:pt x="704384" y="7710"/>
                    <a:pt x="705669" y="6425"/>
                    <a:pt x="706954" y="5782"/>
                  </a:cubicBezTo>
                  <a:cubicBezTo>
                    <a:pt x="708239" y="5140"/>
                    <a:pt x="710167" y="4497"/>
                    <a:pt x="711452" y="4497"/>
                  </a:cubicBezTo>
                  <a:cubicBezTo>
                    <a:pt x="715307" y="3855"/>
                    <a:pt x="719804" y="4497"/>
                    <a:pt x="722374" y="6425"/>
                  </a:cubicBezTo>
                  <a:cubicBezTo>
                    <a:pt x="725586" y="8995"/>
                    <a:pt x="726229" y="13492"/>
                    <a:pt x="723016" y="16062"/>
                  </a:cubicBezTo>
                  <a:cubicBezTo>
                    <a:pt x="722374" y="16705"/>
                    <a:pt x="720446" y="17347"/>
                    <a:pt x="719804" y="17990"/>
                  </a:cubicBezTo>
                  <a:cubicBezTo>
                    <a:pt x="719161" y="18632"/>
                    <a:pt x="719161" y="19917"/>
                    <a:pt x="719161" y="21202"/>
                  </a:cubicBezTo>
                  <a:cubicBezTo>
                    <a:pt x="721089" y="39192"/>
                    <a:pt x="730084" y="53969"/>
                    <a:pt x="745503" y="64249"/>
                  </a:cubicBezTo>
                  <a:cubicBezTo>
                    <a:pt x="754498" y="70674"/>
                    <a:pt x="767990" y="68104"/>
                    <a:pt x="776985" y="64249"/>
                  </a:cubicBezTo>
                  <a:cubicBezTo>
                    <a:pt x="785980" y="60394"/>
                    <a:pt x="792405" y="63606"/>
                    <a:pt x="825814" y="57181"/>
                  </a:cubicBezTo>
                  <a:cubicBezTo>
                    <a:pt x="859224" y="50756"/>
                    <a:pt x="860508" y="46901"/>
                    <a:pt x="860508" y="46901"/>
                  </a:cubicBezTo>
                  <a:cubicBezTo>
                    <a:pt x="863079" y="47544"/>
                    <a:pt x="865649" y="46901"/>
                    <a:pt x="867576" y="46901"/>
                  </a:cubicBezTo>
                  <a:cubicBezTo>
                    <a:pt x="872716" y="46259"/>
                    <a:pt x="878498" y="47544"/>
                    <a:pt x="882996" y="50756"/>
                  </a:cubicBezTo>
                  <a:cubicBezTo>
                    <a:pt x="886851" y="53969"/>
                    <a:pt x="889420" y="59109"/>
                    <a:pt x="888136" y="64249"/>
                  </a:cubicBezTo>
                  <a:cubicBezTo>
                    <a:pt x="887493" y="66819"/>
                    <a:pt x="886208" y="68746"/>
                    <a:pt x="886851" y="71316"/>
                  </a:cubicBezTo>
                  <a:cubicBezTo>
                    <a:pt x="887493" y="74529"/>
                    <a:pt x="891348" y="77098"/>
                    <a:pt x="894560" y="78384"/>
                  </a:cubicBezTo>
                  <a:cubicBezTo>
                    <a:pt x="906768" y="83523"/>
                    <a:pt x="920902" y="83523"/>
                    <a:pt x="931825" y="89306"/>
                  </a:cubicBezTo>
                  <a:cubicBezTo>
                    <a:pt x="931825" y="89948"/>
                    <a:pt x="931825" y="91233"/>
                    <a:pt x="931825" y="92518"/>
                  </a:cubicBezTo>
                  <a:cubicBezTo>
                    <a:pt x="933110" y="100871"/>
                    <a:pt x="933752" y="98943"/>
                    <a:pt x="940177" y="108580"/>
                  </a:cubicBezTo>
                  <a:cubicBezTo>
                    <a:pt x="946602" y="118218"/>
                    <a:pt x="953669" y="132352"/>
                    <a:pt x="956239" y="137492"/>
                  </a:cubicBezTo>
                  <a:cubicBezTo>
                    <a:pt x="958167" y="142632"/>
                    <a:pt x="964592" y="145845"/>
                    <a:pt x="963949" y="149057"/>
                  </a:cubicBezTo>
                  <a:cubicBezTo>
                    <a:pt x="963306" y="152270"/>
                    <a:pt x="958809" y="156124"/>
                    <a:pt x="957524" y="160622"/>
                  </a:cubicBezTo>
                  <a:cubicBezTo>
                    <a:pt x="956239" y="165119"/>
                    <a:pt x="953669" y="166404"/>
                    <a:pt x="960737" y="172829"/>
                  </a:cubicBezTo>
                  <a:cubicBezTo>
                    <a:pt x="967804" y="179254"/>
                    <a:pt x="967804" y="181182"/>
                    <a:pt x="971659" y="183109"/>
                  </a:cubicBezTo>
                  <a:cubicBezTo>
                    <a:pt x="975514" y="185036"/>
                    <a:pt x="974229" y="182466"/>
                    <a:pt x="980654" y="186321"/>
                  </a:cubicBezTo>
                  <a:cubicBezTo>
                    <a:pt x="987079" y="190176"/>
                    <a:pt x="989648" y="189534"/>
                    <a:pt x="992861" y="195316"/>
                  </a:cubicBezTo>
                  <a:cubicBezTo>
                    <a:pt x="995431" y="201098"/>
                    <a:pt x="1002498" y="206881"/>
                    <a:pt x="1005711" y="208808"/>
                  </a:cubicBezTo>
                  <a:cubicBezTo>
                    <a:pt x="1008923" y="210736"/>
                    <a:pt x="1017918" y="212663"/>
                    <a:pt x="1024985" y="215876"/>
                  </a:cubicBezTo>
                  <a:cubicBezTo>
                    <a:pt x="1032053" y="219088"/>
                    <a:pt x="1045545" y="231938"/>
                    <a:pt x="1046187" y="232580"/>
                  </a:cubicBezTo>
                  <a:cubicBezTo>
                    <a:pt x="1046830" y="233223"/>
                    <a:pt x="1055182" y="241575"/>
                    <a:pt x="1058395" y="244788"/>
                  </a:cubicBezTo>
                  <a:cubicBezTo>
                    <a:pt x="1062250" y="248643"/>
                    <a:pt x="1066104" y="246073"/>
                    <a:pt x="1067390" y="254425"/>
                  </a:cubicBezTo>
                  <a:cubicBezTo>
                    <a:pt x="1068675" y="262777"/>
                    <a:pt x="1070602" y="265347"/>
                    <a:pt x="1068032" y="274342"/>
                  </a:cubicBezTo>
                  <a:cubicBezTo>
                    <a:pt x="1065462" y="283337"/>
                    <a:pt x="1063535" y="285264"/>
                    <a:pt x="1060322" y="290404"/>
                  </a:cubicBezTo>
                  <a:cubicBezTo>
                    <a:pt x="1057110" y="295544"/>
                    <a:pt x="1053897" y="302612"/>
                    <a:pt x="1050042" y="310321"/>
                  </a:cubicBezTo>
                  <a:cubicBezTo>
                    <a:pt x="1046187" y="318031"/>
                    <a:pt x="1041047" y="327669"/>
                    <a:pt x="1042333" y="338591"/>
                  </a:cubicBezTo>
                  <a:cubicBezTo>
                    <a:pt x="1043617" y="349513"/>
                    <a:pt x="1054540" y="353368"/>
                    <a:pt x="1057752" y="355938"/>
                  </a:cubicBezTo>
                  <a:cubicBezTo>
                    <a:pt x="1060965" y="358508"/>
                    <a:pt x="1062892" y="364290"/>
                    <a:pt x="1062892" y="364933"/>
                  </a:cubicBezTo>
                  <a:cubicBezTo>
                    <a:pt x="1062892" y="366218"/>
                    <a:pt x="1080882" y="382280"/>
                    <a:pt x="1084094" y="397700"/>
                  </a:cubicBezTo>
                  <a:cubicBezTo>
                    <a:pt x="1087307" y="413119"/>
                    <a:pt x="1077027" y="404124"/>
                    <a:pt x="1087307" y="421472"/>
                  </a:cubicBezTo>
                  <a:cubicBezTo>
                    <a:pt x="1097587" y="438819"/>
                    <a:pt x="1096944" y="442674"/>
                    <a:pt x="1106581" y="454239"/>
                  </a:cubicBezTo>
                  <a:cubicBezTo>
                    <a:pt x="1116219" y="465803"/>
                    <a:pt x="1135493" y="485720"/>
                    <a:pt x="1135493" y="485720"/>
                  </a:cubicBezTo>
                  <a:cubicBezTo>
                    <a:pt x="1135493" y="485720"/>
                    <a:pt x="1147700" y="487648"/>
                    <a:pt x="1153483" y="494073"/>
                  </a:cubicBezTo>
                  <a:cubicBezTo>
                    <a:pt x="1159265" y="500498"/>
                    <a:pt x="1166333" y="504353"/>
                    <a:pt x="1170187" y="503067"/>
                  </a:cubicBezTo>
                  <a:cubicBezTo>
                    <a:pt x="1174042" y="501783"/>
                    <a:pt x="1177255" y="497285"/>
                    <a:pt x="1182395" y="495358"/>
                  </a:cubicBezTo>
                  <a:cubicBezTo>
                    <a:pt x="1186892" y="493430"/>
                    <a:pt x="1192675" y="490860"/>
                    <a:pt x="1200384" y="494073"/>
                  </a:cubicBezTo>
                  <a:cubicBezTo>
                    <a:pt x="1207452" y="497285"/>
                    <a:pt x="1212592" y="506280"/>
                    <a:pt x="1215804" y="511420"/>
                  </a:cubicBezTo>
                  <a:cubicBezTo>
                    <a:pt x="1219659" y="516560"/>
                    <a:pt x="1237649" y="522342"/>
                    <a:pt x="1248571" y="539689"/>
                  </a:cubicBezTo>
                  <a:cubicBezTo>
                    <a:pt x="1258851" y="557679"/>
                    <a:pt x="1263991" y="562819"/>
                    <a:pt x="1271700" y="569886"/>
                  </a:cubicBezTo>
                  <a:cubicBezTo>
                    <a:pt x="1279410" y="576954"/>
                    <a:pt x="1305752" y="590446"/>
                    <a:pt x="1308322" y="593016"/>
                  </a:cubicBezTo>
                  <a:cubicBezTo>
                    <a:pt x="1310892" y="596228"/>
                    <a:pt x="1326954" y="605223"/>
                    <a:pt x="1326954" y="605223"/>
                  </a:cubicBezTo>
                  <a:cubicBezTo>
                    <a:pt x="1326954" y="605223"/>
                    <a:pt x="1334022" y="612933"/>
                    <a:pt x="1341089" y="623213"/>
                  </a:cubicBezTo>
                  <a:cubicBezTo>
                    <a:pt x="1348157" y="633493"/>
                    <a:pt x="1344944" y="639917"/>
                    <a:pt x="1359721" y="641845"/>
                  </a:cubicBezTo>
                  <a:cubicBezTo>
                    <a:pt x="1374498" y="644415"/>
                    <a:pt x="1390561" y="645700"/>
                    <a:pt x="1398270" y="645700"/>
                  </a:cubicBezTo>
                  <a:cubicBezTo>
                    <a:pt x="1406623" y="645700"/>
                    <a:pt x="1411120" y="654695"/>
                    <a:pt x="1413048" y="658550"/>
                  </a:cubicBezTo>
                  <a:cubicBezTo>
                    <a:pt x="1414975" y="662404"/>
                    <a:pt x="1422043" y="673969"/>
                    <a:pt x="1429110" y="679752"/>
                  </a:cubicBezTo>
                  <a:cubicBezTo>
                    <a:pt x="1435535" y="685534"/>
                    <a:pt x="1448384" y="684892"/>
                    <a:pt x="1452882" y="686819"/>
                  </a:cubicBezTo>
                  <a:cubicBezTo>
                    <a:pt x="1457379" y="688746"/>
                    <a:pt x="1461234" y="693886"/>
                    <a:pt x="1462519" y="696456"/>
                  </a:cubicBezTo>
                  <a:cubicBezTo>
                    <a:pt x="1463804" y="699026"/>
                    <a:pt x="1472799" y="715088"/>
                    <a:pt x="1478581" y="722156"/>
                  </a:cubicBezTo>
                  <a:cubicBezTo>
                    <a:pt x="1482436" y="729866"/>
                    <a:pt x="1490146" y="734363"/>
                    <a:pt x="1486934" y="738860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 447">
              <a:extLst>
                <a:ext uri="{FF2B5EF4-FFF2-40B4-BE49-F238E27FC236}">
                  <a16:creationId xmlns:a16="http://schemas.microsoft.com/office/drawing/2014/main" id="{A6D2896C-2CA2-3159-6603-2E3020933E05}"/>
                </a:ext>
              </a:extLst>
            </p:cNvPr>
            <p:cNvSpPr/>
            <p:nvPr/>
          </p:nvSpPr>
          <p:spPr>
            <a:xfrm>
              <a:off x="2661704" y="4164662"/>
              <a:ext cx="1487698" cy="1424851"/>
            </a:xfrm>
            <a:custGeom>
              <a:avLst/>
              <a:gdLst>
                <a:gd name="connsiteX0" fmla="*/ 1486934 w 1487698"/>
                <a:gd name="connsiteY0" fmla="*/ 738860 h 1424851"/>
                <a:gd name="connsiteX1" fmla="*/ 1479224 w 1487698"/>
                <a:gd name="connsiteY1" fmla="*/ 753638 h 1424851"/>
                <a:gd name="connsiteX2" fmla="*/ 1483079 w 1487698"/>
                <a:gd name="connsiteY2" fmla="*/ 769057 h 1424851"/>
                <a:gd name="connsiteX3" fmla="*/ 1481794 w 1487698"/>
                <a:gd name="connsiteY3" fmla="*/ 792829 h 1424851"/>
                <a:gd name="connsiteX4" fmla="*/ 1474084 w 1487698"/>
                <a:gd name="connsiteY4" fmla="*/ 821099 h 1424851"/>
                <a:gd name="connsiteX5" fmla="*/ 1464447 w 1487698"/>
                <a:gd name="connsiteY5" fmla="*/ 835876 h 1424851"/>
                <a:gd name="connsiteX6" fmla="*/ 1451597 w 1487698"/>
                <a:gd name="connsiteY6" fmla="*/ 842943 h 1424851"/>
                <a:gd name="connsiteX7" fmla="*/ 1434892 w 1487698"/>
                <a:gd name="connsiteY7" fmla="*/ 834591 h 1424851"/>
                <a:gd name="connsiteX8" fmla="*/ 1423327 w 1487698"/>
                <a:gd name="connsiteY8" fmla="*/ 826881 h 1424851"/>
                <a:gd name="connsiteX9" fmla="*/ 1403410 w 1487698"/>
                <a:gd name="connsiteY9" fmla="*/ 823026 h 1424851"/>
                <a:gd name="connsiteX10" fmla="*/ 1391203 w 1487698"/>
                <a:gd name="connsiteY10" fmla="*/ 818529 h 1424851"/>
                <a:gd name="connsiteX11" fmla="*/ 1371286 w 1487698"/>
                <a:gd name="connsiteY11" fmla="*/ 826881 h 1424851"/>
                <a:gd name="connsiteX12" fmla="*/ 1373214 w 1487698"/>
                <a:gd name="connsiteY12" fmla="*/ 839731 h 1424851"/>
                <a:gd name="connsiteX13" fmla="*/ 1373856 w 1487698"/>
                <a:gd name="connsiteY13" fmla="*/ 865431 h 1424851"/>
                <a:gd name="connsiteX14" fmla="*/ 1363576 w 1487698"/>
                <a:gd name="connsiteY14" fmla="*/ 908477 h 1424851"/>
                <a:gd name="connsiteX15" fmla="*/ 1339162 w 1487698"/>
                <a:gd name="connsiteY15" fmla="*/ 928394 h 1424851"/>
                <a:gd name="connsiteX16" fmla="*/ 1312820 w 1487698"/>
                <a:gd name="connsiteY16" fmla="*/ 951524 h 1424851"/>
                <a:gd name="connsiteX17" fmla="*/ 1281980 w 1487698"/>
                <a:gd name="connsiteY17" fmla="*/ 952809 h 1424851"/>
                <a:gd name="connsiteX18" fmla="*/ 1247286 w 1487698"/>
                <a:gd name="connsiteY18" fmla="*/ 967586 h 1424851"/>
                <a:gd name="connsiteX19" fmla="*/ 1229939 w 1487698"/>
                <a:gd name="connsiteY19" fmla="*/ 984291 h 1424851"/>
                <a:gd name="connsiteX20" fmla="*/ 1204882 w 1487698"/>
                <a:gd name="connsiteY20" fmla="*/ 994570 h 1424851"/>
                <a:gd name="connsiteX21" fmla="*/ 1183037 w 1487698"/>
                <a:gd name="connsiteY21" fmla="*/ 1012560 h 1424851"/>
                <a:gd name="connsiteX22" fmla="*/ 1165690 w 1487698"/>
                <a:gd name="connsiteY22" fmla="*/ 1038260 h 1424851"/>
                <a:gd name="connsiteX23" fmla="*/ 1177255 w 1487698"/>
                <a:gd name="connsiteY23" fmla="*/ 1058819 h 1424851"/>
                <a:gd name="connsiteX24" fmla="*/ 1205524 w 1487698"/>
                <a:gd name="connsiteY24" fmla="*/ 1085804 h 1424851"/>
                <a:gd name="connsiteX25" fmla="*/ 1229939 w 1487698"/>
                <a:gd name="connsiteY25" fmla="*/ 1106363 h 1424851"/>
                <a:gd name="connsiteX26" fmla="*/ 1242788 w 1487698"/>
                <a:gd name="connsiteY26" fmla="*/ 1129493 h 1424851"/>
                <a:gd name="connsiteX27" fmla="*/ 1247928 w 1487698"/>
                <a:gd name="connsiteY27" fmla="*/ 1148125 h 1424851"/>
                <a:gd name="connsiteX28" fmla="*/ 1238291 w 1487698"/>
                <a:gd name="connsiteY28" fmla="*/ 1170612 h 1424851"/>
                <a:gd name="connsiteX29" fmla="*/ 1227369 w 1487698"/>
                <a:gd name="connsiteY29" fmla="*/ 1188602 h 1424851"/>
                <a:gd name="connsiteX30" fmla="*/ 1226726 w 1487698"/>
                <a:gd name="connsiteY30" fmla="*/ 1202736 h 1424851"/>
                <a:gd name="connsiteX31" fmla="*/ 1252426 w 1487698"/>
                <a:gd name="connsiteY31" fmla="*/ 1202094 h 1424851"/>
                <a:gd name="connsiteX32" fmla="*/ 1262706 w 1487698"/>
                <a:gd name="connsiteY32" fmla="*/ 1195669 h 1424851"/>
                <a:gd name="connsiteX33" fmla="*/ 1280695 w 1487698"/>
                <a:gd name="connsiteY33" fmla="*/ 1219441 h 1424851"/>
                <a:gd name="connsiteX34" fmla="*/ 1287120 w 1487698"/>
                <a:gd name="connsiteY34" fmla="*/ 1235503 h 1424851"/>
                <a:gd name="connsiteX35" fmla="*/ 1282623 w 1487698"/>
                <a:gd name="connsiteY35" fmla="*/ 1257990 h 1424851"/>
                <a:gd name="connsiteX36" fmla="*/ 1281338 w 1487698"/>
                <a:gd name="connsiteY36" fmla="*/ 1272767 h 1424851"/>
                <a:gd name="connsiteX37" fmla="*/ 1276198 w 1487698"/>
                <a:gd name="connsiteY37" fmla="*/ 1289472 h 1424851"/>
                <a:gd name="connsiteX38" fmla="*/ 1267846 w 1487698"/>
                <a:gd name="connsiteY38" fmla="*/ 1304892 h 1424851"/>
                <a:gd name="connsiteX39" fmla="*/ 1253068 w 1487698"/>
                <a:gd name="connsiteY39" fmla="*/ 1316457 h 1424851"/>
                <a:gd name="connsiteX40" fmla="*/ 1240861 w 1487698"/>
                <a:gd name="connsiteY40" fmla="*/ 1306819 h 1424851"/>
                <a:gd name="connsiteX41" fmla="*/ 1226084 w 1487698"/>
                <a:gd name="connsiteY41" fmla="*/ 1299752 h 1424851"/>
                <a:gd name="connsiteX42" fmla="*/ 1211307 w 1487698"/>
                <a:gd name="connsiteY42" fmla="*/ 1287545 h 1424851"/>
                <a:gd name="connsiteX43" fmla="*/ 1190747 w 1487698"/>
                <a:gd name="connsiteY43" fmla="*/ 1274695 h 1424851"/>
                <a:gd name="connsiteX44" fmla="*/ 1188177 w 1487698"/>
                <a:gd name="connsiteY44" fmla="*/ 1258633 h 1424851"/>
                <a:gd name="connsiteX45" fmla="*/ 1195244 w 1487698"/>
                <a:gd name="connsiteY45" fmla="*/ 1245783 h 1424851"/>
                <a:gd name="connsiteX46" fmla="*/ 1188820 w 1487698"/>
                <a:gd name="connsiteY46" fmla="*/ 1232933 h 1424851"/>
                <a:gd name="connsiteX47" fmla="*/ 1171473 w 1487698"/>
                <a:gd name="connsiteY47" fmla="*/ 1221368 h 1424851"/>
                <a:gd name="connsiteX48" fmla="*/ 1141918 w 1487698"/>
                <a:gd name="connsiteY48" fmla="*/ 1219441 h 1424851"/>
                <a:gd name="connsiteX49" fmla="*/ 1125856 w 1487698"/>
                <a:gd name="connsiteY49" fmla="*/ 1232933 h 1424851"/>
                <a:gd name="connsiteX50" fmla="*/ 1118146 w 1487698"/>
                <a:gd name="connsiteY50" fmla="*/ 1245140 h 1424851"/>
                <a:gd name="connsiteX51" fmla="*/ 1097587 w 1487698"/>
                <a:gd name="connsiteY51" fmla="*/ 1250280 h 1424851"/>
                <a:gd name="connsiteX52" fmla="*/ 1092446 w 1487698"/>
                <a:gd name="connsiteY52" fmla="*/ 1240001 h 1424851"/>
                <a:gd name="connsiteX53" fmla="*/ 1079597 w 1487698"/>
                <a:gd name="connsiteY53" fmla="*/ 1231648 h 1424851"/>
                <a:gd name="connsiteX54" fmla="*/ 1064177 w 1487698"/>
                <a:gd name="connsiteY54" fmla="*/ 1231006 h 1424851"/>
                <a:gd name="connsiteX55" fmla="*/ 1054540 w 1487698"/>
                <a:gd name="connsiteY55" fmla="*/ 1237430 h 1424851"/>
                <a:gd name="connsiteX56" fmla="*/ 1023700 w 1487698"/>
                <a:gd name="connsiteY56" fmla="*/ 1236146 h 1424851"/>
                <a:gd name="connsiteX57" fmla="*/ 1014705 w 1487698"/>
                <a:gd name="connsiteY57" fmla="*/ 1241928 h 1424851"/>
                <a:gd name="connsiteX58" fmla="*/ 1008281 w 1487698"/>
                <a:gd name="connsiteY58" fmla="*/ 1250280 h 1424851"/>
                <a:gd name="connsiteX59" fmla="*/ 1005711 w 1487698"/>
                <a:gd name="connsiteY59" fmla="*/ 1260560 h 1424851"/>
                <a:gd name="connsiteX60" fmla="*/ 992861 w 1487698"/>
                <a:gd name="connsiteY60" fmla="*/ 1263130 h 1424851"/>
                <a:gd name="connsiteX61" fmla="*/ 977441 w 1487698"/>
                <a:gd name="connsiteY61" fmla="*/ 1261203 h 1424851"/>
                <a:gd name="connsiteX62" fmla="*/ 924115 w 1487698"/>
                <a:gd name="connsiteY62" fmla="*/ 1260560 h 1424851"/>
                <a:gd name="connsiteX63" fmla="*/ 906768 w 1487698"/>
                <a:gd name="connsiteY63" fmla="*/ 1265058 h 1424851"/>
                <a:gd name="connsiteX64" fmla="*/ 883638 w 1487698"/>
                <a:gd name="connsiteY64" fmla="*/ 1274052 h 1424851"/>
                <a:gd name="connsiteX65" fmla="*/ 862436 w 1487698"/>
                <a:gd name="connsiteY65" fmla="*/ 1273410 h 1424851"/>
                <a:gd name="connsiteX66" fmla="*/ 833524 w 1487698"/>
                <a:gd name="connsiteY66" fmla="*/ 1282405 h 1424851"/>
                <a:gd name="connsiteX67" fmla="*/ 811680 w 1487698"/>
                <a:gd name="connsiteY67" fmla="*/ 1299752 h 1424851"/>
                <a:gd name="connsiteX68" fmla="*/ 798830 w 1487698"/>
                <a:gd name="connsiteY68" fmla="*/ 1309389 h 1424851"/>
                <a:gd name="connsiteX69" fmla="*/ 770560 w 1487698"/>
                <a:gd name="connsiteY69" fmla="*/ 1315814 h 1424851"/>
                <a:gd name="connsiteX70" fmla="*/ 747431 w 1487698"/>
                <a:gd name="connsiteY70" fmla="*/ 1326736 h 1424851"/>
                <a:gd name="connsiteX71" fmla="*/ 739078 w 1487698"/>
                <a:gd name="connsiteY71" fmla="*/ 1336374 h 1424851"/>
                <a:gd name="connsiteX72" fmla="*/ 717876 w 1487698"/>
                <a:gd name="connsiteY72" fmla="*/ 1348581 h 1424851"/>
                <a:gd name="connsiteX73" fmla="*/ 697959 w 1487698"/>
                <a:gd name="connsiteY73" fmla="*/ 1356291 h 1424851"/>
                <a:gd name="connsiteX74" fmla="*/ 672260 w 1487698"/>
                <a:gd name="connsiteY74" fmla="*/ 1363358 h 1424851"/>
                <a:gd name="connsiteX75" fmla="*/ 638850 w 1487698"/>
                <a:gd name="connsiteY75" fmla="*/ 1364643 h 1424851"/>
                <a:gd name="connsiteX76" fmla="*/ 624716 w 1487698"/>
                <a:gd name="connsiteY76" fmla="*/ 1362715 h 1424851"/>
                <a:gd name="connsiteX77" fmla="*/ 611866 w 1487698"/>
                <a:gd name="connsiteY77" fmla="*/ 1343441 h 1424851"/>
                <a:gd name="connsiteX78" fmla="*/ 607369 w 1487698"/>
                <a:gd name="connsiteY78" fmla="*/ 1324166 h 1424851"/>
                <a:gd name="connsiteX79" fmla="*/ 597089 w 1487698"/>
                <a:gd name="connsiteY79" fmla="*/ 1312602 h 1424851"/>
                <a:gd name="connsiteX80" fmla="*/ 583597 w 1487698"/>
                <a:gd name="connsiteY80" fmla="*/ 1313244 h 1424851"/>
                <a:gd name="connsiteX81" fmla="*/ 579099 w 1487698"/>
                <a:gd name="connsiteY81" fmla="*/ 1305534 h 1424851"/>
                <a:gd name="connsiteX82" fmla="*/ 566249 w 1487698"/>
                <a:gd name="connsiteY82" fmla="*/ 1305534 h 1424851"/>
                <a:gd name="connsiteX83" fmla="*/ 546975 w 1487698"/>
                <a:gd name="connsiteY83" fmla="*/ 1304249 h 1424851"/>
                <a:gd name="connsiteX84" fmla="*/ 530913 w 1487698"/>
                <a:gd name="connsiteY84" fmla="*/ 1297824 h 1424851"/>
                <a:gd name="connsiteX85" fmla="*/ 517420 w 1487698"/>
                <a:gd name="connsiteY85" fmla="*/ 1302322 h 1424851"/>
                <a:gd name="connsiteX86" fmla="*/ 487866 w 1487698"/>
                <a:gd name="connsiteY86" fmla="*/ 1307462 h 1424851"/>
                <a:gd name="connsiteX87" fmla="*/ 476944 w 1487698"/>
                <a:gd name="connsiteY87" fmla="*/ 1297182 h 1424851"/>
                <a:gd name="connsiteX88" fmla="*/ 467949 w 1487698"/>
                <a:gd name="connsiteY88" fmla="*/ 1285617 h 1424851"/>
                <a:gd name="connsiteX89" fmla="*/ 458954 w 1487698"/>
                <a:gd name="connsiteY89" fmla="*/ 1289472 h 1424851"/>
                <a:gd name="connsiteX90" fmla="*/ 456384 w 1487698"/>
                <a:gd name="connsiteY90" fmla="*/ 1310674 h 1424851"/>
                <a:gd name="connsiteX91" fmla="*/ 462809 w 1487698"/>
                <a:gd name="connsiteY91" fmla="*/ 1323524 h 1424851"/>
                <a:gd name="connsiteX92" fmla="*/ 462809 w 1487698"/>
                <a:gd name="connsiteY92" fmla="*/ 1357576 h 1424851"/>
                <a:gd name="connsiteX93" fmla="*/ 437752 w 1487698"/>
                <a:gd name="connsiteY93" fmla="*/ 1391627 h 1424851"/>
                <a:gd name="connsiteX94" fmla="*/ 416550 w 1487698"/>
                <a:gd name="connsiteY94" fmla="*/ 1408332 h 1424851"/>
                <a:gd name="connsiteX95" fmla="*/ 378001 w 1487698"/>
                <a:gd name="connsiteY95" fmla="*/ 1424394 h 1424851"/>
                <a:gd name="connsiteX96" fmla="*/ 371576 w 1487698"/>
                <a:gd name="connsiteY96" fmla="*/ 1417327 h 1424851"/>
                <a:gd name="connsiteX97" fmla="*/ 378643 w 1487698"/>
                <a:gd name="connsiteY97" fmla="*/ 1394840 h 1424851"/>
                <a:gd name="connsiteX98" fmla="*/ 385068 w 1487698"/>
                <a:gd name="connsiteY98" fmla="*/ 1381990 h 1424851"/>
                <a:gd name="connsiteX99" fmla="*/ 377358 w 1487698"/>
                <a:gd name="connsiteY99" fmla="*/ 1369140 h 1424851"/>
                <a:gd name="connsiteX100" fmla="*/ 368363 w 1487698"/>
                <a:gd name="connsiteY100" fmla="*/ 1358861 h 1424851"/>
                <a:gd name="connsiteX101" fmla="*/ 350374 w 1487698"/>
                <a:gd name="connsiteY101" fmla="*/ 1345369 h 1424851"/>
                <a:gd name="connsiteX102" fmla="*/ 330456 w 1487698"/>
                <a:gd name="connsiteY102" fmla="*/ 1333804 h 1424851"/>
                <a:gd name="connsiteX103" fmla="*/ 316964 w 1487698"/>
                <a:gd name="connsiteY103" fmla="*/ 1320311 h 1424851"/>
                <a:gd name="connsiteX104" fmla="*/ 304757 w 1487698"/>
                <a:gd name="connsiteY104" fmla="*/ 1305534 h 1424851"/>
                <a:gd name="connsiteX105" fmla="*/ 280343 w 1487698"/>
                <a:gd name="connsiteY105" fmla="*/ 1299752 h 1424851"/>
                <a:gd name="connsiteX106" fmla="*/ 259141 w 1487698"/>
                <a:gd name="connsiteY106" fmla="*/ 1289472 h 1424851"/>
                <a:gd name="connsiteX107" fmla="*/ 243721 w 1487698"/>
                <a:gd name="connsiteY107" fmla="*/ 1294612 h 1424851"/>
                <a:gd name="connsiteX108" fmla="*/ 231513 w 1487698"/>
                <a:gd name="connsiteY108" fmla="*/ 1312602 h 1424851"/>
                <a:gd name="connsiteX109" fmla="*/ 200674 w 1487698"/>
                <a:gd name="connsiteY109" fmla="*/ 1315814 h 1424851"/>
                <a:gd name="connsiteX110" fmla="*/ 200674 w 1487698"/>
                <a:gd name="connsiteY110" fmla="*/ 1315814 h 1424851"/>
                <a:gd name="connsiteX111" fmla="*/ 200674 w 1487698"/>
                <a:gd name="connsiteY111" fmla="*/ 1315814 h 1424851"/>
                <a:gd name="connsiteX112" fmla="*/ 200674 w 1487698"/>
                <a:gd name="connsiteY112" fmla="*/ 1315814 h 1424851"/>
                <a:gd name="connsiteX113" fmla="*/ 190394 w 1487698"/>
                <a:gd name="connsiteY113" fmla="*/ 1313244 h 1424851"/>
                <a:gd name="connsiteX114" fmla="*/ 183327 w 1487698"/>
                <a:gd name="connsiteY114" fmla="*/ 1311959 h 1424851"/>
                <a:gd name="connsiteX115" fmla="*/ 183327 w 1487698"/>
                <a:gd name="connsiteY115" fmla="*/ 1311959 h 1424851"/>
                <a:gd name="connsiteX116" fmla="*/ 224446 w 1487698"/>
                <a:gd name="connsiteY116" fmla="*/ 1270198 h 1424851"/>
                <a:gd name="connsiteX117" fmla="*/ 274560 w 1487698"/>
                <a:gd name="connsiteY117" fmla="*/ 1255420 h 1424851"/>
                <a:gd name="connsiteX118" fmla="*/ 318249 w 1487698"/>
                <a:gd name="connsiteY118" fmla="*/ 1255420 h 1424851"/>
                <a:gd name="connsiteX119" fmla="*/ 356798 w 1487698"/>
                <a:gd name="connsiteY119" fmla="*/ 1234861 h 1424851"/>
                <a:gd name="connsiteX120" fmla="*/ 345234 w 1487698"/>
                <a:gd name="connsiteY120" fmla="*/ 1171897 h 1424851"/>
                <a:gd name="connsiteX121" fmla="*/ 360011 w 1487698"/>
                <a:gd name="connsiteY121" fmla="*/ 1117928 h 1424851"/>
                <a:gd name="connsiteX122" fmla="*/ 357441 w 1487698"/>
                <a:gd name="connsiteY122" fmla="*/ 1053679 h 1424851"/>
                <a:gd name="connsiteX123" fmla="*/ 340736 w 1487698"/>
                <a:gd name="connsiteY123" fmla="*/ 999068 h 1424851"/>
                <a:gd name="connsiteX124" fmla="*/ 311182 w 1487698"/>
                <a:gd name="connsiteY124" fmla="*/ 950881 h 1424851"/>
                <a:gd name="connsiteX125" fmla="*/ 316964 w 1487698"/>
                <a:gd name="connsiteY125" fmla="*/ 918757 h 1424851"/>
                <a:gd name="connsiteX126" fmla="*/ 349089 w 1487698"/>
                <a:gd name="connsiteY126" fmla="*/ 891772 h 1424851"/>
                <a:gd name="connsiteX127" fmla="*/ 351016 w 1487698"/>
                <a:gd name="connsiteY127" fmla="*/ 905265 h 1424851"/>
                <a:gd name="connsiteX128" fmla="*/ 368363 w 1487698"/>
                <a:gd name="connsiteY128" fmla="*/ 905265 h 1424851"/>
                <a:gd name="connsiteX129" fmla="*/ 404985 w 1487698"/>
                <a:gd name="connsiteY129" fmla="*/ 880850 h 1424851"/>
                <a:gd name="connsiteX130" fmla="*/ 412695 w 1487698"/>
                <a:gd name="connsiteY130" fmla="*/ 841658 h 1424851"/>
                <a:gd name="connsiteX131" fmla="*/ 439679 w 1487698"/>
                <a:gd name="connsiteY131" fmla="*/ 808892 h 1424851"/>
                <a:gd name="connsiteX132" fmla="*/ 456384 w 1487698"/>
                <a:gd name="connsiteY132" fmla="*/ 776767 h 1424851"/>
                <a:gd name="connsiteX133" fmla="*/ 452529 w 1487698"/>
                <a:gd name="connsiteY133" fmla="*/ 750425 h 1424851"/>
                <a:gd name="connsiteX134" fmla="*/ 456384 w 1487698"/>
                <a:gd name="connsiteY134" fmla="*/ 708663 h 1424851"/>
                <a:gd name="connsiteX135" fmla="*/ 435825 w 1487698"/>
                <a:gd name="connsiteY135" fmla="*/ 679752 h 1424851"/>
                <a:gd name="connsiteX136" fmla="*/ 412695 w 1487698"/>
                <a:gd name="connsiteY136" fmla="*/ 658550 h 1424851"/>
                <a:gd name="connsiteX137" fmla="*/ 393420 w 1487698"/>
                <a:gd name="connsiteY137" fmla="*/ 640560 h 1424851"/>
                <a:gd name="connsiteX138" fmla="*/ 348446 w 1487698"/>
                <a:gd name="connsiteY138" fmla="*/ 569244 h 1424851"/>
                <a:gd name="connsiteX139" fmla="*/ 340094 w 1487698"/>
                <a:gd name="connsiteY139" fmla="*/ 524912 h 1424851"/>
                <a:gd name="connsiteX140" fmla="*/ 351016 w 1487698"/>
                <a:gd name="connsiteY140" fmla="*/ 495358 h 1424851"/>
                <a:gd name="connsiteX141" fmla="*/ 351016 w 1487698"/>
                <a:gd name="connsiteY141" fmla="*/ 454881 h 1424851"/>
                <a:gd name="connsiteX142" fmla="*/ 334311 w 1487698"/>
                <a:gd name="connsiteY142" fmla="*/ 431752 h 1424851"/>
                <a:gd name="connsiteX143" fmla="*/ 323389 w 1487698"/>
                <a:gd name="connsiteY143" fmla="*/ 443316 h 1424851"/>
                <a:gd name="connsiteX144" fmla="*/ 320177 w 1487698"/>
                <a:gd name="connsiteY144" fmla="*/ 467088 h 1424851"/>
                <a:gd name="connsiteX145" fmla="*/ 288695 w 1487698"/>
                <a:gd name="connsiteY145" fmla="*/ 463876 h 1424851"/>
                <a:gd name="connsiteX146" fmla="*/ 286125 w 1487698"/>
                <a:gd name="connsiteY146" fmla="*/ 429824 h 1424851"/>
                <a:gd name="connsiteX147" fmla="*/ 254001 w 1487698"/>
                <a:gd name="connsiteY147" fmla="*/ 368788 h 1424851"/>
                <a:gd name="connsiteX148" fmla="*/ 236011 w 1487698"/>
                <a:gd name="connsiteY148" fmla="*/ 357223 h 1424851"/>
                <a:gd name="connsiteX149" fmla="*/ 212881 w 1487698"/>
                <a:gd name="connsiteY149" fmla="*/ 359150 h 1424851"/>
                <a:gd name="connsiteX150" fmla="*/ 197462 w 1487698"/>
                <a:gd name="connsiteY150" fmla="*/ 337306 h 1424851"/>
                <a:gd name="connsiteX151" fmla="*/ 168550 w 1487698"/>
                <a:gd name="connsiteY151" fmla="*/ 337948 h 1424851"/>
                <a:gd name="connsiteX152" fmla="*/ 148633 w 1487698"/>
                <a:gd name="connsiteY152" fmla="*/ 338591 h 1424851"/>
                <a:gd name="connsiteX153" fmla="*/ 143493 w 1487698"/>
                <a:gd name="connsiteY153" fmla="*/ 328954 h 1424851"/>
                <a:gd name="connsiteX154" fmla="*/ 131928 w 1487698"/>
                <a:gd name="connsiteY154" fmla="*/ 328954 h 1424851"/>
                <a:gd name="connsiteX155" fmla="*/ 128715 w 1487698"/>
                <a:gd name="connsiteY155" fmla="*/ 336021 h 1424851"/>
                <a:gd name="connsiteX156" fmla="*/ 113296 w 1487698"/>
                <a:gd name="connsiteY156" fmla="*/ 336021 h 1424851"/>
                <a:gd name="connsiteX157" fmla="*/ 94664 w 1487698"/>
                <a:gd name="connsiteY157" fmla="*/ 353368 h 1424851"/>
                <a:gd name="connsiteX158" fmla="*/ 111368 w 1487698"/>
                <a:gd name="connsiteY158" fmla="*/ 360435 h 1424851"/>
                <a:gd name="connsiteX159" fmla="*/ 127431 w 1487698"/>
                <a:gd name="connsiteY159" fmla="*/ 363005 h 1424851"/>
                <a:gd name="connsiteX160" fmla="*/ 132570 w 1487698"/>
                <a:gd name="connsiteY160" fmla="*/ 389347 h 1424851"/>
                <a:gd name="connsiteX161" fmla="*/ 112011 w 1487698"/>
                <a:gd name="connsiteY161" fmla="*/ 407337 h 1424851"/>
                <a:gd name="connsiteX162" fmla="*/ 63824 w 1487698"/>
                <a:gd name="connsiteY162" fmla="*/ 422757 h 1424851"/>
                <a:gd name="connsiteX163" fmla="*/ 43265 w 1487698"/>
                <a:gd name="connsiteY163" fmla="*/ 428539 h 1424851"/>
                <a:gd name="connsiteX164" fmla="*/ 34270 w 1487698"/>
                <a:gd name="connsiteY164" fmla="*/ 418259 h 1424851"/>
                <a:gd name="connsiteX165" fmla="*/ 32342 w 1487698"/>
                <a:gd name="connsiteY165" fmla="*/ 397057 h 1424851"/>
                <a:gd name="connsiteX166" fmla="*/ 43265 w 1487698"/>
                <a:gd name="connsiteY166" fmla="*/ 357866 h 1424851"/>
                <a:gd name="connsiteX167" fmla="*/ 28488 w 1487698"/>
                <a:gd name="connsiteY167" fmla="*/ 323171 h 1424851"/>
                <a:gd name="connsiteX168" fmla="*/ 2145 w 1487698"/>
                <a:gd name="connsiteY168" fmla="*/ 236435 h 1424851"/>
                <a:gd name="connsiteX169" fmla="*/ 6643 w 1487698"/>
                <a:gd name="connsiteY169" fmla="*/ 199171 h 1424851"/>
                <a:gd name="connsiteX170" fmla="*/ 67037 w 1487698"/>
                <a:gd name="connsiteY170" fmla="*/ 178611 h 1424851"/>
                <a:gd name="connsiteX171" fmla="*/ 111368 w 1487698"/>
                <a:gd name="connsiteY171" fmla="*/ 187606 h 1424851"/>
                <a:gd name="connsiteX172" fmla="*/ 138353 w 1487698"/>
                <a:gd name="connsiteY172" fmla="*/ 199171 h 1424851"/>
                <a:gd name="connsiteX173" fmla="*/ 162125 w 1487698"/>
                <a:gd name="connsiteY173" fmla="*/ 192104 h 1424851"/>
                <a:gd name="connsiteX174" fmla="*/ 153130 w 1487698"/>
                <a:gd name="connsiteY174" fmla="*/ 167689 h 1424851"/>
                <a:gd name="connsiteX175" fmla="*/ 153130 w 1487698"/>
                <a:gd name="connsiteY175" fmla="*/ 142632 h 1424851"/>
                <a:gd name="connsiteX176" fmla="*/ 172405 w 1487698"/>
                <a:gd name="connsiteY176" fmla="*/ 141990 h 1424851"/>
                <a:gd name="connsiteX177" fmla="*/ 192964 w 1487698"/>
                <a:gd name="connsiteY177" fmla="*/ 141990 h 1424851"/>
                <a:gd name="connsiteX178" fmla="*/ 261068 w 1487698"/>
                <a:gd name="connsiteY178" fmla="*/ 72601 h 1424851"/>
                <a:gd name="connsiteX179" fmla="*/ 293835 w 1487698"/>
                <a:gd name="connsiteY179" fmla="*/ 53326 h 1424851"/>
                <a:gd name="connsiteX180" fmla="*/ 311824 w 1487698"/>
                <a:gd name="connsiteY180" fmla="*/ 22487 h 1424851"/>
                <a:gd name="connsiteX181" fmla="*/ 328529 w 1487698"/>
                <a:gd name="connsiteY181" fmla="*/ 4497 h 1424851"/>
                <a:gd name="connsiteX182" fmla="*/ 333669 w 1487698"/>
                <a:gd name="connsiteY182" fmla="*/ 643 h 1424851"/>
                <a:gd name="connsiteX183" fmla="*/ 338809 w 1487698"/>
                <a:gd name="connsiteY183" fmla="*/ 0 h 1424851"/>
                <a:gd name="connsiteX184" fmla="*/ 349731 w 1487698"/>
                <a:gd name="connsiteY184" fmla="*/ 0 h 1424851"/>
                <a:gd name="connsiteX185" fmla="*/ 360011 w 1487698"/>
                <a:gd name="connsiteY185" fmla="*/ 1285 h 1424851"/>
                <a:gd name="connsiteX186" fmla="*/ 369648 w 1487698"/>
                <a:gd name="connsiteY186" fmla="*/ 6425 h 1424851"/>
                <a:gd name="connsiteX187" fmla="*/ 417192 w 1487698"/>
                <a:gd name="connsiteY187" fmla="*/ 45617 h 1424851"/>
                <a:gd name="connsiteX188" fmla="*/ 461524 w 1487698"/>
                <a:gd name="connsiteY188" fmla="*/ 120145 h 1424851"/>
                <a:gd name="connsiteX189" fmla="*/ 474374 w 1487698"/>
                <a:gd name="connsiteY189" fmla="*/ 138135 h 1424851"/>
                <a:gd name="connsiteX190" fmla="*/ 503928 w 1487698"/>
                <a:gd name="connsiteY190" fmla="*/ 149057 h 1424851"/>
                <a:gd name="connsiteX191" fmla="*/ 518705 w 1487698"/>
                <a:gd name="connsiteY191" fmla="*/ 145845 h 1424851"/>
                <a:gd name="connsiteX192" fmla="*/ 522560 w 1487698"/>
                <a:gd name="connsiteY192" fmla="*/ 121430 h 1424851"/>
                <a:gd name="connsiteX193" fmla="*/ 530913 w 1487698"/>
                <a:gd name="connsiteY193" fmla="*/ 115648 h 1424851"/>
                <a:gd name="connsiteX194" fmla="*/ 526415 w 1487698"/>
                <a:gd name="connsiteY194" fmla="*/ 102155 h 1424851"/>
                <a:gd name="connsiteX195" fmla="*/ 517420 w 1487698"/>
                <a:gd name="connsiteY195" fmla="*/ 101513 h 1424851"/>
                <a:gd name="connsiteX196" fmla="*/ 513565 w 1487698"/>
                <a:gd name="connsiteY196" fmla="*/ 86093 h 1424851"/>
                <a:gd name="connsiteX197" fmla="*/ 557897 w 1487698"/>
                <a:gd name="connsiteY197" fmla="*/ 65534 h 1424851"/>
                <a:gd name="connsiteX198" fmla="*/ 600944 w 1487698"/>
                <a:gd name="connsiteY198" fmla="*/ 71959 h 1424851"/>
                <a:gd name="connsiteX199" fmla="*/ 626001 w 1487698"/>
                <a:gd name="connsiteY199" fmla="*/ 96373 h 1424851"/>
                <a:gd name="connsiteX200" fmla="*/ 638850 w 1487698"/>
                <a:gd name="connsiteY200" fmla="*/ 114363 h 1424851"/>
                <a:gd name="connsiteX201" fmla="*/ 657483 w 1487698"/>
                <a:gd name="connsiteY201" fmla="*/ 116290 h 1424851"/>
                <a:gd name="connsiteX202" fmla="*/ 670975 w 1487698"/>
                <a:gd name="connsiteY202" fmla="*/ 112435 h 1424851"/>
                <a:gd name="connsiteX203" fmla="*/ 677400 w 1487698"/>
                <a:gd name="connsiteY203" fmla="*/ 101513 h 1424851"/>
                <a:gd name="connsiteX204" fmla="*/ 678042 w 1487698"/>
                <a:gd name="connsiteY204" fmla="*/ 84808 h 1424851"/>
                <a:gd name="connsiteX205" fmla="*/ 676115 w 1487698"/>
                <a:gd name="connsiteY205" fmla="*/ 77098 h 1424851"/>
                <a:gd name="connsiteX206" fmla="*/ 678042 w 1487698"/>
                <a:gd name="connsiteY206" fmla="*/ 59751 h 1424851"/>
                <a:gd name="connsiteX207" fmla="*/ 672902 w 1487698"/>
                <a:gd name="connsiteY207" fmla="*/ 43689 h 1424851"/>
                <a:gd name="connsiteX208" fmla="*/ 665192 w 1487698"/>
                <a:gd name="connsiteY208" fmla="*/ 39192 h 1424851"/>
                <a:gd name="connsiteX209" fmla="*/ 662622 w 1487698"/>
                <a:gd name="connsiteY209" fmla="*/ 31482 h 1424851"/>
                <a:gd name="connsiteX210" fmla="*/ 670332 w 1487698"/>
                <a:gd name="connsiteY210" fmla="*/ 27627 h 1424851"/>
                <a:gd name="connsiteX211" fmla="*/ 675472 w 1487698"/>
                <a:gd name="connsiteY211" fmla="*/ 18632 h 1424851"/>
                <a:gd name="connsiteX212" fmla="*/ 692177 w 1487698"/>
                <a:gd name="connsiteY212" fmla="*/ 8995 h 1424851"/>
                <a:gd name="connsiteX213" fmla="*/ 703099 w 1487698"/>
                <a:gd name="connsiteY213" fmla="*/ 8352 h 1424851"/>
                <a:gd name="connsiteX214" fmla="*/ 706954 w 1487698"/>
                <a:gd name="connsiteY214" fmla="*/ 5782 h 1424851"/>
                <a:gd name="connsiteX215" fmla="*/ 711452 w 1487698"/>
                <a:gd name="connsiteY215" fmla="*/ 4497 h 1424851"/>
                <a:gd name="connsiteX216" fmla="*/ 722374 w 1487698"/>
                <a:gd name="connsiteY216" fmla="*/ 6425 h 1424851"/>
                <a:gd name="connsiteX217" fmla="*/ 723016 w 1487698"/>
                <a:gd name="connsiteY217" fmla="*/ 16062 h 1424851"/>
                <a:gd name="connsiteX218" fmla="*/ 719804 w 1487698"/>
                <a:gd name="connsiteY218" fmla="*/ 17990 h 1424851"/>
                <a:gd name="connsiteX219" fmla="*/ 719161 w 1487698"/>
                <a:gd name="connsiteY219" fmla="*/ 21202 h 1424851"/>
                <a:gd name="connsiteX220" fmla="*/ 745503 w 1487698"/>
                <a:gd name="connsiteY220" fmla="*/ 64249 h 1424851"/>
                <a:gd name="connsiteX221" fmla="*/ 776985 w 1487698"/>
                <a:gd name="connsiteY221" fmla="*/ 64249 h 1424851"/>
                <a:gd name="connsiteX222" fmla="*/ 825814 w 1487698"/>
                <a:gd name="connsiteY222" fmla="*/ 57181 h 1424851"/>
                <a:gd name="connsiteX223" fmla="*/ 860508 w 1487698"/>
                <a:gd name="connsiteY223" fmla="*/ 46901 h 1424851"/>
                <a:gd name="connsiteX224" fmla="*/ 867576 w 1487698"/>
                <a:gd name="connsiteY224" fmla="*/ 46901 h 1424851"/>
                <a:gd name="connsiteX225" fmla="*/ 882996 w 1487698"/>
                <a:gd name="connsiteY225" fmla="*/ 50756 h 1424851"/>
                <a:gd name="connsiteX226" fmla="*/ 888136 w 1487698"/>
                <a:gd name="connsiteY226" fmla="*/ 64249 h 1424851"/>
                <a:gd name="connsiteX227" fmla="*/ 886851 w 1487698"/>
                <a:gd name="connsiteY227" fmla="*/ 71316 h 1424851"/>
                <a:gd name="connsiteX228" fmla="*/ 894560 w 1487698"/>
                <a:gd name="connsiteY228" fmla="*/ 78384 h 1424851"/>
                <a:gd name="connsiteX229" fmla="*/ 931825 w 1487698"/>
                <a:gd name="connsiteY229" fmla="*/ 89306 h 1424851"/>
                <a:gd name="connsiteX230" fmla="*/ 931825 w 1487698"/>
                <a:gd name="connsiteY230" fmla="*/ 92518 h 1424851"/>
                <a:gd name="connsiteX231" fmla="*/ 940177 w 1487698"/>
                <a:gd name="connsiteY231" fmla="*/ 108580 h 1424851"/>
                <a:gd name="connsiteX232" fmla="*/ 956239 w 1487698"/>
                <a:gd name="connsiteY232" fmla="*/ 137492 h 1424851"/>
                <a:gd name="connsiteX233" fmla="*/ 963949 w 1487698"/>
                <a:gd name="connsiteY233" fmla="*/ 149057 h 1424851"/>
                <a:gd name="connsiteX234" fmla="*/ 957524 w 1487698"/>
                <a:gd name="connsiteY234" fmla="*/ 160622 h 1424851"/>
                <a:gd name="connsiteX235" fmla="*/ 960737 w 1487698"/>
                <a:gd name="connsiteY235" fmla="*/ 172829 h 1424851"/>
                <a:gd name="connsiteX236" fmla="*/ 971659 w 1487698"/>
                <a:gd name="connsiteY236" fmla="*/ 183109 h 1424851"/>
                <a:gd name="connsiteX237" fmla="*/ 980654 w 1487698"/>
                <a:gd name="connsiteY237" fmla="*/ 186321 h 1424851"/>
                <a:gd name="connsiteX238" fmla="*/ 992861 w 1487698"/>
                <a:gd name="connsiteY238" fmla="*/ 195316 h 1424851"/>
                <a:gd name="connsiteX239" fmla="*/ 1005711 w 1487698"/>
                <a:gd name="connsiteY239" fmla="*/ 208808 h 1424851"/>
                <a:gd name="connsiteX240" fmla="*/ 1024985 w 1487698"/>
                <a:gd name="connsiteY240" fmla="*/ 215876 h 1424851"/>
                <a:gd name="connsiteX241" fmla="*/ 1046187 w 1487698"/>
                <a:gd name="connsiteY241" fmla="*/ 232580 h 1424851"/>
                <a:gd name="connsiteX242" fmla="*/ 1058395 w 1487698"/>
                <a:gd name="connsiteY242" fmla="*/ 244788 h 1424851"/>
                <a:gd name="connsiteX243" fmla="*/ 1067390 w 1487698"/>
                <a:gd name="connsiteY243" fmla="*/ 254425 h 1424851"/>
                <a:gd name="connsiteX244" fmla="*/ 1068032 w 1487698"/>
                <a:gd name="connsiteY244" fmla="*/ 274342 h 1424851"/>
                <a:gd name="connsiteX245" fmla="*/ 1060322 w 1487698"/>
                <a:gd name="connsiteY245" fmla="*/ 290404 h 1424851"/>
                <a:gd name="connsiteX246" fmla="*/ 1050042 w 1487698"/>
                <a:gd name="connsiteY246" fmla="*/ 310321 h 1424851"/>
                <a:gd name="connsiteX247" fmla="*/ 1042333 w 1487698"/>
                <a:gd name="connsiteY247" fmla="*/ 338591 h 1424851"/>
                <a:gd name="connsiteX248" fmla="*/ 1057752 w 1487698"/>
                <a:gd name="connsiteY248" fmla="*/ 355938 h 1424851"/>
                <a:gd name="connsiteX249" fmla="*/ 1062892 w 1487698"/>
                <a:gd name="connsiteY249" fmla="*/ 364933 h 1424851"/>
                <a:gd name="connsiteX250" fmla="*/ 1084094 w 1487698"/>
                <a:gd name="connsiteY250" fmla="*/ 397700 h 1424851"/>
                <a:gd name="connsiteX251" fmla="*/ 1087307 w 1487698"/>
                <a:gd name="connsiteY251" fmla="*/ 421472 h 1424851"/>
                <a:gd name="connsiteX252" fmla="*/ 1106581 w 1487698"/>
                <a:gd name="connsiteY252" fmla="*/ 454239 h 1424851"/>
                <a:gd name="connsiteX253" fmla="*/ 1135493 w 1487698"/>
                <a:gd name="connsiteY253" fmla="*/ 485720 h 1424851"/>
                <a:gd name="connsiteX254" fmla="*/ 1153483 w 1487698"/>
                <a:gd name="connsiteY254" fmla="*/ 494073 h 1424851"/>
                <a:gd name="connsiteX255" fmla="*/ 1170187 w 1487698"/>
                <a:gd name="connsiteY255" fmla="*/ 503067 h 1424851"/>
                <a:gd name="connsiteX256" fmla="*/ 1182395 w 1487698"/>
                <a:gd name="connsiteY256" fmla="*/ 495358 h 1424851"/>
                <a:gd name="connsiteX257" fmla="*/ 1200384 w 1487698"/>
                <a:gd name="connsiteY257" fmla="*/ 494073 h 1424851"/>
                <a:gd name="connsiteX258" fmla="*/ 1215804 w 1487698"/>
                <a:gd name="connsiteY258" fmla="*/ 511420 h 1424851"/>
                <a:gd name="connsiteX259" fmla="*/ 1248571 w 1487698"/>
                <a:gd name="connsiteY259" fmla="*/ 539689 h 1424851"/>
                <a:gd name="connsiteX260" fmla="*/ 1271700 w 1487698"/>
                <a:gd name="connsiteY260" fmla="*/ 569886 h 1424851"/>
                <a:gd name="connsiteX261" fmla="*/ 1308322 w 1487698"/>
                <a:gd name="connsiteY261" fmla="*/ 593016 h 1424851"/>
                <a:gd name="connsiteX262" fmla="*/ 1326954 w 1487698"/>
                <a:gd name="connsiteY262" fmla="*/ 605223 h 1424851"/>
                <a:gd name="connsiteX263" fmla="*/ 1341089 w 1487698"/>
                <a:gd name="connsiteY263" fmla="*/ 623213 h 1424851"/>
                <a:gd name="connsiteX264" fmla="*/ 1359721 w 1487698"/>
                <a:gd name="connsiteY264" fmla="*/ 641845 h 1424851"/>
                <a:gd name="connsiteX265" fmla="*/ 1398270 w 1487698"/>
                <a:gd name="connsiteY265" fmla="*/ 645700 h 1424851"/>
                <a:gd name="connsiteX266" fmla="*/ 1413048 w 1487698"/>
                <a:gd name="connsiteY266" fmla="*/ 658550 h 1424851"/>
                <a:gd name="connsiteX267" fmla="*/ 1429110 w 1487698"/>
                <a:gd name="connsiteY267" fmla="*/ 679752 h 1424851"/>
                <a:gd name="connsiteX268" fmla="*/ 1452882 w 1487698"/>
                <a:gd name="connsiteY268" fmla="*/ 686819 h 1424851"/>
                <a:gd name="connsiteX269" fmla="*/ 1462519 w 1487698"/>
                <a:gd name="connsiteY269" fmla="*/ 696456 h 1424851"/>
                <a:gd name="connsiteX270" fmla="*/ 1478581 w 1487698"/>
                <a:gd name="connsiteY270" fmla="*/ 722156 h 1424851"/>
                <a:gd name="connsiteX271" fmla="*/ 1486934 w 1487698"/>
                <a:gd name="connsiteY271" fmla="*/ 738860 h 142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</a:cxnLst>
              <a:rect l="l" t="t" r="r" b="b"/>
              <a:pathLst>
                <a:path w="1487698" h="1424851">
                  <a:moveTo>
                    <a:pt x="1486934" y="738860"/>
                  </a:moveTo>
                  <a:cubicBezTo>
                    <a:pt x="1483721" y="743358"/>
                    <a:pt x="1478581" y="746570"/>
                    <a:pt x="1479224" y="753638"/>
                  </a:cubicBezTo>
                  <a:cubicBezTo>
                    <a:pt x="1479866" y="760705"/>
                    <a:pt x="1482436" y="765202"/>
                    <a:pt x="1483079" y="769057"/>
                  </a:cubicBezTo>
                  <a:cubicBezTo>
                    <a:pt x="1484364" y="772912"/>
                    <a:pt x="1484364" y="777410"/>
                    <a:pt x="1481794" y="792829"/>
                  </a:cubicBezTo>
                  <a:cubicBezTo>
                    <a:pt x="1479224" y="808249"/>
                    <a:pt x="1478581" y="815959"/>
                    <a:pt x="1474084" y="821099"/>
                  </a:cubicBezTo>
                  <a:cubicBezTo>
                    <a:pt x="1469587" y="826239"/>
                    <a:pt x="1468944" y="831379"/>
                    <a:pt x="1464447" y="835876"/>
                  </a:cubicBezTo>
                  <a:cubicBezTo>
                    <a:pt x="1459307" y="841016"/>
                    <a:pt x="1458664" y="844228"/>
                    <a:pt x="1451597" y="842943"/>
                  </a:cubicBezTo>
                  <a:cubicBezTo>
                    <a:pt x="1444530" y="842301"/>
                    <a:pt x="1438747" y="836519"/>
                    <a:pt x="1434892" y="834591"/>
                  </a:cubicBezTo>
                  <a:cubicBezTo>
                    <a:pt x="1431037" y="832021"/>
                    <a:pt x="1429110" y="829451"/>
                    <a:pt x="1423327" y="826881"/>
                  </a:cubicBezTo>
                  <a:cubicBezTo>
                    <a:pt x="1416903" y="824954"/>
                    <a:pt x="1403410" y="823026"/>
                    <a:pt x="1403410" y="823026"/>
                  </a:cubicBezTo>
                  <a:cubicBezTo>
                    <a:pt x="1403410" y="823026"/>
                    <a:pt x="1400198" y="815959"/>
                    <a:pt x="1391203" y="818529"/>
                  </a:cubicBezTo>
                  <a:cubicBezTo>
                    <a:pt x="1381566" y="821099"/>
                    <a:pt x="1373214" y="820456"/>
                    <a:pt x="1371286" y="826881"/>
                  </a:cubicBezTo>
                  <a:cubicBezTo>
                    <a:pt x="1369359" y="833306"/>
                    <a:pt x="1371928" y="838446"/>
                    <a:pt x="1373214" y="839731"/>
                  </a:cubicBezTo>
                  <a:cubicBezTo>
                    <a:pt x="1373856" y="841016"/>
                    <a:pt x="1376426" y="859006"/>
                    <a:pt x="1373856" y="865431"/>
                  </a:cubicBezTo>
                  <a:cubicBezTo>
                    <a:pt x="1370644" y="871855"/>
                    <a:pt x="1368716" y="902052"/>
                    <a:pt x="1363576" y="908477"/>
                  </a:cubicBezTo>
                  <a:cubicBezTo>
                    <a:pt x="1358436" y="914902"/>
                    <a:pt x="1347514" y="919399"/>
                    <a:pt x="1339162" y="928394"/>
                  </a:cubicBezTo>
                  <a:cubicBezTo>
                    <a:pt x="1330809" y="937389"/>
                    <a:pt x="1318602" y="948311"/>
                    <a:pt x="1312820" y="951524"/>
                  </a:cubicBezTo>
                  <a:cubicBezTo>
                    <a:pt x="1307037" y="954094"/>
                    <a:pt x="1289690" y="950881"/>
                    <a:pt x="1281980" y="952809"/>
                  </a:cubicBezTo>
                  <a:cubicBezTo>
                    <a:pt x="1273628" y="955379"/>
                    <a:pt x="1257566" y="958591"/>
                    <a:pt x="1247286" y="967586"/>
                  </a:cubicBezTo>
                  <a:cubicBezTo>
                    <a:pt x="1236364" y="976581"/>
                    <a:pt x="1237649" y="980436"/>
                    <a:pt x="1229939" y="984291"/>
                  </a:cubicBezTo>
                  <a:cubicBezTo>
                    <a:pt x="1221586" y="988788"/>
                    <a:pt x="1209379" y="991358"/>
                    <a:pt x="1204882" y="994570"/>
                  </a:cubicBezTo>
                  <a:cubicBezTo>
                    <a:pt x="1200384" y="997140"/>
                    <a:pt x="1191389" y="1002280"/>
                    <a:pt x="1183037" y="1012560"/>
                  </a:cubicBezTo>
                  <a:cubicBezTo>
                    <a:pt x="1174685" y="1022840"/>
                    <a:pt x="1165690" y="1031192"/>
                    <a:pt x="1165690" y="1038260"/>
                  </a:cubicBezTo>
                  <a:cubicBezTo>
                    <a:pt x="1166333" y="1045327"/>
                    <a:pt x="1168902" y="1053037"/>
                    <a:pt x="1177255" y="1058819"/>
                  </a:cubicBezTo>
                  <a:cubicBezTo>
                    <a:pt x="1185607" y="1064602"/>
                    <a:pt x="1192032" y="1073596"/>
                    <a:pt x="1205524" y="1085804"/>
                  </a:cubicBezTo>
                  <a:cubicBezTo>
                    <a:pt x="1219659" y="1097368"/>
                    <a:pt x="1222229" y="1093514"/>
                    <a:pt x="1229939" y="1106363"/>
                  </a:cubicBezTo>
                  <a:cubicBezTo>
                    <a:pt x="1237649" y="1119855"/>
                    <a:pt x="1239576" y="1124995"/>
                    <a:pt x="1242788" y="1129493"/>
                  </a:cubicBezTo>
                  <a:cubicBezTo>
                    <a:pt x="1245359" y="1133348"/>
                    <a:pt x="1249213" y="1141700"/>
                    <a:pt x="1247928" y="1148125"/>
                  </a:cubicBezTo>
                  <a:cubicBezTo>
                    <a:pt x="1246643" y="1154550"/>
                    <a:pt x="1241504" y="1164829"/>
                    <a:pt x="1238291" y="1170612"/>
                  </a:cubicBezTo>
                  <a:cubicBezTo>
                    <a:pt x="1235079" y="1176394"/>
                    <a:pt x="1228654" y="1183462"/>
                    <a:pt x="1227369" y="1188602"/>
                  </a:cubicBezTo>
                  <a:cubicBezTo>
                    <a:pt x="1226084" y="1193741"/>
                    <a:pt x="1219017" y="1201451"/>
                    <a:pt x="1226726" y="1202736"/>
                  </a:cubicBezTo>
                  <a:cubicBezTo>
                    <a:pt x="1234436" y="1204021"/>
                    <a:pt x="1249856" y="1204664"/>
                    <a:pt x="1252426" y="1202094"/>
                  </a:cubicBezTo>
                  <a:cubicBezTo>
                    <a:pt x="1254996" y="1198881"/>
                    <a:pt x="1258851" y="1194384"/>
                    <a:pt x="1262706" y="1195669"/>
                  </a:cubicBezTo>
                  <a:cubicBezTo>
                    <a:pt x="1266561" y="1196954"/>
                    <a:pt x="1275555" y="1212374"/>
                    <a:pt x="1280695" y="1219441"/>
                  </a:cubicBezTo>
                  <a:cubicBezTo>
                    <a:pt x="1285193" y="1226508"/>
                    <a:pt x="1287120" y="1227793"/>
                    <a:pt x="1287120" y="1235503"/>
                  </a:cubicBezTo>
                  <a:cubicBezTo>
                    <a:pt x="1287120" y="1243213"/>
                    <a:pt x="1283908" y="1252208"/>
                    <a:pt x="1282623" y="1257990"/>
                  </a:cubicBezTo>
                  <a:cubicBezTo>
                    <a:pt x="1281338" y="1263773"/>
                    <a:pt x="1281338" y="1270198"/>
                    <a:pt x="1281338" y="1272767"/>
                  </a:cubicBezTo>
                  <a:cubicBezTo>
                    <a:pt x="1281338" y="1275337"/>
                    <a:pt x="1275555" y="1280477"/>
                    <a:pt x="1276198" y="1289472"/>
                  </a:cubicBezTo>
                  <a:cubicBezTo>
                    <a:pt x="1276198" y="1298467"/>
                    <a:pt x="1270416" y="1300395"/>
                    <a:pt x="1267846" y="1304892"/>
                  </a:cubicBezTo>
                  <a:cubicBezTo>
                    <a:pt x="1265276" y="1308747"/>
                    <a:pt x="1258208" y="1319669"/>
                    <a:pt x="1253068" y="1316457"/>
                  </a:cubicBezTo>
                  <a:cubicBezTo>
                    <a:pt x="1247286" y="1313244"/>
                    <a:pt x="1243431" y="1308104"/>
                    <a:pt x="1240861" y="1306819"/>
                  </a:cubicBezTo>
                  <a:cubicBezTo>
                    <a:pt x="1238291" y="1305534"/>
                    <a:pt x="1226084" y="1299752"/>
                    <a:pt x="1226084" y="1299752"/>
                  </a:cubicBezTo>
                  <a:cubicBezTo>
                    <a:pt x="1226084" y="1299752"/>
                    <a:pt x="1219659" y="1292042"/>
                    <a:pt x="1211307" y="1287545"/>
                  </a:cubicBezTo>
                  <a:cubicBezTo>
                    <a:pt x="1202954" y="1283047"/>
                    <a:pt x="1193317" y="1281120"/>
                    <a:pt x="1190747" y="1274695"/>
                  </a:cubicBezTo>
                  <a:cubicBezTo>
                    <a:pt x="1188177" y="1268912"/>
                    <a:pt x="1184965" y="1265700"/>
                    <a:pt x="1188177" y="1258633"/>
                  </a:cubicBezTo>
                  <a:cubicBezTo>
                    <a:pt x="1192032" y="1251565"/>
                    <a:pt x="1195887" y="1250923"/>
                    <a:pt x="1195244" y="1245783"/>
                  </a:cubicBezTo>
                  <a:cubicBezTo>
                    <a:pt x="1194602" y="1240643"/>
                    <a:pt x="1189462" y="1233576"/>
                    <a:pt x="1188820" y="1232933"/>
                  </a:cubicBezTo>
                  <a:cubicBezTo>
                    <a:pt x="1188177" y="1232291"/>
                    <a:pt x="1181110" y="1223938"/>
                    <a:pt x="1171473" y="1221368"/>
                  </a:cubicBezTo>
                  <a:cubicBezTo>
                    <a:pt x="1161835" y="1218799"/>
                    <a:pt x="1143203" y="1217513"/>
                    <a:pt x="1141918" y="1219441"/>
                  </a:cubicBezTo>
                  <a:cubicBezTo>
                    <a:pt x="1140633" y="1221368"/>
                    <a:pt x="1128426" y="1227151"/>
                    <a:pt x="1125856" y="1232933"/>
                  </a:cubicBezTo>
                  <a:cubicBezTo>
                    <a:pt x="1123286" y="1239358"/>
                    <a:pt x="1122643" y="1243213"/>
                    <a:pt x="1118146" y="1245140"/>
                  </a:cubicBezTo>
                  <a:cubicBezTo>
                    <a:pt x="1113649" y="1247068"/>
                    <a:pt x="1099514" y="1254135"/>
                    <a:pt x="1097587" y="1250280"/>
                  </a:cubicBezTo>
                  <a:cubicBezTo>
                    <a:pt x="1095659" y="1245783"/>
                    <a:pt x="1093089" y="1242571"/>
                    <a:pt x="1092446" y="1240001"/>
                  </a:cubicBezTo>
                  <a:cubicBezTo>
                    <a:pt x="1091162" y="1237430"/>
                    <a:pt x="1081524" y="1232291"/>
                    <a:pt x="1079597" y="1231648"/>
                  </a:cubicBezTo>
                  <a:cubicBezTo>
                    <a:pt x="1077669" y="1231006"/>
                    <a:pt x="1068032" y="1227151"/>
                    <a:pt x="1064177" y="1231006"/>
                  </a:cubicBezTo>
                  <a:cubicBezTo>
                    <a:pt x="1060322" y="1234218"/>
                    <a:pt x="1062250" y="1236788"/>
                    <a:pt x="1054540" y="1237430"/>
                  </a:cubicBezTo>
                  <a:cubicBezTo>
                    <a:pt x="1046187" y="1237430"/>
                    <a:pt x="1028840" y="1234218"/>
                    <a:pt x="1023700" y="1236146"/>
                  </a:cubicBezTo>
                  <a:cubicBezTo>
                    <a:pt x="1018560" y="1238073"/>
                    <a:pt x="1016633" y="1240001"/>
                    <a:pt x="1014705" y="1241928"/>
                  </a:cubicBezTo>
                  <a:cubicBezTo>
                    <a:pt x="1013421" y="1243855"/>
                    <a:pt x="1008923" y="1244498"/>
                    <a:pt x="1008281" y="1250280"/>
                  </a:cubicBezTo>
                  <a:cubicBezTo>
                    <a:pt x="1006996" y="1256063"/>
                    <a:pt x="1008923" y="1258633"/>
                    <a:pt x="1005711" y="1260560"/>
                  </a:cubicBezTo>
                  <a:cubicBezTo>
                    <a:pt x="1002498" y="1262488"/>
                    <a:pt x="996716" y="1264415"/>
                    <a:pt x="992861" y="1263130"/>
                  </a:cubicBezTo>
                  <a:cubicBezTo>
                    <a:pt x="989648" y="1262488"/>
                    <a:pt x="981939" y="1259918"/>
                    <a:pt x="977441" y="1261203"/>
                  </a:cubicBezTo>
                  <a:cubicBezTo>
                    <a:pt x="972944" y="1262488"/>
                    <a:pt x="926685" y="1259918"/>
                    <a:pt x="924115" y="1260560"/>
                  </a:cubicBezTo>
                  <a:cubicBezTo>
                    <a:pt x="921545" y="1261203"/>
                    <a:pt x="917047" y="1260560"/>
                    <a:pt x="906768" y="1265058"/>
                  </a:cubicBezTo>
                  <a:cubicBezTo>
                    <a:pt x="896488" y="1269555"/>
                    <a:pt x="885566" y="1274052"/>
                    <a:pt x="883638" y="1274052"/>
                  </a:cubicBezTo>
                  <a:cubicBezTo>
                    <a:pt x="881711" y="1274052"/>
                    <a:pt x="870146" y="1270840"/>
                    <a:pt x="862436" y="1273410"/>
                  </a:cubicBezTo>
                  <a:cubicBezTo>
                    <a:pt x="854726" y="1275980"/>
                    <a:pt x="844446" y="1274695"/>
                    <a:pt x="833524" y="1282405"/>
                  </a:cubicBezTo>
                  <a:cubicBezTo>
                    <a:pt x="823244" y="1289472"/>
                    <a:pt x="811680" y="1299752"/>
                    <a:pt x="811680" y="1299752"/>
                  </a:cubicBezTo>
                  <a:cubicBezTo>
                    <a:pt x="811680" y="1299752"/>
                    <a:pt x="802685" y="1308747"/>
                    <a:pt x="798830" y="1309389"/>
                  </a:cubicBezTo>
                  <a:cubicBezTo>
                    <a:pt x="794975" y="1310032"/>
                    <a:pt x="779555" y="1311316"/>
                    <a:pt x="770560" y="1315814"/>
                  </a:cubicBezTo>
                  <a:cubicBezTo>
                    <a:pt x="760923" y="1320311"/>
                    <a:pt x="748716" y="1324809"/>
                    <a:pt x="747431" y="1326736"/>
                  </a:cubicBezTo>
                  <a:cubicBezTo>
                    <a:pt x="746146" y="1328664"/>
                    <a:pt x="746146" y="1331234"/>
                    <a:pt x="739078" y="1336374"/>
                  </a:cubicBezTo>
                  <a:cubicBezTo>
                    <a:pt x="732011" y="1341513"/>
                    <a:pt x="718519" y="1347938"/>
                    <a:pt x="717876" y="1348581"/>
                  </a:cubicBezTo>
                  <a:cubicBezTo>
                    <a:pt x="717234" y="1348581"/>
                    <a:pt x="705027" y="1353721"/>
                    <a:pt x="697959" y="1356291"/>
                  </a:cubicBezTo>
                  <a:cubicBezTo>
                    <a:pt x="690892" y="1358861"/>
                    <a:pt x="684467" y="1361431"/>
                    <a:pt x="672260" y="1363358"/>
                  </a:cubicBezTo>
                  <a:cubicBezTo>
                    <a:pt x="660053" y="1365286"/>
                    <a:pt x="638850" y="1364643"/>
                    <a:pt x="638850" y="1364643"/>
                  </a:cubicBezTo>
                  <a:cubicBezTo>
                    <a:pt x="638850" y="1364643"/>
                    <a:pt x="628571" y="1365928"/>
                    <a:pt x="624716" y="1362715"/>
                  </a:cubicBezTo>
                  <a:cubicBezTo>
                    <a:pt x="620861" y="1359503"/>
                    <a:pt x="614436" y="1353078"/>
                    <a:pt x="611866" y="1343441"/>
                  </a:cubicBezTo>
                  <a:cubicBezTo>
                    <a:pt x="609296" y="1334446"/>
                    <a:pt x="611866" y="1329949"/>
                    <a:pt x="607369" y="1324166"/>
                  </a:cubicBezTo>
                  <a:cubicBezTo>
                    <a:pt x="602871" y="1318384"/>
                    <a:pt x="600301" y="1311959"/>
                    <a:pt x="597089" y="1312602"/>
                  </a:cubicBezTo>
                  <a:cubicBezTo>
                    <a:pt x="593876" y="1313244"/>
                    <a:pt x="584881" y="1315814"/>
                    <a:pt x="583597" y="1313244"/>
                  </a:cubicBezTo>
                  <a:cubicBezTo>
                    <a:pt x="582312" y="1310674"/>
                    <a:pt x="581669" y="1306819"/>
                    <a:pt x="579099" y="1305534"/>
                  </a:cubicBezTo>
                  <a:cubicBezTo>
                    <a:pt x="575887" y="1304249"/>
                    <a:pt x="572032" y="1305534"/>
                    <a:pt x="566249" y="1305534"/>
                  </a:cubicBezTo>
                  <a:cubicBezTo>
                    <a:pt x="560467" y="1305534"/>
                    <a:pt x="550830" y="1304892"/>
                    <a:pt x="546975" y="1304249"/>
                  </a:cubicBezTo>
                  <a:cubicBezTo>
                    <a:pt x="543120" y="1303607"/>
                    <a:pt x="532198" y="1297824"/>
                    <a:pt x="530913" y="1297824"/>
                  </a:cubicBezTo>
                  <a:cubicBezTo>
                    <a:pt x="528985" y="1297824"/>
                    <a:pt x="527700" y="1299109"/>
                    <a:pt x="517420" y="1302322"/>
                  </a:cubicBezTo>
                  <a:cubicBezTo>
                    <a:pt x="507783" y="1305534"/>
                    <a:pt x="494291" y="1310032"/>
                    <a:pt x="487866" y="1307462"/>
                  </a:cubicBezTo>
                  <a:cubicBezTo>
                    <a:pt x="481441" y="1304892"/>
                    <a:pt x="480156" y="1301679"/>
                    <a:pt x="476944" y="1297182"/>
                  </a:cubicBezTo>
                  <a:cubicBezTo>
                    <a:pt x="473089" y="1292042"/>
                    <a:pt x="470519" y="1286260"/>
                    <a:pt x="467949" y="1285617"/>
                  </a:cubicBezTo>
                  <a:cubicBezTo>
                    <a:pt x="465379" y="1285617"/>
                    <a:pt x="460881" y="1284332"/>
                    <a:pt x="458954" y="1289472"/>
                  </a:cubicBezTo>
                  <a:cubicBezTo>
                    <a:pt x="457027" y="1294612"/>
                    <a:pt x="455741" y="1302322"/>
                    <a:pt x="456384" y="1310674"/>
                  </a:cubicBezTo>
                  <a:cubicBezTo>
                    <a:pt x="457027" y="1319026"/>
                    <a:pt x="460239" y="1317741"/>
                    <a:pt x="462809" y="1323524"/>
                  </a:cubicBezTo>
                  <a:cubicBezTo>
                    <a:pt x="466021" y="1329949"/>
                    <a:pt x="469876" y="1344726"/>
                    <a:pt x="462809" y="1357576"/>
                  </a:cubicBezTo>
                  <a:cubicBezTo>
                    <a:pt x="455741" y="1370425"/>
                    <a:pt x="446747" y="1383275"/>
                    <a:pt x="437752" y="1391627"/>
                  </a:cubicBezTo>
                  <a:cubicBezTo>
                    <a:pt x="429400" y="1399337"/>
                    <a:pt x="426187" y="1401265"/>
                    <a:pt x="416550" y="1408332"/>
                  </a:cubicBezTo>
                  <a:cubicBezTo>
                    <a:pt x="406913" y="1415400"/>
                    <a:pt x="381213" y="1423752"/>
                    <a:pt x="378001" y="1424394"/>
                  </a:cubicBezTo>
                  <a:cubicBezTo>
                    <a:pt x="374788" y="1425037"/>
                    <a:pt x="367721" y="1426322"/>
                    <a:pt x="371576" y="1417327"/>
                  </a:cubicBezTo>
                  <a:cubicBezTo>
                    <a:pt x="375431" y="1408332"/>
                    <a:pt x="376073" y="1399337"/>
                    <a:pt x="378643" y="1394840"/>
                  </a:cubicBezTo>
                  <a:cubicBezTo>
                    <a:pt x="381213" y="1389700"/>
                    <a:pt x="385710" y="1387130"/>
                    <a:pt x="385068" y="1381990"/>
                  </a:cubicBezTo>
                  <a:cubicBezTo>
                    <a:pt x="384426" y="1376850"/>
                    <a:pt x="383783" y="1374281"/>
                    <a:pt x="377358" y="1369140"/>
                  </a:cubicBezTo>
                  <a:cubicBezTo>
                    <a:pt x="371576" y="1363358"/>
                    <a:pt x="368363" y="1358861"/>
                    <a:pt x="368363" y="1358861"/>
                  </a:cubicBezTo>
                  <a:cubicBezTo>
                    <a:pt x="368363" y="1358861"/>
                    <a:pt x="354229" y="1349866"/>
                    <a:pt x="350374" y="1345369"/>
                  </a:cubicBezTo>
                  <a:cubicBezTo>
                    <a:pt x="345876" y="1340871"/>
                    <a:pt x="339451" y="1341513"/>
                    <a:pt x="330456" y="1333804"/>
                  </a:cubicBezTo>
                  <a:cubicBezTo>
                    <a:pt x="321462" y="1326094"/>
                    <a:pt x="321462" y="1328021"/>
                    <a:pt x="316964" y="1320311"/>
                  </a:cubicBezTo>
                  <a:cubicBezTo>
                    <a:pt x="312467" y="1312602"/>
                    <a:pt x="307969" y="1308104"/>
                    <a:pt x="304757" y="1305534"/>
                  </a:cubicBezTo>
                  <a:cubicBezTo>
                    <a:pt x="300902" y="1302964"/>
                    <a:pt x="288695" y="1302322"/>
                    <a:pt x="280343" y="1299752"/>
                  </a:cubicBezTo>
                  <a:cubicBezTo>
                    <a:pt x="271990" y="1297182"/>
                    <a:pt x="263638" y="1289472"/>
                    <a:pt x="259141" y="1289472"/>
                  </a:cubicBezTo>
                  <a:cubicBezTo>
                    <a:pt x="254643" y="1289472"/>
                    <a:pt x="246933" y="1289472"/>
                    <a:pt x="243721" y="1294612"/>
                  </a:cubicBezTo>
                  <a:cubicBezTo>
                    <a:pt x="240508" y="1299109"/>
                    <a:pt x="239866" y="1308747"/>
                    <a:pt x="231513" y="1312602"/>
                  </a:cubicBezTo>
                  <a:cubicBezTo>
                    <a:pt x="223161" y="1317099"/>
                    <a:pt x="203244" y="1315814"/>
                    <a:pt x="200674" y="1315814"/>
                  </a:cubicBezTo>
                  <a:cubicBezTo>
                    <a:pt x="200674" y="1315814"/>
                    <a:pt x="200674" y="1315814"/>
                    <a:pt x="200674" y="1315814"/>
                  </a:cubicBezTo>
                  <a:cubicBezTo>
                    <a:pt x="200674" y="1315814"/>
                    <a:pt x="200674" y="1315814"/>
                    <a:pt x="200674" y="1315814"/>
                  </a:cubicBezTo>
                  <a:lnTo>
                    <a:pt x="200674" y="1315814"/>
                  </a:lnTo>
                  <a:cubicBezTo>
                    <a:pt x="200032" y="1315814"/>
                    <a:pt x="198104" y="1315172"/>
                    <a:pt x="190394" y="1313244"/>
                  </a:cubicBezTo>
                  <a:cubicBezTo>
                    <a:pt x="187824" y="1312602"/>
                    <a:pt x="185897" y="1311959"/>
                    <a:pt x="183327" y="1311959"/>
                  </a:cubicBezTo>
                  <a:lnTo>
                    <a:pt x="183327" y="1311959"/>
                  </a:lnTo>
                  <a:cubicBezTo>
                    <a:pt x="180757" y="1288829"/>
                    <a:pt x="210954" y="1282405"/>
                    <a:pt x="224446" y="1270198"/>
                  </a:cubicBezTo>
                  <a:cubicBezTo>
                    <a:pt x="237938" y="1257990"/>
                    <a:pt x="255286" y="1252850"/>
                    <a:pt x="274560" y="1255420"/>
                  </a:cubicBezTo>
                  <a:cubicBezTo>
                    <a:pt x="293192" y="1257990"/>
                    <a:pt x="295762" y="1259275"/>
                    <a:pt x="318249" y="1255420"/>
                  </a:cubicBezTo>
                  <a:cubicBezTo>
                    <a:pt x="341379" y="1250923"/>
                    <a:pt x="352301" y="1245140"/>
                    <a:pt x="356798" y="1234861"/>
                  </a:cubicBezTo>
                  <a:cubicBezTo>
                    <a:pt x="361296" y="1225223"/>
                    <a:pt x="357441" y="1189244"/>
                    <a:pt x="345234" y="1171897"/>
                  </a:cubicBezTo>
                  <a:cubicBezTo>
                    <a:pt x="333027" y="1153907"/>
                    <a:pt x="354229" y="1137845"/>
                    <a:pt x="360011" y="1117928"/>
                  </a:cubicBezTo>
                  <a:cubicBezTo>
                    <a:pt x="365793" y="1098011"/>
                    <a:pt x="361296" y="1076166"/>
                    <a:pt x="357441" y="1053679"/>
                  </a:cubicBezTo>
                  <a:cubicBezTo>
                    <a:pt x="353586" y="1031192"/>
                    <a:pt x="346519" y="1023482"/>
                    <a:pt x="340736" y="999068"/>
                  </a:cubicBezTo>
                  <a:cubicBezTo>
                    <a:pt x="334954" y="975296"/>
                    <a:pt x="321462" y="964374"/>
                    <a:pt x="311182" y="950881"/>
                  </a:cubicBezTo>
                  <a:cubicBezTo>
                    <a:pt x="300902" y="938031"/>
                    <a:pt x="312467" y="927752"/>
                    <a:pt x="316964" y="918757"/>
                  </a:cubicBezTo>
                  <a:cubicBezTo>
                    <a:pt x="321462" y="909120"/>
                    <a:pt x="342021" y="892415"/>
                    <a:pt x="349089" y="891772"/>
                  </a:cubicBezTo>
                  <a:cubicBezTo>
                    <a:pt x="356156" y="891130"/>
                    <a:pt x="350374" y="898840"/>
                    <a:pt x="351016" y="905265"/>
                  </a:cubicBezTo>
                  <a:cubicBezTo>
                    <a:pt x="351659" y="911689"/>
                    <a:pt x="357441" y="911047"/>
                    <a:pt x="368363" y="905265"/>
                  </a:cubicBezTo>
                  <a:cubicBezTo>
                    <a:pt x="379286" y="899482"/>
                    <a:pt x="387638" y="894342"/>
                    <a:pt x="404985" y="880850"/>
                  </a:cubicBezTo>
                  <a:cubicBezTo>
                    <a:pt x="422975" y="867358"/>
                    <a:pt x="410767" y="854508"/>
                    <a:pt x="412695" y="841658"/>
                  </a:cubicBezTo>
                  <a:cubicBezTo>
                    <a:pt x="414622" y="828809"/>
                    <a:pt x="433897" y="815959"/>
                    <a:pt x="439679" y="808892"/>
                  </a:cubicBezTo>
                  <a:cubicBezTo>
                    <a:pt x="445462" y="801824"/>
                    <a:pt x="453172" y="793472"/>
                    <a:pt x="456384" y="776767"/>
                  </a:cubicBezTo>
                  <a:cubicBezTo>
                    <a:pt x="459596" y="760062"/>
                    <a:pt x="451244" y="755565"/>
                    <a:pt x="452529" y="750425"/>
                  </a:cubicBezTo>
                  <a:cubicBezTo>
                    <a:pt x="453814" y="745285"/>
                    <a:pt x="456384" y="717016"/>
                    <a:pt x="456384" y="708663"/>
                  </a:cubicBezTo>
                  <a:cubicBezTo>
                    <a:pt x="456384" y="700311"/>
                    <a:pt x="441607" y="692601"/>
                    <a:pt x="435825" y="679752"/>
                  </a:cubicBezTo>
                  <a:cubicBezTo>
                    <a:pt x="429400" y="666902"/>
                    <a:pt x="416550" y="659835"/>
                    <a:pt x="412695" y="658550"/>
                  </a:cubicBezTo>
                  <a:cubicBezTo>
                    <a:pt x="408197" y="657264"/>
                    <a:pt x="397918" y="652125"/>
                    <a:pt x="393420" y="640560"/>
                  </a:cubicBezTo>
                  <a:cubicBezTo>
                    <a:pt x="388923" y="628353"/>
                    <a:pt x="348446" y="569244"/>
                    <a:pt x="348446" y="569244"/>
                  </a:cubicBezTo>
                  <a:cubicBezTo>
                    <a:pt x="348446" y="569244"/>
                    <a:pt x="339451" y="534550"/>
                    <a:pt x="340094" y="524912"/>
                  </a:cubicBezTo>
                  <a:cubicBezTo>
                    <a:pt x="340736" y="515275"/>
                    <a:pt x="347804" y="507565"/>
                    <a:pt x="351016" y="495358"/>
                  </a:cubicBezTo>
                  <a:cubicBezTo>
                    <a:pt x="354229" y="483151"/>
                    <a:pt x="352944" y="465161"/>
                    <a:pt x="351016" y="454881"/>
                  </a:cubicBezTo>
                  <a:cubicBezTo>
                    <a:pt x="349089" y="444601"/>
                    <a:pt x="340736" y="434321"/>
                    <a:pt x="334311" y="431752"/>
                  </a:cubicBezTo>
                  <a:cubicBezTo>
                    <a:pt x="327887" y="429181"/>
                    <a:pt x="323389" y="437534"/>
                    <a:pt x="323389" y="443316"/>
                  </a:cubicBezTo>
                  <a:cubicBezTo>
                    <a:pt x="323389" y="449099"/>
                    <a:pt x="322104" y="456809"/>
                    <a:pt x="320177" y="467088"/>
                  </a:cubicBezTo>
                  <a:cubicBezTo>
                    <a:pt x="318249" y="476726"/>
                    <a:pt x="297690" y="472228"/>
                    <a:pt x="288695" y="463876"/>
                  </a:cubicBezTo>
                  <a:cubicBezTo>
                    <a:pt x="279057" y="455523"/>
                    <a:pt x="286767" y="434964"/>
                    <a:pt x="286125" y="429824"/>
                  </a:cubicBezTo>
                  <a:cubicBezTo>
                    <a:pt x="284840" y="424684"/>
                    <a:pt x="255928" y="374570"/>
                    <a:pt x="254001" y="368788"/>
                  </a:cubicBezTo>
                  <a:cubicBezTo>
                    <a:pt x="252073" y="363005"/>
                    <a:pt x="244363" y="361720"/>
                    <a:pt x="236011" y="357223"/>
                  </a:cubicBezTo>
                  <a:cubicBezTo>
                    <a:pt x="227659" y="352726"/>
                    <a:pt x="218664" y="359150"/>
                    <a:pt x="212881" y="359150"/>
                  </a:cubicBezTo>
                  <a:cubicBezTo>
                    <a:pt x="207099" y="359150"/>
                    <a:pt x="201959" y="342446"/>
                    <a:pt x="197462" y="337306"/>
                  </a:cubicBezTo>
                  <a:cubicBezTo>
                    <a:pt x="192964" y="332166"/>
                    <a:pt x="172405" y="337948"/>
                    <a:pt x="168550" y="337948"/>
                  </a:cubicBezTo>
                  <a:cubicBezTo>
                    <a:pt x="164695" y="337948"/>
                    <a:pt x="156985" y="340518"/>
                    <a:pt x="148633" y="338591"/>
                  </a:cubicBezTo>
                  <a:cubicBezTo>
                    <a:pt x="140280" y="336663"/>
                    <a:pt x="144135" y="328954"/>
                    <a:pt x="143493" y="328954"/>
                  </a:cubicBezTo>
                  <a:cubicBezTo>
                    <a:pt x="142850" y="328954"/>
                    <a:pt x="136425" y="327026"/>
                    <a:pt x="131928" y="328954"/>
                  </a:cubicBezTo>
                  <a:cubicBezTo>
                    <a:pt x="127431" y="330881"/>
                    <a:pt x="130001" y="336663"/>
                    <a:pt x="128715" y="336021"/>
                  </a:cubicBezTo>
                  <a:cubicBezTo>
                    <a:pt x="126788" y="334736"/>
                    <a:pt x="114581" y="336021"/>
                    <a:pt x="113296" y="336021"/>
                  </a:cubicBezTo>
                  <a:cubicBezTo>
                    <a:pt x="111368" y="336021"/>
                    <a:pt x="95949" y="348228"/>
                    <a:pt x="94664" y="353368"/>
                  </a:cubicBezTo>
                  <a:cubicBezTo>
                    <a:pt x="92736" y="358508"/>
                    <a:pt x="103016" y="361078"/>
                    <a:pt x="111368" y="360435"/>
                  </a:cubicBezTo>
                  <a:cubicBezTo>
                    <a:pt x="119721" y="359793"/>
                    <a:pt x="126146" y="362363"/>
                    <a:pt x="127431" y="363005"/>
                  </a:cubicBezTo>
                  <a:cubicBezTo>
                    <a:pt x="129358" y="363648"/>
                    <a:pt x="132570" y="380995"/>
                    <a:pt x="132570" y="389347"/>
                  </a:cubicBezTo>
                  <a:cubicBezTo>
                    <a:pt x="132570" y="398342"/>
                    <a:pt x="117793" y="403482"/>
                    <a:pt x="112011" y="407337"/>
                  </a:cubicBezTo>
                  <a:cubicBezTo>
                    <a:pt x="106228" y="411192"/>
                    <a:pt x="72819" y="422757"/>
                    <a:pt x="63824" y="422757"/>
                  </a:cubicBezTo>
                  <a:cubicBezTo>
                    <a:pt x="54829" y="422114"/>
                    <a:pt x="45835" y="425969"/>
                    <a:pt x="43265" y="428539"/>
                  </a:cubicBezTo>
                  <a:cubicBezTo>
                    <a:pt x="39410" y="424684"/>
                    <a:pt x="35555" y="420829"/>
                    <a:pt x="34270" y="418259"/>
                  </a:cubicBezTo>
                  <a:cubicBezTo>
                    <a:pt x="29772" y="413119"/>
                    <a:pt x="31700" y="404767"/>
                    <a:pt x="32342" y="397057"/>
                  </a:cubicBezTo>
                  <a:cubicBezTo>
                    <a:pt x="33627" y="389347"/>
                    <a:pt x="39410" y="373928"/>
                    <a:pt x="43265" y="357866"/>
                  </a:cubicBezTo>
                  <a:cubicBezTo>
                    <a:pt x="47120" y="341803"/>
                    <a:pt x="37482" y="337306"/>
                    <a:pt x="28488" y="323171"/>
                  </a:cubicBezTo>
                  <a:cubicBezTo>
                    <a:pt x="18850" y="309036"/>
                    <a:pt x="7285" y="256352"/>
                    <a:pt x="2145" y="236435"/>
                  </a:cubicBezTo>
                  <a:cubicBezTo>
                    <a:pt x="-2994" y="216518"/>
                    <a:pt x="2145" y="204311"/>
                    <a:pt x="6643" y="199171"/>
                  </a:cubicBezTo>
                  <a:cubicBezTo>
                    <a:pt x="11140" y="193389"/>
                    <a:pt x="54829" y="181182"/>
                    <a:pt x="67037" y="178611"/>
                  </a:cubicBezTo>
                  <a:cubicBezTo>
                    <a:pt x="79244" y="176041"/>
                    <a:pt x="98519" y="183109"/>
                    <a:pt x="111368" y="187606"/>
                  </a:cubicBezTo>
                  <a:cubicBezTo>
                    <a:pt x="124861" y="192104"/>
                    <a:pt x="126146" y="197886"/>
                    <a:pt x="138353" y="199171"/>
                  </a:cubicBezTo>
                  <a:cubicBezTo>
                    <a:pt x="151203" y="200456"/>
                    <a:pt x="162125" y="194674"/>
                    <a:pt x="162125" y="192104"/>
                  </a:cubicBezTo>
                  <a:cubicBezTo>
                    <a:pt x="162125" y="189534"/>
                    <a:pt x="158912" y="172187"/>
                    <a:pt x="153130" y="167689"/>
                  </a:cubicBezTo>
                  <a:cubicBezTo>
                    <a:pt x="147348" y="163192"/>
                    <a:pt x="151203" y="148415"/>
                    <a:pt x="153130" y="142632"/>
                  </a:cubicBezTo>
                  <a:cubicBezTo>
                    <a:pt x="155057" y="136850"/>
                    <a:pt x="165980" y="142632"/>
                    <a:pt x="172405" y="141990"/>
                  </a:cubicBezTo>
                  <a:cubicBezTo>
                    <a:pt x="178830" y="141347"/>
                    <a:pt x="187182" y="143275"/>
                    <a:pt x="192964" y="141990"/>
                  </a:cubicBezTo>
                  <a:cubicBezTo>
                    <a:pt x="198747" y="140705"/>
                    <a:pt x="257855" y="76456"/>
                    <a:pt x="261068" y="72601"/>
                  </a:cubicBezTo>
                  <a:cubicBezTo>
                    <a:pt x="264280" y="68104"/>
                    <a:pt x="282270" y="59751"/>
                    <a:pt x="293835" y="53326"/>
                  </a:cubicBezTo>
                  <a:cubicBezTo>
                    <a:pt x="305399" y="46259"/>
                    <a:pt x="311824" y="22487"/>
                    <a:pt x="311824" y="22487"/>
                  </a:cubicBezTo>
                  <a:cubicBezTo>
                    <a:pt x="317607" y="16705"/>
                    <a:pt x="323389" y="10280"/>
                    <a:pt x="328529" y="4497"/>
                  </a:cubicBezTo>
                  <a:cubicBezTo>
                    <a:pt x="329814" y="2570"/>
                    <a:pt x="331742" y="1285"/>
                    <a:pt x="333669" y="643"/>
                  </a:cubicBezTo>
                  <a:cubicBezTo>
                    <a:pt x="335596" y="0"/>
                    <a:pt x="336881" y="0"/>
                    <a:pt x="338809" y="0"/>
                  </a:cubicBezTo>
                  <a:cubicBezTo>
                    <a:pt x="342664" y="0"/>
                    <a:pt x="346519" y="0"/>
                    <a:pt x="349731" y="0"/>
                  </a:cubicBezTo>
                  <a:cubicBezTo>
                    <a:pt x="352944" y="0"/>
                    <a:pt x="356798" y="0"/>
                    <a:pt x="360011" y="1285"/>
                  </a:cubicBezTo>
                  <a:cubicBezTo>
                    <a:pt x="363223" y="2570"/>
                    <a:pt x="366436" y="4497"/>
                    <a:pt x="369648" y="6425"/>
                  </a:cubicBezTo>
                  <a:cubicBezTo>
                    <a:pt x="386353" y="18632"/>
                    <a:pt x="403700" y="30839"/>
                    <a:pt x="417192" y="45617"/>
                  </a:cubicBezTo>
                  <a:cubicBezTo>
                    <a:pt x="436467" y="67461"/>
                    <a:pt x="447389" y="94446"/>
                    <a:pt x="461524" y="120145"/>
                  </a:cubicBezTo>
                  <a:cubicBezTo>
                    <a:pt x="465379" y="126570"/>
                    <a:pt x="469234" y="132995"/>
                    <a:pt x="474374" y="138135"/>
                  </a:cubicBezTo>
                  <a:cubicBezTo>
                    <a:pt x="482726" y="144560"/>
                    <a:pt x="493648" y="147772"/>
                    <a:pt x="503928" y="149057"/>
                  </a:cubicBezTo>
                  <a:cubicBezTo>
                    <a:pt x="509068" y="149699"/>
                    <a:pt x="514850" y="149699"/>
                    <a:pt x="518705" y="145845"/>
                  </a:cubicBezTo>
                  <a:cubicBezTo>
                    <a:pt x="524488" y="139420"/>
                    <a:pt x="516778" y="127855"/>
                    <a:pt x="522560" y="121430"/>
                  </a:cubicBezTo>
                  <a:cubicBezTo>
                    <a:pt x="525130" y="118860"/>
                    <a:pt x="528343" y="118218"/>
                    <a:pt x="530913" y="115648"/>
                  </a:cubicBezTo>
                  <a:cubicBezTo>
                    <a:pt x="534768" y="111793"/>
                    <a:pt x="532840" y="103440"/>
                    <a:pt x="526415" y="102155"/>
                  </a:cubicBezTo>
                  <a:cubicBezTo>
                    <a:pt x="523203" y="101513"/>
                    <a:pt x="519990" y="102155"/>
                    <a:pt x="517420" y="101513"/>
                  </a:cubicBezTo>
                  <a:cubicBezTo>
                    <a:pt x="511638" y="99586"/>
                    <a:pt x="510995" y="91876"/>
                    <a:pt x="513565" y="86093"/>
                  </a:cubicBezTo>
                  <a:cubicBezTo>
                    <a:pt x="519990" y="71316"/>
                    <a:pt x="543120" y="67461"/>
                    <a:pt x="557897" y="65534"/>
                  </a:cubicBezTo>
                  <a:cubicBezTo>
                    <a:pt x="572674" y="63606"/>
                    <a:pt x="588094" y="65534"/>
                    <a:pt x="600944" y="71959"/>
                  </a:cubicBezTo>
                  <a:cubicBezTo>
                    <a:pt x="611866" y="77098"/>
                    <a:pt x="620861" y="86093"/>
                    <a:pt x="626001" y="96373"/>
                  </a:cubicBezTo>
                  <a:cubicBezTo>
                    <a:pt x="629856" y="102798"/>
                    <a:pt x="632426" y="110508"/>
                    <a:pt x="638850" y="114363"/>
                  </a:cubicBezTo>
                  <a:cubicBezTo>
                    <a:pt x="643990" y="117575"/>
                    <a:pt x="651058" y="116933"/>
                    <a:pt x="657483" y="116290"/>
                  </a:cubicBezTo>
                  <a:cubicBezTo>
                    <a:pt x="661980" y="115648"/>
                    <a:pt x="667120" y="115648"/>
                    <a:pt x="670975" y="112435"/>
                  </a:cubicBezTo>
                  <a:cubicBezTo>
                    <a:pt x="674830" y="109865"/>
                    <a:pt x="676757" y="106010"/>
                    <a:pt x="677400" y="101513"/>
                  </a:cubicBezTo>
                  <a:cubicBezTo>
                    <a:pt x="678685" y="95731"/>
                    <a:pt x="679327" y="89948"/>
                    <a:pt x="678042" y="84808"/>
                  </a:cubicBezTo>
                  <a:cubicBezTo>
                    <a:pt x="677400" y="82238"/>
                    <a:pt x="676757" y="79668"/>
                    <a:pt x="676115" y="77098"/>
                  </a:cubicBezTo>
                  <a:cubicBezTo>
                    <a:pt x="675472" y="71316"/>
                    <a:pt x="677400" y="65534"/>
                    <a:pt x="678042" y="59751"/>
                  </a:cubicBezTo>
                  <a:cubicBezTo>
                    <a:pt x="678685" y="53969"/>
                    <a:pt x="677400" y="47544"/>
                    <a:pt x="672902" y="43689"/>
                  </a:cubicBezTo>
                  <a:cubicBezTo>
                    <a:pt x="670332" y="41762"/>
                    <a:pt x="667762" y="41119"/>
                    <a:pt x="665192" y="39192"/>
                  </a:cubicBezTo>
                  <a:cubicBezTo>
                    <a:pt x="662622" y="37264"/>
                    <a:pt x="661337" y="34052"/>
                    <a:pt x="662622" y="31482"/>
                  </a:cubicBezTo>
                  <a:cubicBezTo>
                    <a:pt x="664550" y="28912"/>
                    <a:pt x="668405" y="28912"/>
                    <a:pt x="670332" y="27627"/>
                  </a:cubicBezTo>
                  <a:cubicBezTo>
                    <a:pt x="672902" y="25699"/>
                    <a:pt x="673545" y="21845"/>
                    <a:pt x="675472" y="18632"/>
                  </a:cubicBezTo>
                  <a:cubicBezTo>
                    <a:pt x="678042" y="12850"/>
                    <a:pt x="685110" y="8352"/>
                    <a:pt x="692177" y="8995"/>
                  </a:cubicBezTo>
                  <a:cubicBezTo>
                    <a:pt x="696032" y="8995"/>
                    <a:pt x="699887" y="10280"/>
                    <a:pt x="703099" y="8352"/>
                  </a:cubicBezTo>
                  <a:cubicBezTo>
                    <a:pt x="704384" y="7710"/>
                    <a:pt x="705669" y="6425"/>
                    <a:pt x="706954" y="5782"/>
                  </a:cubicBezTo>
                  <a:cubicBezTo>
                    <a:pt x="708239" y="5140"/>
                    <a:pt x="710167" y="4497"/>
                    <a:pt x="711452" y="4497"/>
                  </a:cubicBezTo>
                  <a:cubicBezTo>
                    <a:pt x="715307" y="3855"/>
                    <a:pt x="719804" y="4497"/>
                    <a:pt x="722374" y="6425"/>
                  </a:cubicBezTo>
                  <a:cubicBezTo>
                    <a:pt x="725586" y="8995"/>
                    <a:pt x="726229" y="13492"/>
                    <a:pt x="723016" y="16062"/>
                  </a:cubicBezTo>
                  <a:cubicBezTo>
                    <a:pt x="722374" y="16705"/>
                    <a:pt x="720446" y="17347"/>
                    <a:pt x="719804" y="17990"/>
                  </a:cubicBezTo>
                  <a:cubicBezTo>
                    <a:pt x="719161" y="18632"/>
                    <a:pt x="719161" y="19917"/>
                    <a:pt x="719161" y="21202"/>
                  </a:cubicBezTo>
                  <a:cubicBezTo>
                    <a:pt x="721089" y="39192"/>
                    <a:pt x="730084" y="53969"/>
                    <a:pt x="745503" y="64249"/>
                  </a:cubicBezTo>
                  <a:cubicBezTo>
                    <a:pt x="754498" y="70674"/>
                    <a:pt x="767990" y="68104"/>
                    <a:pt x="776985" y="64249"/>
                  </a:cubicBezTo>
                  <a:cubicBezTo>
                    <a:pt x="785980" y="60394"/>
                    <a:pt x="792405" y="63606"/>
                    <a:pt x="825814" y="57181"/>
                  </a:cubicBezTo>
                  <a:cubicBezTo>
                    <a:pt x="859224" y="50756"/>
                    <a:pt x="860508" y="46901"/>
                    <a:pt x="860508" y="46901"/>
                  </a:cubicBezTo>
                  <a:cubicBezTo>
                    <a:pt x="863079" y="47544"/>
                    <a:pt x="865649" y="46901"/>
                    <a:pt x="867576" y="46901"/>
                  </a:cubicBezTo>
                  <a:cubicBezTo>
                    <a:pt x="872716" y="46259"/>
                    <a:pt x="878498" y="47544"/>
                    <a:pt x="882996" y="50756"/>
                  </a:cubicBezTo>
                  <a:cubicBezTo>
                    <a:pt x="886851" y="53969"/>
                    <a:pt x="889420" y="59109"/>
                    <a:pt x="888136" y="64249"/>
                  </a:cubicBezTo>
                  <a:cubicBezTo>
                    <a:pt x="887493" y="66819"/>
                    <a:pt x="886208" y="68746"/>
                    <a:pt x="886851" y="71316"/>
                  </a:cubicBezTo>
                  <a:cubicBezTo>
                    <a:pt x="887493" y="74529"/>
                    <a:pt x="891348" y="77098"/>
                    <a:pt x="894560" y="78384"/>
                  </a:cubicBezTo>
                  <a:cubicBezTo>
                    <a:pt x="906768" y="83523"/>
                    <a:pt x="920902" y="83523"/>
                    <a:pt x="931825" y="89306"/>
                  </a:cubicBezTo>
                  <a:cubicBezTo>
                    <a:pt x="931825" y="89948"/>
                    <a:pt x="931825" y="91233"/>
                    <a:pt x="931825" y="92518"/>
                  </a:cubicBezTo>
                  <a:cubicBezTo>
                    <a:pt x="933110" y="100871"/>
                    <a:pt x="933752" y="98943"/>
                    <a:pt x="940177" y="108580"/>
                  </a:cubicBezTo>
                  <a:cubicBezTo>
                    <a:pt x="946602" y="118218"/>
                    <a:pt x="953669" y="132352"/>
                    <a:pt x="956239" y="137492"/>
                  </a:cubicBezTo>
                  <a:cubicBezTo>
                    <a:pt x="958167" y="142632"/>
                    <a:pt x="964592" y="145845"/>
                    <a:pt x="963949" y="149057"/>
                  </a:cubicBezTo>
                  <a:cubicBezTo>
                    <a:pt x="963306" y="152270"/>
                    <a:pt x="958809" y="156124"/>
                    <a:pt x="957524" y="160622"/>
                  </a:cubicBezTo>
                  <a:cubicBezTo>
                    <a:pt x="956239" y="165119"/>
                    <a:pt x="953669" y="166404"/>
                    <a:pt x="960737" y="172829"/>
                  </a:cubicBezTo>
                  <a:cubicBezTo>
                    <a:pt x="967804" y="179254"/>
                    <a:pt x="967804" y="181182"/>
                    <a:pt x="971659" y="183109"/>
                  </a:cubicBezTo>
                  <a:cubicBezTo>
                    <a:pt x="975514" y="185036"/>
                    <a:pt x="974229" y="182466"/>
                    <a:pt x="980654" y="186321"/>
                  </a:cubicBezTo>
                  <a:cubicBezTo>
                    <a:pt x="987079" y="190176"/>
                    <a:pt x="989648" y="189534"/>
                    <a:pt x="992861" y="195316"/>
                  </a:cubicBezTo>
                  <a:cubicBezTo>
                    <a:pt x="995431" y="201098"/>
                    <a:pt x="1002498" y="206881"/>
                    <a:pt x="1005711" y="208808"/>
                  </a:cubicBezTo>
                  <a:cubicBezTo>
                    <a:pt x="1008923" y="210736"/>
                    <a:pt x="1017918" y="212663"/>
                    <a:pt x="1024985" y="215876"/>
                  </a:cubicBezTo>
                  <a:cubicBezTo>
                    <a:pt x="1032053" y="219088"/>
                    <a:pt x="1045545" y="231938"/>
                    <a:pt x="1046187" y="232580"/>
                  </a:cubicBezTo>
                  <a:cubicBezTo>
                    <a:pt x="1046830" y="233223"/>
                    <a:pt x="1055182" y="241575"/>
                    <a:pt x="1058395" y="244788"/>
                  </a:cubicBezTo>
                  <a:cubicBezTo>
                    <a:pt x="1062250" y="248643"/>
                    <a:pt x="1066104" y="246073"/>
                    <a:pt x="1067390" y="254425"/>
                  </a:cubicBezTo>
                  <a:cubicBezTo>
                    <a:pt x="1068675" y="262777"/>
                    <a:pt x="1070602" y="265347"/>
                    <a:pt x="1068032" y="274342"/>
                  </a:cubicBezTo>
                  <a:cubicBezTo>
                    <a:pt x="1065462" y="283337"/>
                    <a:pt x="1063535" y="285264"/>
                    <a:pt x="1060322" y="290404"/>
                  </a:cubicBezTo>
                  <a:cubicBezTo>
                    <a:pt x="1057110" y="295544"/>
                    <a:pt x="1053897" y="302612"/>
                    <a:pt x="1050042" y="310321"/>
                  </a:cubicBezTo>
                  <a:cubicBezTo>
                    <a:pt x="1046187" y="318031"/>
                    <a:pt x="1041047" y="327669"/>
                    <a:pt x="1042333" y="338591"/>
                  </a:cubicBezTo>
                  <a:cubicBezTo>
                    <a:pt x="1043617" y="349513"/>
                    <a:pt x="1054540" y="353368"/>
                    <a:pt x="1057752" y="355938"/>
                  </a:cubicBezTo>
                  <a:cubicBezTo>
                    <a:pt x="1060965" y="358508"/>
                    <a:pt x="1062892" y="364290"/>
                    <a:pt x="1062892" y="364933"/>
                  </a:cubicBezTo>
                  <a:cubicBezTo>
                    <a:pt x="1062892" y="366218"/>
                    <a:pt x="1080882" y="382280"/>
                    <a:pt x="1084094" y="397700"/>
                  </a:cubicBezTo>
                  <a:cubicBezTo>
                    <a:pt x="1087307" y="413119"/>
                    <a:pt x="1077027" y="404124"/>
                    <a:pt x="1087307" y="421472"/>
                  </a:cubicBezTo>
                  <a:cubicBezTo>
                    <a:pt x="1097587" y="438819"/>
                    <a:pt x="1096944" y="442674"/>
                    <a:pt x="1106581" y="454239"/>
                  </a:cubicBezTo>
                  <a:cubicBezTo>
                    <a:pt x="1116219" y="465803"/>
                    <a:pt x="1135493" y="485720"/>
                    <a:pt x="1135493" y="485720"/>
                  </a:cubicBezTo>
                  <a:cubicBezTo>
                    <a:pt x="1135493" y="485720"/>
                    <a:pt x="1147700" y="487648"/>
                    <a:pt x="1153483" y="494073"/>
                  </a:cubicBezTo>
                  <a:cubicBezTo>
                    <a:pt x="1159265" y="500498"/>
                    <a:pt x="1166333" y="504353"/>
                    <a:pt x="1170187" y="503067"/>
                  </a:cubicBezTo>
                  <a:cubicBezTo>
                    <a:pt x="1174042" y="501783"/>
                    <a:pt x="1177255" y="497285"/>
                    <a:pt x="1182395" y="495358"/>
                  </a:cubicBezTo>
                  <a:cubicBezTo>
                    <a:pt x="1186892" y="493430"/>
                    <a:pt x="1192675" y="490860"/>
                    <a:pt x="1200384" y="494073"/>
                  </a:cubicBezTo>
                  <a:cubicBezTo>
                    <a:pt x="1207452" y="497285"/>
                    <a:pt x="1212592" y="506280"/>
                    <a:pt x="1215804" y="511420"/>
                  </a:cubicBezTo>
                  <a:cubicBezTo>
                    <a:pt x="1219659" y="516560"/>
                    <a:pt x="1237649" y="522342"/>
                    <a:pt x="1248571" y="539689"/>
                  </a:cubicBezTo>
                  <a:cubicBezTo>
                    <a:pt x="1258851" y="557679"/>
                    <a:pt x="1263991" y="562819"/>
                    <a:pt x="1271700" y="569886"/>
                  </a:cubicBezTo>
                  <a:cubicBezTo>
                    <a:pt x="1279410" y="576954"/>
                    <a:pt x="1305752" y="590446"/>
                    <a:pt x="1308322" y="593016"/>
                  </a:cubicBezTo>
                  <a:cubicBezTo>
                    <a:pt x="1310892" y="596228"/>
                    <a:pt x="1326954" y="605223"/>
                    <a:pt x="1326954" y="605223"/>
                  </a:cubicBezTo>
                  <a:cubicBezTo>
                    <a:pt x="1326954" y="605223"/>
                    <a:pt x="1334022" y="612933"/>
                    <a:pt x="1341089" y="623213"/>
                  </a:cubicBezTo>
                  <a:cubicBezTo>
                    <a:pt x="1348157" y="633493"/>
                    <a:pt x="1344944" y="639917"/>
                    <a:pt x="1359721" y="641845"/>
                  </a:cubicBezTo>
                  <a:cubicBezTo>
                    <a:pt x="1374498" y="644415"/>
                    <a:pt x="1390561" y="645700"/>
                    <a:pt x="1398270" y="645700"/>
                  </a:cubicBezTo>
                  <a:cubicBezTo>
                    <a:pt x="1406623" y="645700"/>
                    <a:pt x="1411120" y="654695"/>
                    <a:pt x="1413048" y="658550"/>
                  </a:cubicBezTo>
                  <a:cubicBezTo>
                    <a:pt x="1414975" y="662404"/>
                    <a:pt x="1422043" y="673969"/>
                    <a:pt x="1429110" y="679752"/>
                  </a:cubicBezTo>
                  <a:cubicBezTo>
                    <a:pt x="1435535" y="685534"/>
                    <a:pt x="1448384" y="684892"/>
                    <a:pt x="1452882" y="686819"/>
                  </a:cubicBezTo>
                  <a:cubicBezTo>
                    <a:pt x="1457379" y="688746"/>
                    <a:pt x="1461234" y="693886"/>
                    <a:pt x="1462519" y="696456"/>
                  </a:cubicBezTo>
                  <a:cubicBezTo>
                    <a:pt x="1463804" y="699026"/>
                    <a:pt x="1472799" y="715088"/>
                    <a:pt x="1478581" y="722156"/>
                  </a:cubicBezTo>
                  <a:cubicBezTo>
                    <a:pt x="1482436" y="729866"/>
                    <a:pt x="1490146" y="734363"/>
                    <a:pt x="1486934" y="738860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 448">
              <a:extLst>
                <a:ext uri="{FF2B5EF4-FFF2-40B4-BE49-F238E27FC236}">
                  <a16:creationId xmlns:a16="http://schemas.microsoft.com/office/drawing/2014/main" id="{CDED5DBF-D878-4913-26B5-2B85D8B55DF7}"/>
                </a:ext>
              </a:extLst>
            </p:cNvPr>
            <p:cNvSpPr/>
            <p:nvPr/>
          </p:nvSpPr>
          <p:spPr>
            <a:xfrm>
              <a:off x="3847531" y="2513690"/>
              <a:ext cx="19948" cy="19054"/>
            </a:xfrm>
            <a:custGeom>
              <a:avLst/>
              <a:gdLst>
                <a:gd name="connsiteX0" fmla="*/ 7489 w 19948"/>
                <a:gd name="connsiteY0" fmla="*/ 422 h 19054"/>
                <a:gd name="connsiteX1" fmla="*/ 1065 w 19948"/>
                <a:gd name="connsiteY1" fmla="*/ 5562 h 19054"/>
                <a:gd name="connsiteX2" fmla="*/ 422 w 19948"/>
                <a:gd name="connsiteY2" fmla="*/ 13914 h 19054"/>
                <a:gd name="connsiteX3" fmla="*/ 1065 w 19948"/>
                <a:gd name="connsiteY3" fmla="*/ 17769 h 19054"/>
                <a:gd name="connsiteX4" fmla="*/ 7489 w 19948"/>
                <a:gd name="connsiteY4" fmla="*/ 19054 h 19054"/>
                <a:gd name="connsiteX5" fmla="*/ 13914 w 19948"/>
                <a:gd name="connsiteY5" fmla="*/ 17769 h 19054"/>
                <a:gd name="connsiteX6" fmla="*/ 18412 w 19948"/>
                <a:gd name="connsiteY6" fmla="*/ 15842 h 19054"/>
                <a:gd name="connsiteX7" fmla="*/ 19697 w 19948"/>
                <a:gd name="connsiteY7" fmla="*/ 11344 h 19054"/>
                <a:gd name="connsiteX8" fmla="*/ 18412 w 19948"/>
                <a:gd name="connsiteY8" fmla="*/ 10059 h 19054"/>
                <a:gd name="connsiteX9" fmla="*/ 13914 w 19948"/>
                <a:gd name="connsiteY9" fmla="*/ 1064 h 19054"/>
                <a:gd name="connsiteX10" fmla="*/ 7489 w 19948"/>
                <a:gd name="connsiteY10" fmla="*/ 422 h 19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48" h="19054">
                  <a:moveTo>
                    <a:pt x="7489" y="422"/>
                  </a:moveTo>
                  <a:cubicBezTo>
                    <a:pt x="4920" y="1064"/>
                    <a:pt x="2349" y="2992"/>
                    <a:pt x="1065" y="5562"/>
                  </a:cubicBezTo>
                  <a:cubicBezTo>
                    <a:pt x="-220" y="8132"/>
                    <a:pt x="-220" y="11344"/>
                    <a:pt x="422" y="13914"/>
                  </a:cubicBezTo>
                  <a:cubicBezTo>
                    <a:pt x="422" y="15199"/>
                    <a:pt x="422" y="16484"/>
                    <a:pt x="1065" y="17769"/>
                  </a:cubicBezTo>
                  <a:cubicBezTo>
                    <a:pt x="2349" y="19054"/>
                    <a:pt x="6204" y="19054"/>
                    <a:pt x="7489" y="19054"/>
                  </a:cubicBezTo>
                  <a:cubicBezTo>
                    <a:pt x="9417" y="19054"/>
                    <a:pt x="11344" y="18412"/>
                    <a:pt x="13914" y="17769"/>
                  </a:cubicBezTo>
                  <a:cubicBezTo>
                    <a:pt x="15842" y="17127"/>
                    <a:pt x="17127" y="16484"/>
                    <a:pt x="18412" y="15842"/>
                  </a:cubicBezTo>
                  <a:cubicBezTo>
                    <a:pt x="19697" y="14557"/>
                    <a:pt x="20339" y="12629"/>
                    <a:pt x="19697" y="11344"/>
                  </a:cubicBezTo>
                  <a:cubicBezTo>
                    <a:pt x="19697" y="10702"/>
                    <a:pt x="19054" y="10059"/>
                    <a:pt x="18412" y="10059"/>
                  </a:cubicBezTo>
                  <a:cubicBezTo>
                    <a:pt x="16484" y="7489"/>
                    <a:pt x="16484" y="3634"/>
                    <a:pt x="13914" y="1064"/>
                  </a:cubicBezTo>
                  <a:cubicBezTo>
                    <a:pt x="11344" y="-220"/>
                    <a:pt x="9417" y="-220"/>
                    <a:pt x="7489" y="422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 449">
              <a:extLst>
                <a:ext uri="{FF2B5EF4-FFF2-40B4-BE49-F238E27FC236}">
                  <a16:creationId xmlns:a16="http://schemas.microsoft.com/office/drawing/2014/main" id="{C0E873A6-1238-74EF-FE4B-B5A3BF68A391}"/>
                </a:ext>
              </a:extLst>
            </p:cNvPr>
            <p:cNvSpPr/>
            <p:nvPr/>
          </p:nvSpPr>
          <p:spPr>
            <a:xfrm>
              <a:off x="3847531" y="2513690"/>
              <a:ext cx="19948" cy="19054"/>
            </a:xfrm>
            <a:custGeom>
              <a:avLst/>
              <a:gdLst>
                <a:gd name="connsiteX0" fmla="*/ 7489 w 19948"/>
                <a:gd name="connsiteY0" fmla="*/ 422 h 19054"/>
                <a:gd name="connsiteX1" fmla="*/ 1065 w 19948"/>
                <a:gd name="connsiteY1" fmla="*/ 5562 h 19054"/>
                <a:gd name="connsiteX2" fmla="*/ 422 w 19948"/>
                <a:gd name="connsiteY2" fmla="*/ 13914 h 19054"/>
                <a:gd name="connsiteX3" fmla="*/ 1065 w 19948"/>
                <a:gd name="connsiteY3" fmla="*/ 17769 h 19054"/>
                <a:gd name="connsiteX4" fmla="*/ 7489 w 19948"/>
                <a:gd name="connsiteY4" fmla="*/ 19054 h 19054"/>
                <a:gd name="connsiteX5" fmla="*/ 13914 w 19948"/>
                <a:gd name="connsiteY5" fmla="*/ 17769 h 19054"/>
                <a:gd name="connsiteX6" fmla="*/ 18412 w 19948"/>
                <a:gd name="connsiteY6" fmla="*/ 15842 h 19054"/>
                <a:gd name="connsiteX7" fmla="*/ 19697 w 19948"/>
                <a:gd name="connsiteY7" fmla="*/ 11344 h 19054"/>
                <a:gd name="connsiteX8" fmla="*/ 18412 w 19948"/>
                <a:gd name="connsiteY8" fmla="*/ 10059 h 19054"/>
                <a:gd name="connsiteX9" fmla="*/ 13914 w 19948"/>
                <a:gd name="connsiteY9" fmla="*/ 1064 h 19054"/>
                <a:gd name="connsiteX10" fmla="*/ 7489 w 19948"/>
                <a:gd name="connsiteY10" fmla="*/ 422 h 19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48" h="19054">
                  <a:moveTo>
                    <a:pt x="7489" y="422"/>
                  </a:moveTo>
                  <a:cubicBezTo>
                    <a:pt x="4920" y="1064"/>
                    <a:pt x="2349" y="2992"/>
                    <a:pt x="1065" y="5562"/>
                  </a:cubicBezTo>
                  <a:cubicBezTo>
                    <a:pt x="-220" y="8132"/>
                    <a:pt x="-220" y="11344"/>
                    <a:pt x="422" y="13914"/>
                  </a:cubicBezTo>
                  <a:cubicBezTo>
                    <a:pt x="422" y="15199"/>
                    <a:pt x="422" y="16484"/>
                    <a:pt x="1065" y="17769"/>
                  </a:cubicBezTo>
                  <a:cubicBezTo>
                    <a:pt x="2349" y="19054"/>
                    <a:pt x="6204" y="19054"/>
                    <a:pt x="7489" y="19054"/>
                  </a:cubicBezTo>
                  <a:cubicBezTo>
                    <a:pt x="9417" y="19054"/>
                    <a:pt x="11344" y="18412"/>
                    <a:pt x="13914" y="17769"/>
                  </a:cubicBezTo>
                  <a:cubicBezTo>
                    <a:pt x="15842" y="17127"/>
                    <a:pt x="17127" y="16484"/>
                    <a:pt x="18412" y="15842"/>
                  </a:cubicBezTo>
                  <a:cubicBezTo>
                    <a:pt x="19697" y="14557"/>
                    <a:pt x="20339" y="12629"/>
                    <a:pt x="19697" y="11344"/>
                  </a:cubicBezTo>
                  <a:cubicBezTo>
                    <a:pt x="19697" y="10702"/>
                    <a:pt x="19054" y="10059"/>
                    <a:pt x="18412" y="10059"/>
                  </a:cubicBezTo>
                  <a:cubicBezTo>
                    <a:pt x="16484" y="7489"/>
                    <a:pt x="16484" y="3634"/>
                    <a:pt x="13914" y="1064"/>
                  </a:cubicBezTo>
                  <a:cubicBezTo>
                    <a:pt x="11344" y="-220"/>
                    <a:pt x="9417" y="-220"/>
                    <a:pt x="7489" y="422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 450">
              <a:extLst>
                <a:ext uri="{FF2B5EF4-FFF2-40B4-BE49-F238E27FC236}">
                  <a16:creationId xmlns:a16="http://schemas.microsoft.com/office/drawing/2014/main" id="{B729F507-4E97-9574-AD49-D42BDBB184B7}"/>
                </a:ext>
              </a:extLst>
            </p:cNvPr>
            <p:cNvSpPr/>
            <p:nvPr/>
          </p:nvSpPr>
          <p:spPr>
            <a:xfrm>
              <a:off x="3833176" y="2515397"/>
              <a:ext cx="6424" cy="12207"/>
            </a:xfrm>
            <a:custGeom>
              <a:avLst/>
              <a:gdLst>
                <a:gd name="connsiteX0" fmla="*/ 6425 w 6424"/>
                <a:gd name="connsiteY0" fmla="*/ 3212 h 12207"/>
                <a:gd name="connsiteX1" fmla="*/ 6425 w 6424"/>
                <a:gd name="connsiteY1" fmla="*/ 9637 h 12207"/>
                <a:gd name="connsiteX2" fmla="*/ 5782 w 6424"/>
                <a:gd name="connsiteY2" fmla="*/ 11565 h 12207"/>
                <a:gd name="connsiteX3" fmla="*/ 3855 w 6424"/>
                <a:gd name="connsiteY3" fmla="*/ 12207 h 12207"/>
                <a:gd name="connsiteX4" fmla="*/ 2570 w 6424"/>
                <a:gd name="connsiteY4" fmla="*/ 12207 h 12207"/>
                <a:gd name="connsiteX5" fmla="*/ 1927 w 6424"/>
                <a:gd name="connsiteY5" fmla="*/ 11565 h 12207"/>
                <a:gd name="connsiteX6" fmla="*/ 0 w 6424"/>
                <a:gd name="connsiteY6" fmla="*/ 5782 h 12207"/>
                <a:gd name="connsiteX7" fmla="*/ 0 w 6424"/>
                <a:gd name="connsiteY7" fmla="*/ 4497 h 12207"/>
                <a:gd name="connsiteX8" fmla="*/ 642 w 6424"/>
                <a:gd name="connsiteY8" fmla="*/ 3212 h 12207"/>
                <a:gd name="connsiteX9" fmla="*/ 1927 w 6424"/>
                <a:gd name="connsiteY9" fmla="*/ 642 h 12207"/>
                <a:gd name="connsiteX10" fmla="*/ 5140 w 6424"/>
                <a:gd name="connsiteY10" fmla="*/ 0 h 12207"/>
                <a:gd name="connsiteX11" fmla="*/ 5782 w 6424"/>
                <a:gd name="connsiteY11" fmla="*/ 0 h 12207"/>
                <a:gd name="connsiteX12" fmla="*/ 6425 w 6424"/>
                <a:gd name="connsiteY12" fmla="*/ 642 h 12207"/>
                <a:gd name="connsiteX13" fmla="*/ 6425 w 6424"/>
                <a:gd name="connsiteY13" fmla="*/ 3212 h 1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4" h="12207">
                  <a:moveTo>
                    <a:pt x="6425" y="3212"/>
                  </a:moveTo>
                  <a:cubicBezTo>
                    <a:pt x="6425" y="5140"/>
                    <a:pt x="6425" y="7710"/>
                    <a:pt x="6425" y="9637"/>
                  </a:cubicBezTo>
                  <a:cubicBezTo>
                    <a:pt x="6425" y="10280"/>
                    <a:pt x="6425" y="11565"/>
                    <a:pt x="5782" y="11565"/>
                  </a:cubicBezTo>
                  <a:cubicBezTo>
                    <a:pt x="5140" y="12207"/>
                    <a:pt x="4497" y="12207"/>
                    <a:pt x="3855" y="12207"/>
                  </a:cubicBezTo>
                  <a:cubicBezTo>
                    <a:pt x="3212" y="12207"/>
                    <a:pt x="2570" y="12207"/>
                    <a:pt x="2570" y="12207"/>
                  </a:cubicBezTo>
                  <a:cubicBezTo>
                    <a:pt x="1927" y="12207"/>
                    <a:pt x="1927" y="11565"/>
                    <a:pt x="1927" y="11565"/>
                  </a:cubicBezTo>
                  <a:cubicBezTo>
                    <a:pt x="642" y="9637"/>
                    <a:pt x="0" y="7710"/>
                    <a:pt x="0" y="5782"/>
                  </a:cubicBezTo>
                  <a:cubicBezTo>
                    <a:pt x="0" y="5140"/>
                    <a:pt x="0" y="4497"/>
                    <a:pt x="0" y="4497"/>
                  </a:cubicBezTo>
                  <a:cubicBezTo>
                    <a:pt x="0" y="3855"/>
                    <a:pt x="642" y="3855"/>
                    <a:pt x="642" y="3212"/>
                  </a:cubicBezTo>
                  <a:cubicBezTo>
                    <a:pt x="1285" y="2570"/>
                    <a:pt x="1285" y="1285"/>
                    <a:pt x="1927" y="642"/>
                  </a:cubicBezTo>
                  <a:cubicBezTo>
                    <a:pt x="2570" y="0"/>
                    <a:pt x="3855" y="0"/>
                    <a:pt x="5140" y="0"/>
                  </a:cubicBezTo>
                  <a:cubicBezTo>
                    <a:pt x="5140" y="0"/>
                    <a:pt x="5782" y="0"/>
                    <a:pt x="5782" y="0"/>
                  </a:cubicBezTo>
                  <a:cubicBezTo>
                    <a:pt x="5782" y="0"/>
                    <a:pt x="6425" y="642"/>
                    <a:pt x="6425" y="642"/>
                  </a:cubicBezTo>
                  <a:cubicBezTo>
                    <a:pt x="6425" y="1927"/>
                    <a:pt x="6425" y="2570"/>
                    <a:pt x="6425" y="3212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 451">
              <a:extLst>
                <a:ext uri="{FF2B5EF4-FFF2-40B4-BE49-F238E27FC236}">
                  <a16:creationId xmlns:a16="http://schemas.microsoft.com/office/drawing/2014/main" id="{776FFA18-B4EA-872E-32BE-48472459354A}"/>
                </a:ext>
              </a:extLst>
            </p:cNvPr>
            <p:cNvSpPr/>
            <p:nvPr/>
          </p:nvSpPr>
          <p:spPr>
            <a:xfrm>
              <a:off x="3833176" y="2515397"/>
              <a:ext cx="6424" cy="12207"/>
            </a:xfrm>
            <a:custGeom>
              <a:avLst/>
              <a:gdLst>
                <a:gd name="connsiteX0" fmla="*/ 6425 w 6424"/>
                <a:gd name="connsiteY0" fmla="*/ 3212 h 12207"/>
                <a:gd name="connsiteX1" fmla="*/ 6425 w 6424"/>
                <a:gd name="connsiteY1" fmla="*/ 9637 h 12207"/>
                <a:gd name="connsiteX2" fmla="*/ 5782 w 6424"/>
                <a:gd name="connsiteY2" fmla="*/ 11565 h 12207"/>
                <a:gd name="connsiteX3" fmla="*/ 3855 w 6424"/>
                <a:gd name="connsiteY3" fmla="*/ 12207 h 12207"/>
                <a:gd name="connsiteX4" fmla="*/ 2570 w 6424"/>
                <a:gd name="connsiteY4" fmla="*/ 12207 h 12207"/>
                <a:gd name="connsiteX5" fmla="*/ 1927 w 6424"/>
                <a:gd name="connsiteY5" fmla="*/ 11565 h 12207"/>
                <a:gd name="connsiteX6" fmla="*/ 0 w 6424"/>
                <a:gd name="connsiteY6" fmla="*/ 5782 h 12207"/>
                <a:gd name="connsiteX7" fmla="*/ 0 w 6424"/>
                <a:gd name="connsiteY7" fmla="*/ 4497 h 12207"/>
                <a:gd name="connsiteX8" fmla="*/ 642 w 6424"/>
                <a:gd name="connsiteY8" fmla="*/ 3212 h 12207"/>
                <a:gd name="connsiteX9" fmla="*/ 1927 w 6424"/>
                <a:gd name="connsiteY9" fmla="*/ 642 h 12207"/>
                <a:gd name="connsiteX10" fmla="*/ 5140 w 6424"/>
                <a:gd name="connsiteY10" fmla="*/ 0 h 12207"/>
                <a:gd name="connsiteX11" fmla="*/ 5782 w 6424"/>
                <a:gd name="connsiteY11" fmla="*/ 0 h 12207"/>
                <a:gd name="connsiteX12" fmla="*/ 6425 w 6424"/>
                <a:gd name="connsiteY12" fmla="*/ 642 h 12207"/>
                <a:gd name="connsiteX13" fmla="*/ 6425 w 6424"/>
                <a:gd name="connsiteY13" fmla="*/ 3212 h 1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4" h="12207">
                  <a:moveTo>
                    <a:pt x="6425" y="3212"/>
                  </a:moveTo>
                  <a:cubicBezTo>
                    <a:pt x="6425" y="5140"/>
                    <a:pt x="6425" y="7710"/>
                    <a:pt x="6425" y="9637"/>
                  </a:cubicBezTo>
                  <a:cubicBezTo>
                    <a:pt x="6425" y="10280"/>
                    <a:pt x="6425" y="11565"/>
                    <a:pt x="5782" y="11565"/>
                  </a:cubicBezTo>
                  <a:cubicBezTo>
                    <a:pt x="5140" y="12207"/>
                    <a:pt x="4497" y="12207"/>
                    <a:pt x="3855" y="12207"/>
                  </a:cubicBezTo>
                  <a:cubicBezTo>
                    <a:pt x="3212" y="12207"/>
                    <a:pt x="2570" y="12207"/>
                    <a:pt x="2570" y="12207"/>
                  </a:cubicBezTo>
                  <a:cubicBezTo>
                    <a:pt x="1927" y="12207"/>
                    <a:pt x="1927" y="11565"/>
                    <a:pt x="1927" y="11565"/>
                  </a:cubicBezTo>
                  <a:cubicBezTo>
                    <a:pt x="642" y="9637"/>
                    <a:pt x="0" y="7710"/>
                    <a:pt x="0" y="5782"/>
                  </a:cubicBezTo>
                  <a:cubicBezTo>
                    <a:pt x="0" y="5140"/>
                    <a:pt x="0" y="4497"/>
                    <a:pt x="0" y="4497"/>
                  </a:cubicBezTo>
                  <a:cubicBezTo>
                    <a:pt x="0" y="3855"/>
                    <a:pt x="642" y="3855"/>
                    <a:pt x="642" y="3212"/>
                  </a:cubicBezTo>
                  <a:cubicBezTo>
                    <a:pt x="1285" y="2570"/>
                    <a:pt x="1285" y="1285"/>
                    <a:pt x="1927" y="642"/>
                  </a:cubicBezTo>
                  <a:cubicBezTo>
                    <a:pt x="2570" y="0"/>
                    <a:pt x="3855" y="0"/>
                    <a:pt x="5140" y="0"/>
                  </a:cubicBezTo>
                  <a:cubicBezTo>
                    <a:pt x="5140" y="0"/>
                    <a:pt x="5782" y="0"/>
                    <a:pt x="5782" y="0"/>
                  </a:cubicBezTo>
                  <a:cubicBezTo>
                    <a:pt x="5782" y="0"/>
                    <a:pt x="6425" y="642"/>
                    <a:pt x="6425" y="642"/>
                  </a:cubicBezTo>
                  <a:cubicBezTo>
                    <a:pt x="6425" y="1927"/>
                    <a:pt x="6425" y="2570"/>
                    <a:pt x="6425" y="3212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 452">
              <a:extLst>
                <a:ext uri="{FF2B5EF4-FFF2-40B4-BE49-F238E27FC236}">
                  <a16:creationId xmlns:a16="http://schemas.microsoft.com/office/drawing/2014/main" id="{4126F2E9-0D5A-B649-4DD0-8FFB25B0B247}"/>
                </a:ext>
              </a:extLst>
            </p:cNvPr>
            <p:cNvSpPr/>
            <p:nvPr/>
          </p:nvSpPr>
          <p:spPr>
            <a:xfrm>
              <a:off x="3776116" y="2333695"/>
              <a:ext cx="174065" cy="185041"/>
            </a:xfrm>
            <a:custGeom>
              <a:avLst/>
              <a:gdLst>
                <a:gd name="connsiteX0" fmla="*/ 118097 w 174065"/>
                <a:gd name="connsiteY0" fmla="*/ 96252 h 185041"/>
                <a:gd name="connsiteX1" fmla="*/ 123879 w 174065"/>
                <a:gd name="connsiteY1" fmla="*/ 81475 h 185041"/>
                <a:gd name="connsiteX2" fmla="*/ 129019 w 174065"/>
                <a:gd name="connsiteY2" fmla="*/ 75692 h 185041"/>
                <a:gd name="connsiteX3" fmla="*/ 135444 w 174065"/>
                <a:gd name="connsiteY3" fmla="*/ 73765 h 185041"/>
                <a:gd name="connsiteX4" fmla="*/ 146366 w 174065"/>
                <a:gd name="connsiteY4" fmla="*/ 47423 h 185041"/>
                <a:gd name="connsiteX5" fmla="*/ 141226 w 174065"/>
                <a:gd name="connsiteY5" fmla="*/ 40998 h 185041"/>
                <a:gd name="connsiteX6" fmla="*/ 116811 w 174065"/>
                <a:gd name="connsiteY6" fmla="*/ 42283 h 185041"/>
                <a:gd name="connsiteX7" fmla="*/ 92397 w 174065"/>
                <a:gd name="connsiteY7" fmla="*/ 47423 h 185041"/>
                <a:gd name="connsiteX8" fmla="*/ 81475 w 174065"/>
                <a:gd name="connsiteY8" fmla="*/ 42925 h 185041"/>
                <a:gd name="connsiteX9" fmla="*/ 71837 w 174065"/>
                <a:gd name="connsiteY9" fmla="*/ 46780 h 185041"/>
                <a:gd name="connsiteX10" fmla="*/ 73765 w 174065"/>
                <a:gd name="connsiteY10" fmla="*/ 53205 h 185041"/>
                <a:gd name="connsiteX11" fmla="*/ 84687 w 174065"/>
                <a:gd name="connsiteY11" fmla="*/ 58345 h 185041"/>
                <a:gd name="connsiteX12" fmla="*/ 97537 w 174065"/>
                <a:gd name="connsiteY12" fmla="*/ 59630 h 185041"/>
                <a:gd name="connsiteX13" fmla="*/ 101392 w 174065"/>
                <a:gd name="connsiteY13" fmla="*/ 67982 h 185041"/>
                <a:gd name="connsiteX14" fmla="*/ 86615 w 174065"/>
                <a:gd name="connsiteY14" fmla="*/ 81475 h 185041"/>
                <a:gd name="connsiteX15" fmla="*/ 73765 w 174065"/>
                <a:gd name="connsiteY15" fmla="*/ 70552 h 185041"/>
                <a:gd name="connsiteX16" fmla="*/ 66698 w 174065"/>
                <a:gd name="connsiteY16" fmla="*/ 55133 h 185041"/>
                <a:gd name="connsiteX17" fmla="*/ 59630 w 174065"/>
                <a:gd name="connsiteY17" fmla="*/ 45495 h 185041"/>
                <a:gd name="connsiteX18" fmla="*/ 58345 w 174065"/>
                <a:gd name="connsiteY18" fmla="*/ 37143 h 185041"/>
                <a:gd name="connsiteX19" fmla="*/ 70552 w 174065"/>
                <a:gd name="connsiteY19" fmla="*/ 12729 h 185041"/>
                <a:gd name="connsiteX20" fmla="*/ 77620 w 174065"/>
                <a:gd name="connsiteY20" fmla="*/ 9516 h 185041"/>
                <a:gd name="connsiteX21" fmla="*/ 78905 w 174065"/>
                <a:gd name="connsiteY21" fmla="*/ 2449 h 185041"/>
                <a:gd name="connsiteX22" fmla="*/ 76335 w 174065"/>
                <a:gd name="connsiteY22" fmla="*/ 1164 h 185041"/>
                <a:gd name="connsiteX23" fmla="*/ 58345 w 174065"/>
                <a:gd name="connsiteY23" fmla="*/ 1806 h 185041"/>
                <a:gd name="connsiteX24" fmla="*/ 40998 w 174065"/>
                <a:gd name="connsiteY24" fmla="*/ 8231 h 185041"/>
                <a:gd name="connsiteX25" fmla="*/ 27506 w 174065"/>
                <a:gd name="connsiteY25" fmla="*/ 12086 h 185041"/>
                <a:gd name="connsiteX26" fmla="*/ 21081 w 174065"/>
                <a:gd name="connsiteY26" fmla="*/ 26863 h 185041"/>
                <a:gd name="connsiteX27" fmla="*/ 24936 w 174065"/>
                <a:gd name="connsiteY27" fmla="*/ 36501 h 185041"/>
                <a:gd name="connsiteX28" fmla="*/ 30718 w 174065"/>
                <a:gd name="connsiteY28" fmla="*/ 44210 h 185041"/>
                <a:gd name="connsiteX29" fmla="*/ 37786 w 174065"/>
                <a:gd name="connsiteY29" fmla="*/ 50635 h 185041"/>
                <a:gd name="connsiteX30" fmla="*/ 42925 w 174065"/>
                <a:gd name="connsiteY30" fmla="*/ 53205 h 185041"/>
                <a:gd name="connsiteX31" fmla="*/ 48065 w 174065"/>
                <a:gd name="connsiteY31" fmla="*/ 54490 h 185041"/>
                <a:gd name="connsiteX32" fmla="*/ 46780 w 174065"/>
                <a:gd name="connsiteY32" fmla="*/ 58345 h 185041"/>
                <a:gd name="connsiteX33" fmla="*/ 42925 w 174065"/>
                <a:gd name="connsiteY33" fmla="*/ 60273 h 185041"/>
                <a:gd name="connsiteX34" fmla="*/ 31361 w 174065"/>
                <a:gd name="connsiteY34" fmla="*/ 59630 h 185041"/>
                <a:gd name="connsiteX35" fmla="*/ 13371 w 174065"/>
                <a:gd name="connsiteY35" fmla="*/ 62200 h 185041"/>
                <a:gd name="connsiteX36" fmla="*/ 6946 w 174065"/>
                <a:gd name="connsiteY36" fmla="*/ 71837 h 185041"/>
                <a:gd name="connsiteX37" fmla="*/ 15941 w 174065"/>
                <a:gd name="connsiteY37" fmla="*/ 81475 h 185041"/>
                <a:gd name="connsiteX38" fmla="*/ 21723 w 174065"/>
                <a:gd name="connsiteY38" fmla="*/ 92397 h 185041"/>
                <a:gd name="connsiteX39" fmla="*/ 13371 w 174065"/>
                <a:gd name="connsiteY39" fmla="*/ 100749 h 185041"/>
                <a:gd name="connsiteX40" fmla="*/ 17226 w 174065"/>
                <a:gd name="connsiteY40" fmla="*/ 109744 h 185041"/>
                <a:gd name="connsiteX41" fmla="*/ 27506 w 174065"/>
                <a:gd name="connsiteY41" fmla="*/ 114242 h 185041"/>
                <a:gd name="connsiteX42" fmla="*/ 35216 w 174065"/>
                <a:gd name="connsiteY42" fmla="*/ 121309 h 185041"/>
                <a:gd name="connsiteX43" fmla="*/ 28148 w 174065"/>
                <a:gd name="connsiteY43" fmla="*/ 135444 h 185041"/>
                <a:gd name="connsiteX44" fmla="*/ 10801 w 174065"/>
                <a:gd name="connsiteY44" fmla="*/ 139299 h 185041"/>
                <a:gd name="connsiteX45" fmla="*/ 1164 w 174065"/>
                <a:gd name="connsiteY45" fmla="*/ 148293 h 185041"/>
                <a:gd name="connsiteX46" fmla="*/ 1806 w 174065"/>
                <a:gd name="connsiteY46" fmla="*/ 161143 h 185041"/>
                <a:gd name="connsiteX47" fmla="*/ 14014 w 174065"/>
                <a:gd name="connsiteY47" fmla="*/ 172065 h 185041"/>
                <a:gd name="connsiteX48" fmla="*/ 35858 w 174065"/>
                <a:gd name="connsiteY48" fmla="*/ 182988 h 185041"/>
                <a:gd name="connsiteX49" fmla="*/ 40356 w 174065"/>
                <a:gd name="connsiteY49" fmla="*/ 184915 h 185041"/>
                <a:gd name="connsiteX50" fmla="*/ 51278 w 174065"/>
                <a:gd name="connsiteY50" fmla="*/ 181703 h 185041"/>
                <a:gd name="connsiteX51" fmla="*/ 58988 w 174065"/>
                <a:gd name="connsiteY51" fmla="*/ 173350 h 185041"/>
                <a:gd name="connsiteX52" fmla="*/ 60273 w 174065"/>
                <a:gd name="connsiteY52" fmla="*/ 172708 h 185041"/>
                <a:gd name="connsiteX53" fmla="*/ 61558 w 174065"/>
                <a:gd name="connsiteY53" fmla="*/ 172708 h 185041"/>
                <a:gd name="connsiteX54" fmla="*/ 77620 w 174065"/>
                <a:gd name="connsiteY54" fmla="*/ 168853 h 185041"/>
                <a:gd name="connsiteX55" fmla="*/ 88542 w 174065"/>
                <a:gd name="connsiteY55" fmla="*/ 161786 h 185041"/>
                <a:gd name="connsiteX56" fmla="*/ 99464 w 174065"/>
                <a:gd name="connsiteY56" fmla="*/ 154718 h 185041"/>
                <a:gd name="connsiteX57" fmla="*/ 105889 w 174065"/>
                <a:gd name="connsiteY57" fmla="*/ 150221 h 185041"/>
                <a:gd name="connsiteX58" fmla="*/ 113599 w 174065"/>
                <a:gd name="connsiteY58" fmla="*/ 148936 h 185041"/>
                <a:gd name="connsiteX59" fmla="*/ 120024 w 174065"/>
                <a:gd name="connsiteY59" fmla="*/ 154718 h 185041"/>
                <a:gd name="connsiteX60" fmla="*/ 129661 w 174065"/>
                <a:gd name="connsiteY60" fmla="*/ 152148 h 185041"/>
                <a:gd name="connsiteX61" fmla="*/ 150221 w 174065"/>
                <a:gd name="connsiteY61" fmla="*/ 145723 h 185041"/>
                <a:gd name="connsiteX62" fmla="*/ 153433 w 174065"/>
                <a:gd name="connsiteY62" fmla="*/ 145723 h 185041"/>
                <a:gd name="connsiteX63" fmla="*/ 156003 w 174065"/>
                <a:gd name="connsiteY63" fmla="*/ 147008 h 185041"/>
                <a:gd name="connsiteX64" fmla="*/ 161786 w 174065"/>
                <a:gd name="connsiteY64" fmla="*/ 151506 h 185041"/>
                <a:gd name="connsiteX65" fmla="*/ 157931 w 174065"/>
                <a:gd name="connsiteY65" fmla="*/ 166926 h 185041"/>
                <a:gd name="connsiteX66" fmla="*/ 166283 w 174065"/>
                <a:gd name="connsiteY66" fmla="*/ 170780 h 185041"/>
                <a:gd name="connsiteX67" fmla="*/ 170780 w 174065"/>
                <a:gd name="connsiteY67" fmla="*/ 166926 h 185041"/>
                <a:gd name="connsiteX68" fmla="*/ 173350 w 174065"/>
                <a:gd name="connsiteY68" fmla="*/ 155361 h 185041"/>
                <a:gd name="connsiteX69" fmla="*/ 170780 w 174065"/>
                <a:gd name="connsiteY69" fmla="*/ 148936 h 185041"/>
                <a:gd name="connsiteX70" fmla="*/ 173993 w 174065"/>
                <a:gd name="connsiteY70" fmla="*/ 137371 h 185041"/>
                <a:gd name="connsiteX71" fmla="*/ 169496 w 174065"/>
                <a:gd name="connsiteY71" fmla="*/ 132231 h 185041"/>
                <a:gd name="connsiteX72" fmla="*/ 163071 w 174065"/>
                <a:gd name="connsiteY72" fmla="*/ 129019 h 185041"/>
                <a:gd name="connsiteX73" fmla="*/ 157288 w 174065"/>
                <a:gd name="connsiteY73" fmla="*/ 125164 h 185041"/>
                <a:gd name="connsiteX74" fmla="*/ 148936 w 174065"/>
                <a:gd name="connsiteY74" fmla="*/ 122594 h 185041"/>
                <a:gd name="connsiteX75" fmla="*/ 128376 w 174065"/>
                <a:gd name="connsiteY75" fmla="*/ 112957 h 185041"/>
                <a:gd name="connsiteX76" fmla="*/ 125806 w 174065"/>
                <a:gd name="connsiteY76" fmla="*/ 111029 h 185041"/>
                <a:gd name="connsiteX77" fmla="*/ 123879 w 174065"/>
                <a:gd name="connsiteY77" fmla="*/ 107174 h 185041"/>
                <a:gd name="connsiteX78" fmla="*/ 118739 w 174065"/>
                <a:gd name="connsiteY78" fmla="*/ 93039 h 185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74065" h="185041">
                  <a:moveTo>
                    <a:pt x="118097" y="96252"/>
                  </a:moveTo>
                  <a:cubicBezTo>
                    <a:pt x="119381" y="91112"/>
                    <a:pt x="121309" y="85972"/>
                    <a:pt x="123879" y="81475"/>
                  </a:cubicBezTo>
                  <a:cubicBezTo>
                    <a:pt x="125164" y="78905"/>
                    <a:pt x="127091" y="76977"/>
                    <a:pt x="129019" y="75692"/>
                  </a:cubicBezTo>
                  <a:cubicBezTo>
                    <a:pt x="130946" y="74407"/>
                    <a:pt x="133516" y="74407"/>
                    <a:pt x="135444" y="73765"/>
                  </a:cubicBezTo>
                  <a:cubicBezTo>
                    <a:pt x="145723" y="70552"/>
                    <a:pt x="150863" y="57060"/>
                    <a:pt x="146366" y="47423"/>
                  </a:cubicBezTo>
                  <a:cubicBezTo>
                    <a:pt x="145081" y="44853"/>
                    <a:pt x="143154" y="42283"/>
                    <a:pt x="141226" y="40998"/>
                  </a:cubicBezTo>
                  <a:cubicBezTo>
                    <a:pt x="134159" y="35858"/>
                    <a:pt x="124521" y="39071"/>
                    <a:pt x="116811" y="42283"/>
                  </a:cubicBezTo>
                  <a:cubicBezTo>
                    <a:pt x="109102" y="45495"/>
                    <a:pt x="100107" y="49993"/>
                    <a:pt x="92397" y="47423"/>
                  </a:cubicBezTo>
                  <a:cubicBezTo>
                    <a:pt x="88542" y="46138"/>
                    <a:pt x="85330" y="44210"/>
                    <a:pt x="81475" y="42925"/>
                  </a:cubicBezTo>
                  <a:cubicBezTo>
                    <a:pt x="77620" y="41640"/>
                    <a:pt x="72480" y="42925"/>
                    <a:pt x="71837" y="46780"/>
                  </a:cubicBezTo>
                  <a:cubicBezTo>
                    <a:pt x="71195" y="48708"/>
                    <a:pt x="72480" y="51278"/>
                    <a:pt x="73765" y="53205"/>
                  </a:cubicBezTo>
                  <a:cubicBezTo>
                    <a:pt x="76335" y="56418"/>
                    <a:pt x="80832" y="58345"/>
                    <a:pt x="84687" y="58345"/>
                  </a:cubicBezTo>
                  <a:cubicBezTo>
                    <a:pt x="89185" y="58988"/>
                    <a:pt x="93682" y="57703"/>
                    <a:pt x="97537" y="59630"/>
                  </a:cubicBezTo>
                  <a:cubicBezTo>
                    <a:pt x="100107" y="61558"/>
                    <a:pt x="101392" y="64770"/>
                    <a:pt x="101392" y="67982"/>
                  </a:cubicBezTo>
                  <a:cubicBezTo>
                    <a:pt x="101392" y="75050"/>
                    <a:pt x="94324" y="82760"/>
                    <a:pt x="86615" y="81475"/>
                  </a:cubicBezTo>
                  <a:cubicBezTo>
                    <a:pt x="80832" y="80832"/>
                    <a:pt x="76335" y="75692"/>
                    <a:pt x="73765" y="70552"/>
                  </a:cubicBezTo>
                  <a:cubicBezTo>
                    <a:pt x="71195" y="65413"/>
                    <a:pt x="69910" y="59630"/>
                    <a:pt x="66698" y="55133"/>
                  </a:cubicBezTo>
                  <a:cubicBezTo>
                    <a:pt x="64127" y="51920"/>
                    <a:pt x="60915" y="49350"/>
                    <a:pt x="59630" y="45495"/>
                  </a:cubicBezTo>
                  <a:cubicBezTo>
                    <a:pt x="58345" y="42925"/>
                    <a:pt x="58345" y="39713"/>
                    <a:pt x="58345" y="37143"/>
                  </a:cubicBezTo>
                  <a:cubicBezTo>
                    <a:pt x="58345" y="27506"/>
                    <a:pt x="61558" y="16583"/>
                    <a:pt x="70552" y="12729"/>
                  </a:cubicBezTo>
                  <a:cubicBezTo>
                    <a:pt x="73122" y="11444"/>
                    <a:pt x="75692" y="10801"/>
                    <a:pt x="77620" y="9516"/>
                  </a:cubicBezTo>
                  <a:cubicBezTo>
                    <a:pt x="79547" y="7589"/>
                    <a:pt x="80832" y="5019"/>
                    <a:pt x="78905" y="2449"/>
                  </a:cubicBezTo>
                  <a:cubicBezTo>
                    <a:pt x="78262" y="1806"/>
                    <a:pt x="77620" y="1164"/>
                    <a:pt x="76335" y="1164"/>
                  </a:cubicBezTo>
                  <a:cubicBezTo>
                    <a:pt x="70552" y="-764"/>
                    <a:pt x="64127" y="-121"/>
                    <a:pt x="58345" y="1806"/>
                  </a:cubicBezTo>
                  <a:cubicBezTo>
                    <a:pt x="52563" y="3734"/>
                    <a:pt x="46780" y="6946"/>
                    <a:pt x="40998" y="8231"/>
                  </a:cubicBezTo>
                  <a:cubicBezTo>
                    <a:pt x="36501" y="9516"/>
                    <a:pt x="31361" y="9516"/>
                    <a:pt x="27506" y="12086"/>
                  </a:cubicBezTo>
                  <a:cubicBezTo>
                    <a:pt x="22366" y="15299"/>
                    <a:pt x="20438" y="21081"/>
                    <a:pt x="21081" y="26863"/>
                  </a:cubicBezTo>
                  <a:cubicBezTo>
                    <a:pt x="21723" y="30076"/>
                    <a:pt x="23008" y="33931"/>
                    <a:pt x="24936" y="36501"/>
                  </a:cubicBezTo>
                  <a:cubicBezTo>
                    <a:pt x="26863" y="39071"/>
                    <a:pt x="29433" y="41640"/>
                    <a:pt x="30718" y="44210"/>
                  </a:cubicBezTo>
                  <a:cubicBezTo>
                    <a:pt x="32003" y="46780"/>
                    <a:pt x="35216" y="48708"/>
                    <a:pt x="37786" y="50635"/>
                  </a:cubicBezTo>
                  <a:cubicBezTo>
                    <a:pt x="39713" y="51278"/>
                    <a:pt x="40998" y="52563"/>
                    <a:pt x="42925" y="53205"/>
                  </a:cubicBezTo>
                  <a:cubicBezTo>
                    <a:pt x="43568" y="53205"/>
                    <a:pt x="48065" y="54490"/>
                    <a:pt x="48065" y="54490"/>
                  </a:cubicBezTo>
                  <a:cubicBezTo>
                    <a:pt x="48708" y="55775"/>
                    <a:pt x="48065" y="57060"/>
                    <a:pt x="46780" y="58345"/>
                  </a:cubicBezTo>
                  <a:cubicBezTo>
                    <a:pt x="45495" y="59630"/>
                    <a:pt x="44211" y="59630"/>
                    <a:pt x="42925" y="60273"/>
                  </a:cubicBezTo>
                  <a:cubicBezTo>
                    <a:pt x="39070" y="60915"/>
                    <a:pt x="35216" y="60273"/>
                    <a:pt x="31361" y="59630"/>
                  </a:cubicBezTo>
                  <a:cubicBezTo>
                    <a:pt x="24936" y="58345"/>
                    <a:pt x="19153" y="58988"/>
                    <a:pt x="13371" y="62200"/>
                  </a:cubicBezTo>
                  <a:cubicBezTo>
                    <a:pt x="9516" y="64128"/>
                    <a:pt x="6304" y="67982"/>
                    <a:pt x="6946" y="71837"/>
                  </a:cubicBezTo>
                  <a:cubicBezTo>
                    <a:pt x="7589" y="76335"/>
                    <a:pt x="12086" y="78905"/>
                    <a:pt x="15941" y="81475"/>
                  </a:cubicBezTo>
                  <a:cubicBezTo>
                    <a:pt x="19796" y="84045"/>
                    <a:pt x="23651" y="88542"/>
                    <a:pt x="21723" y="92397"/>
                  </a:cubicBezTo>
                  <a:cubicBezTo>
                    <a:pt x="20438" y="96252"/>
                    <a:pt x="15299" y="97537"/>
                    <a:pt x="13371" y="100749"/>
                  </a:cubicBezTo>
                  <a:cubicBezTo>
                    <a:pt x="12086" y="103962"/>
                    <a:pt x="14014" y="107817"/>
                    <a:pt x="17226" y="109744"/>
                  </a:cubicBezTo>
                  <a:cubicBezTo>
                    <a:pt x="20438" y="111672"/>
                    <a:pt x="24293" y="112957"/>
                    <a:pt x="27506" y="114242"/>
                  </a:cubicBezTo>
                  <a:cubicBezTo>
                    <a:pt x="30718" y="115527"/>
                    <a:pt x="34573" y="118096"/>
                    <a:pt x="35216" y="121309"/>
                  </a:cubicBezTo>
                  <a:cubicBezTo>
                    <a:pt x="37143" y="126449"/>
                    <a:pt x="32003" y="132231"/>
                    <a:pt x="28148" y="135444"/>
                  </a:cubicBezTo>
                  <a:cubicBezTo>
                    <a:pt x="24293" y="139299"/>
                    <a:pt x="15941" y="137371"/>
                    <a:pt x="10801" y="139299"/>
                  </a:cubicBezTo>
                  <a:cubicBezTo>
                    <a:pt x="6304" y="141226"/>
                    <a:pt x="3091" y="144438"/>
                    <a:pt x="1164" y="148293"/>
                  </a:cubicBezTo>
                  <a:cubicBezTo>
                    <a:pt x="-764" y="152148"/>
                    <a:pt x="-121" y="157288"/>
                    <a:pt x="1806" y="161143"/>
                  </a:cubicBezTo>
                  <a:cubicBezTo>
                    <a:pt x="4376" y="166283"/>
                    <a:pt x="8874" y="169495"/>
                    <a:pt x="14014" y="172065"/>
                  </a:cubicBezTo>
                  <a:cubicBezTo>
                    <a:pt x="21081" y="175920"/>
                    <a:pt x="28148" y="179775"/>
                    <a:pt x="35858" y="182988"/>
                  </a:cubicBezTo>
                  <a:cubicBezTo>
                    <a:pt x="37143" y="183630"/>
                    <a:pt x="38428" y="184273"/>
                    <a:pt x="40356" y="184915"/>
                  </a:cubicBezTo>
                  <a:cubicBezTo>
                    <a:pt x="44211" y="185558"/>
                    <a:pt x="48708" y="183630"/>
                    <a:pt x="51278" y="181703"/>
                  </a:cubicBezTo>
                  <a:cubicBezTo>
                    <a:pt x="54490" y="179133"/>
                    <a:pt x="56418" y="175920"/>
                    <a:pt x="58988" y="173350"/>
                  </a:cubicBezTo>
                  <a:cubicBezTo>
                    <a:pt x="59630" y="172708"/>
                    <a:pt x="59630" y="172708"/>
                    <a:pt x="60273" y="172708"/>
                  </a:cubicBezTo>
                  <a:cubicBezTo>
                    <a:pt x="60915" y="172708"/>
                    <a:pt x="61558" y="172708"/>
                    <a:pt x="61558" y="172708"/>
                  </a:cubicBezTo>
                  <a:cubicBezTo>
                    <a:pt x="67340" y="173350"/>
                    <a:pt x="73122" y="171423"/>
                    <a:pt x="77620" y="168853"/>
                  </a:cubicBezTo>
                  <a:cubicBezTo>
                    <a:pt x="81475" y="166926"/>
                    <a:pt x="84687" y="163713"/>
                    <a:pt x="88542" y="161786"/>
                  </a:cubicBezTo>
                  <a:cubicBezTo>
                    <a:pt x="92397" y="159858"/>
                    <a:pt x="96252" y="157931"/>
                    <a:pt x="99464" y="154718"/>
                  </a:cubicBezTo>
                  <a:cubicBezTo>
                    <a:pt x="101392" y="152791"/>
                    <a:pt x="103319" y="151506"/>
                    <a:pt x="105889" y="150221"/>
                  </a:cubicBezTo>
                  <a:cubicBezTo>
                    <a:pt x="108459" y="148936"/>
                    <a:pt x="111029" y="148293"/>
                    <a:pt x="113599" y="148936"/>
                  </a:cubicBezTo>
                  <a:cubicBezTo>
                    <a:pt x="112957" y="152148"/>
                    <a:pt x="116811" y="154718"/>
                    <a:pt x="120024" y="154718"/>
                  </a:cubicBezTo>
                  <a:cubicBezTo>
                    <a:pt x="123236" y="154718"/>
                    <a:pt x="126449" y="153433"/>
                    <a:pt x="129661" y="152148"/>
                  </a:cubicBezTo>
                  <a:cubicBezTo>
                    <a:pt x="136086" y="149578"/>
                    <a:pt x="143154" y="147008"/>
                    <a:pt x="150221" y="145723"/>
                  </a:cubicBezTo>
                  <a:cubicBezTo>
                    <a:pt x="151506" y="145723"/>
                    <a:pt x="152791" y="145081"/>
                    <a:pt x="153433" y="145723"/>
                  </a:cubicBezTo>
                  <a:cubicBezTo>
                    <a:pt x="154718" y="145723"/>
                    <a:pt x="155361" y="146366"/>
                    <a:pt x="156003" y="147008"/>
                  </a:cubicBezTo>
                  <a:cubicBezTo>
                    <a:pt x="158573" y="148293"/>
                    <a:pt x="161143" y="149578"/>
                    <a:pt x="161786" y="151506"/>
                  </a:cubicBezTo>
                  <a:cubicBezTo>
                    <a:pt x="163713" y="156646"/>
                    <a:pt x="156646" y="161143"/>
                    <a:pt x="157931" y="166926"/>
                  </a:cubicBezTo>
                  <a:cubicBezTo>
                    <a:pt x="158573" y="170138"/>
                    <a:pt x="163071" y="172065"/>
                    <a:pt x="166283" y="170780"/>
                  </a:cubicBezTo>
                  <a:cubicBezTo>
                    <a:pt x="168210" y="170138"/>
                    <a:pt x="169496" y="168853"/>
                    <a:pt x="170780" y="166926"/>
                  </a:cubicBezTo>
                  <a:cubicBezTo>
                    <a:pt x="172708" y="163713"/>
                    <a:pt x="174635" y="159216"/>
                    <a:pt x="173350" y="155361"/>
                  </a:cubicBezTo>
                  <a:cubicBezTo>
                    <a:pt x="172708" y="153433"/>
                    <a:pt x="171423" y="151506"/>
                    <a:pt x="170780" y="148936"/>
                  </a:cubicBezTo>
                  <a:cubicBezTo>
                    <a:pt x="170780" y="145081"/>
                    <a:pt x="174635" y="141226"/>
                    <a:pt x="173993" y="137371"/>
                  </a:cubicBezTo>
                  <a:cubicBezTo>
                    <a:pt x="173350" y="135444"/>
                    <a:pt x="171423" y="133516"/>
                    <a:pt x="169496" y="132231"/>
                  </a:cubicBezTo>
                  <a:cubicBezTo>
                    <a:pt x="167568" y="130946"/>
                    <a:pt x="164998" y="130304"/>
                    <a:pt x="163071" y="129019"/>
                  </a:cubicBezTo>
                  <a:cubicBezTo>
                    <a:pt x="161143" y="127734"/>
                    <a:pt x="159216" y="126449"/>
                    <a:pt x="157288" y="125164"/>
                  </a:cubicBezTo>
                  <a:cubicBezTo>
                    <a:pt x="154718" y="123879"/>
                    <a:pt x="151506" y="123236"/>
                    <a:pt x="148936" y="122594"/>
                  </a:cubicBezTo>
                  <a:cubicBezTo>
                    <a:pt x="141226" y="120666"/>
                    <a:pt x="134801" y="116812"/>
                    <a:pt x="128376" y="112957"/>
                  </a:cubicBezTo>
                  <a:cubicBezTo>
                    <a:pt x="127734" y="112314"/>
                    <a:pt x="126449" y="111672"/>
                    <a:pt x="125806" y="111029"/>
                  </a:cubicBezTo>
                  <a:cubicBezTo>
                    <a:pt x="125164" y="109744"/>
                    <a:pt x="124521" y="108459"/>
                    <a:pt x="123879" y="107174"/>
                  </a:cubicBezTo>
                  <a:cubicBezTo>
                    <a:pt x="121951" y="102677"/>
                    <a:pt x="120666" y="97537"/>
                    <a:pt x="118739" y="93039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 453">
              <a:extLst>
                <a:ext uri="{FF2B5EF4-FFF2-40B4-BE49-F238E27FC236}">
                  <a16:creationId xmlns:a16="http://schemas.microsoft.com/office/drawing/2014/main" id="{A1109674-E73E-1903-8C51-EE60808D8998}"/>
                </a:ext>
              </a:extLst>
            </p:cNvPr>
            <p:cNvSpPr/>
            <p:nvPr/>
          </p:nvSpPr>
          <p:spPr>
            <a:xfrm>
              <a:off x="3776116" y="2333695"/>
              <a:ext cx="174065" cy="185041"/>
            </a:xfrm>
            <a:custGeom>
              <a:avLst/>
              <a:gdLst>
                <a:gd name="connsiteX0" fmla="*/ 118097 w 174065"/>
                <a:gd name="connsiteY0" fmla="*/ 96252 h 185041"/>
                <a:gd name="connsiteX1" fmla="*/ 123879 w 174065"/>
                <a:gd name="connsiteY1" fmla="*/ 81475 h 185041"/>
                <a:gd name="connsiteX2" fmla="*/ 129019 w 174065"/>
                <a:gd name="connsiteY2" fmla="*/ 75692 h 185041"/>
                <a:gd name="connsiteX3" fmla="*/ 135444 w 174065"/>
                <a:gd name="connsiteY3" fmla="*/ 73765 h 185041"/>
                <a:gd name="connsiteX4" fmla="*/ 146366 w 174065"/>
                <a:gd name="connsiteY4" fmla="*/ 47423 h 185041"/>
                <a:gd name="connsiteX5" fmla="*/ 141226 w 174065"/>
                <a:gd name="connsiteY5" fmla="*/ 40998 h 185041"/>
                <a:gd name="connsiteX6" fmla="*/ 116811 w 174065"/>
                <a:gd name="connsiteY6" fmla="*/ 42283 h 185041"/>
                <a:gd name="connsiteX7" fmla="*/ 92397 w 174065"/>
                <a:gd name="connsiteY7" fmla="*/ 47423 h 185041"/>
                <a:gd name="connsiteX8" fmla="*/ 81475 w 174065"/>
                <a:gd name="connsiteY8" fmla="*/ 42925 h 185041"/>
                <a:gd name="connsiteX9" fmla="*/ 71837 w 174065"/>
                <a:gd name="connsiteY9" fmla="*/ 46780 h 185041"/>
                <a:gd name="connsiteX10" fmla="*/ 73765 w 174065"/>
                <a:gd name="connsiteY10" fmla="*/ 53205 h 185041"/>
                <a:gd name="connsiteX11" fmla="*/ 84687 w 174065"/>
                <a:gd name="connsiteY11" fmla="*/ 58345 h 185041"/>
                <a:gd name="connsiteX12" fmla="*/ 97537 w 174065"/>
                <a:gd name="connsiteY12" fmla="*/ 59630 h 185041"/>
                <a:gd name="connsiteX13" fmla="*/ 101392 w 174065"/>
                <a:gd name="connsiteY13" fmla="*/ 67982 h 185041"/>
                <a:gd name="connsiteX14" fmla="*/ 86615 w 174065"/>
                <a:gd name="connsiteY14" fmla="*/ 81475 h 185041"/>
                <a:gd name="connsiteX15" fmla="*/ 73765 w 174065"/>
                <a:gd name="connsiteY15" fmla="*/ 70552 h 185041"/>
                <a:gd name="connsiteX16" fmla="*/ 66698 w 174065"/>
                <a:gd name="connsiteY16" fmla="*/ 55133 h 185041"/>
                <a:gd name="connsiteX17" fmla="*/ 59630 w 174065"/>
                <a:gd name="connsiteY17" fmla="*/ 45495 h 185041"/>
                <a:gd name="connsiteX18" fmla="*/ 58345 w 174065"/>
                <a:gd name="connsiteY18" fmla="*/ 37143 h 185041"/>
                <a:gd name="connsiteX19" fmla="*/ 70552 w 174065"/>
                <a:gd name="connsiteY19" fmla="*/ 12729 h 185041"/>
                <a:gd name="connsiteX20" fmla="*/ 77620 w 174065"/>
                <a:gd name="connsiteY20" fmla="*/ 9516 h 185041"/>
                <a:gd name="connsiteX21" fmla="*/ 78905 w 174065"/>
                <a:gd name="connsiteY21" fmla="*/ 2449 h 185041"/>
                <a:gd name="connsiteX22" fmla="*/ 76335 w 174065"/>
                <a:gd name="connsiteY22" fmla="*/ 1164 h 185041"/>
                <a:gd name="connsiteX23" fmla="*/ 58345 w 174065"/>
                <a:gd name="connsiteY23" fmla="*/ 1806 h 185041"/>
                <a:gd name="connsiteX24" fmla="*/ 40998 w 174065"/>
                <a:gd name="connsiteY24" fmla="*/ 8231 h 185041"/>
                <a:gd name="connsiteX25" fmla="*/ 27506 w 174065"/>
                <a:gd name="connsiteY25" fmla="*/ 12086 h 185041"/>
                <a:gd name="connsiteX26" fmla="*/ 21081 w 174065"/>
                <a:gd name="connsiteY26" fmla="*/ 26863 h 185041"/>
                <a:gd name="connsiteX27" fmla="*/ 24936 w 174065"/>
                <a:gd name="connsiteY27" fmla="*/ 36501 h 185041"/>
                <a:gd name="connsiteX28" fmla="*/ 30718 w 174065"/>
                <a:gd name="connsiteY28" fmla="*/ 44210 h 185041"/>
                <a:gd name="connsiteX29" fmla="*/ 37786 w 174065"/>
                <a:gd name="connsiteY29" fmla="*/ 50635 h 185041"/>
                <a:gd name="connsiteX30" fmla="*/ 42925 w 174065"/>
                <a:gd name="connsiteY30" fmla="*/ 53205 h 185041"/>
                <a:gd name="connsiteX31" fmla="*/ 48065 w 174065"/>
                <a:gd name="connsiteY31" fmla="*/ 54490 h 185041"/>
                <a:gd name="connsiteX32" fmla="*/ 46780 w 174065"/>
                <a:gd name="connsiteY32" fmla="*/ 58345 h 185041"/>
                <a:gd name="connsiteX33" fmla="*/ 42925 w 174065"/>
                <a:gd name="connsiteY33" fmla="*/ 60273 h 185041"/>
                <a:gd name="connsiteX34" fmla="*/ 31361 w 174065"/>
                <a:gd name="connsiteY34" fmla="*/ 59630 h 185041"/>
                <a:gd name="connsiteX35" fmla="*/ 13371 w 174065"/>
                <a:gd name="connsiteY35" fmla="*/ 62200 h 185041"/>
                <a:gd name="connsiteX36" fmla="*/ 6946 w 174065"/>
                <a:gd name="connsiteY36" fmla="*/ 71837 h 185041"/>
                <a:gd name="connsiteX37" fmla="*/ 15941 w 174065"/>
                <a:gd name="connsiteY37" fmla="*/ 81475 h 185041"/>
                <a:gd name="connsiteX38" fmla="*/ 21723 w 174065"/>
                <a:gd name="connsiteY38" fmla="*/ 92397 h 185041"/>
                <a:gd name="connsiteX39" fmla="*/ 13371 w 174065"/>
                <a:gd name="connsiteY39" fmla="*/ 100749 h 185041"/>
                <a:gd name="connsiteX40" fmla="*/ 17226 w 174065"/>
                <a:gd name="connsiteY40" fmla="*/ 109744 h 185041"/>
                <a:gd name="connsiteX41" fmla="*/ 27506 w 174065"/>
                <a:gd name="connsiteY41" fmla="*/ 114242 h 185041"/>
                <a:gd name="connsiteX42" fmla="*/ 35216 w 174065"/>
                <a:gd name="connsiteY42" fmla="*/ 121309 h 185041"/>
                <a:gd name="connsiteX43" fmla="*/ 28148 w 174065"/>
                <a:gd name="connsiteY43" fmla="*/ 135444 h 185041"/>
                <a:gd name="connsiteX44" fmla="*/ 10801 w 174065"/>
                <a:gd name="connsiteY44" fmla="*/ 139299 h 185041"/>
                <a:gd name="connsiteX45" fmla="*/ 1164 w 174065"/>
                <a:gd name="connsiteY45" fmla="*/ 148293 h 185041"/>
                <a:gd name="connsiteX46" fmla="*/ 1806 w 174065"/>
                <a:gd name="connsiteY46" fmla="*/ 161143 h 185041"/>
                <a:gd name="connsiteX47" fmla="*/ 14014 w 174065"/>
                <a:gd name="connsiteY47" fmla="*/ 172065 h 185041"/>
                <a:gd name="connsiteX48" fmla="*/ 35858 w 174065"/>
                <a:gd name="connsiteY48" fmla="*/ 182988 h 185041"/>
                <a:gd name="connsiteX49" fmla="*/ 40356 w 174065"/>
                <a:gd name="connsiteY49" fmla="*/ 184915 h 185041"/>
                <a:gd name="connsiteX50" fmla="*/ 51278 w 174065"/>
                <a:gd name="connsiteY50" fmla="*/ 181703 h 185041"/>
                <a:gd name="connsiteX51" fmla="*/ 58988 w 174065"/>
                <a:gd name="connsiteY51" fmla="*/ 173350 h 185041"/>
                <a:gd name="connsiteX52" fmla="*/ 60273 w 174065"/>
                <a:gd name="connsiteY52" fmla="*/ 172708 h 185041"/>
                <a:gd name="connsiteX53" fmla="*/ 61558 w 174065"/>
                <a:gd name="connsiteY53" fmla="*/ 172708 h 185041"/>
                <a:gd name="connsiteX54" fmla="*/ 77620 w 174065"/>
                <a:gd name="connsiteY54" fmla="*/ 168853 h 185041"/>
                <a:gd name="connsiteX55" fmla="*/ 88542 w 174065"/>
                <a:gd name="connsiteY55" fmla="*/ 161786 h 185041"/>
                <a:gd name="connsiteX56" fmla="*/ 99464 w 174065"/>
                <a:gd name="connsiteY56" fmla="*/ 154718 h 185041"/>
                <a:gd name="connsiteX57" fmla="*/ 105889 w 174065"/>
                <a:gd name="connsiteY57" fmla="*/ 150221 h 185041"/>
                <a:gd name="connsiteX58" fmla="*/ 113599 w 174065"/>
                <a:gd name="connsiteY58" fmla="*/ 148936 h 185041"/>
                <a:gd name="connsiteX59" fmla="*/ 120024 w 174065"/>
                <a:gd name="connsiteY59" fmla="*/ 154718 h 185041"/>
                <a:gd name="connsiteX60" fmla="*/ 129661 w 174065"/>
                <a:gd name="connsiteY60" fmla="*/ 152148 h 185041"/>
                <a:gd name="connsiteX61" fmla="*/ 150221 w 174065"/>
                <a:gd name="connsiteY61" fmla="*/ 145723 h 185041"/>
                <a:gd name="connsiteX62" fmla="*/ 153433 w 174065"/>
                <a:gd name="connsiteY62" fmla="*/ 145723 h 185041"/>
                <a:gd name="connsiteX63" fmla="*/ 156003 w 174065"/>
                <a:gd name="connsiteY63" fmla="*/ 147008 h 185041"/>
                <a:gd name="connsiteX64" fmla="*/ 161786 w 174065"/>
                <a:gd name="connsiteY64" fmla="*/ 151506 h 185041"/>
                <a:gd name="connsiteX65" fmla="*/ 157931 w 174065"/>
                <a:gd name="connsiteY65" fmla="*/ 166926 h 185041"/>
                <a:gd name="connsiteX66" fmla="*/ 166283 w 174065"/>
                <a:gd name="connsiteY66" fmla="*/ 170780 h 185041"/>
                <a:gd name="connsiteX67" fmla="*/ 170780 w 174065"/>
                <a:gd name="connsiteY67" fmla="*/ 166926 h 185041"/>
                <a:gd name="connsiteX68" fmla="*/ 173350 w 174065"/>
                <a:gd name="connsiteY68" fmla="*/ 155361 h 185041"/>
                <a:gd name="connsiteX69" fmla="*/ 170780 w 174065"/>
                <a:gd name="connsiteY69" fmla="*/ 148936 h 185041"/>
                <a:gd name="connsiteX70" fmla="*/ 173993 w 174065"/>
                <a:gd name="connsiteY70" fmla="*/ 137371 h 185041"/>
                <a:gd name="connsiteX71" fmla="*/ 169496 w 174065"/>
                <a:gd name="connsiteY71" fmla="*/ 132231 h 185041"/>
                <a:gd name="connsiteX72" fmla="*/ 163071 w 174065"/>
                <a:gd name="connsiteY72" fmla="*/ 129019 h 185041"/>
                <a:gd name="connsiteX73" fmla="*/ 157288 w 174065"/>
                <a:gd name="connsiteY73" fmla="*/ 125164 h 185041"/>
                <a:gd name="connsiteX74" fmla="*/ 148936 w 174065"/>
                <a:gd name="connsiteY74" fmla="*/ 122594 h 185041"/>
                <a:gd name="connsiteX75" fmla="*/ 128376 w 174065"/>
                <a:gd name="connsiteY75" fmla="*/ 112957 h 185041"/>
                <a:gd name="connsiteX76" fmla="*/ 125806 w 174065"/>
                <a:gd name="connsiteY76" fmla="*/ 111029 h 185041"/>
                <a:gd name="connsiteX77" fmla="*/ 123879 w 174065"/>
                <a:gd name="connsiteY77" fmla="*/ 107174 h 185041"/>
                <a:gd name="connsiteX78" fmla="*/ 118739 w 174065"/>
                <a:gd name="connsiteY78" fmla="*/ 93039 h 185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74065" h="185041">
                  <a:moveTo>
                    <a:pt x="118097" y="96252"/>
                  </a:moveTo>
                  <a:cubicBezTo>
                    <a:pt x="119381" y="91112"/>
                    <a:pt x="121309" y="85972"/>
                    <a:pt x="123879" y="81475"/>
                  </a:cubicBezTo>
                  <a:cubicBezTo>
                    <a:pt x="125164" y="78905"/>
                    <a:pt x="127091" y="76977"/>
                    <a:pt x="129019" y="75692"/>
                  </a:cubicBezTo>
                  <a:cubicBezTo>
                    <a:pt x="130946" y="74407"/>
                    <a:pt x="133516" y="74407"/>
                    <a:pt x="135444" y="73765"/>
                  </a:cubicBezTo>
                  <a:cubicBezTo>
                    <a:pt x="145723" y="70552"/>
                    <a:pt x="150863" y="57060"/>
                    <a:pt x="146366" y="47423"/>
                  </a:cubicBezTo>
                  <a:cubicBezTo>
                    <a:pt x="145081" y="44853"/>
                    <a:pt x="143154" y="42283"/>
                    <a:pt x="141226" y="40998"/>
                  </a:cubicBezTo>
                  <a:cubicBezTo>
                    <a:pt x="134159" y="35858"/>
                    <a:pt x="124521" y="39071"/>
                    <a:pt x="116811" y="42283"/>
                  </a:cubicBezTo>
                  <a:cubicBezTo>
                    <a:pt x="109102" y="45495"/>
                    <a:pt x="100107" y="49993"/>
                    <a:pt x="92397" y="47423"/>
                  </a:cubicBezTo>
                  <a:cubicBezTo>
                    <a:pt x="88542" y="46138"/>
                    <a:pt x="85330" y="44210"/>
                    <a:pt x="81475" y="42925"/>
                  </a:cubicBezTo>
                  <a:cubicBezTo>
                    <a:pt x="77620" y="41640"/>
                    <a:pt x="72480" y="42925"/>
                    <a:pt x="71837" y="46780"/>
                  </a:cubicBezTo>
                  <a:cubicBezTo>
                    <a:pt x="71195" y="48708"/>
                    <a:pt x="72480" y="51278"/>
                    <a:pt x="73765" y="53205"/>
                  </a:cubicBezTo>
                  <a:cubicBezTo>
                    <a:pt x="76335" y="56418"/>
                    <a:pt x="80832" y="58345"/>
                    <a:pt x="84687" y="58345"/>
                  </a:cubicBezTo>
                  <a:cubicBezTo>
                    <a:pt x="89185" y="58988"/>
                    <a:pt x="93682" y="57703"/>
                    <a:pt x="97537" y="59630"/>
                  </a:cubicBezTo>
                  <a:cubicBezTo>
                    <a:pt x="100107" y="61558"/>
                    <a:pt x="101392" y="64770"/>
                    <a:pt x="101392" y="67982"/>
                  </a:cubicBezTo>
                  <a:cubicBezTo>
                    <a:pt x="101392" y="75050"/>
                    <a:pt x="94324" y="82760"/>
                    <a:pt x="86615" y="81475"/>
                  </a:cubicBezTo>
                  <a:cubicBezTo>
                    <a:pt x="80832" y="80832"/>
                    <a:pt x="76335" y="75692"/>
                    <a:pt x="73765" y="70552"/>
                  </a:cubicBezTo>
                  <a:cubicBezTo>
                    <a:pt x="71195" y="65413"/>
                    <a:pt x="69910" y="59630"/>
                    <a:pt x="66698" y="55133"/>
                  </a:cubicBezTo>
                  <a:cubicBezTo>
                    <a:pt x="64127" y="51920"/>
                    <a:pt x="60915" y="49350"/>
                    <a:pt x="59630" y="45495"/>
                  </a:cubicBezTo>
                  <a:cubicBezTo>
                    <a:pt x="58345" y="42925"/>
                    <a:pt x="58345" y="39713"/>
                    <a:pt x="58345" y="37143"/>
                  </a:cubicBezTo>
                  <a:cubicBezTo>
                    <a:pt x="58345" y="27506"/>
                    <a:pt x="61558" y="16583"/>
                    <a:pt x="70552" y="12729"/>
                  </a:cubicBezTo>
                  <a:cubicBezTo>
                    <a:pt x="73122" y="11444"/>
                    <a:pt x="75692" y="10801"/>
                    <a:pt x="77620" y="9516"/>
                  </a:cubicBezTo>
                  <a:cubicBezTo>
                    <a:pt x="79547" y="7589"/>
                    <a:pt x="80832" y="5019"/>
                    <a:pt x="78905" y="2449"/>
                  </a:cubicBezTo>
                  <a:cubicBezTo>
                    <a:pt x="78262" y="1806"/>
                    <a:pt x="77620" y="1164"/>
                    <a:pt x="76335" y="1164"/>
                  </a:cubicBezTo>
                  <a:cubicBezTo>
                    <a:pt x="70552" y="-764"/>
                    <a:pt x="64127" y="-121"/>
                    <a:pt x="58345" y="1806"/>
                  </a:cubicBezTo>
                  <a:cubicBezTo>
                    <a:pt x="52563" y="3734"/>
                    <a:pt x="46780" y="6946"/>
                    <a:pt x="40998" y="8231"/>
                  </a:cubicBezTo>
                  <a:cubicBezTo>
                    <a:pt x="36501" y="9516"/>
                    <a:pt x="31361" y="9516"/>
                    <a:pt x="27506" y="12086"/>
                  </a:cubicBezTo>
                  <a:cubicBezTo>
                    <a:pt x="22366" y="15299"/>
                    <a:pt x="20438" y="21081"/>
                    <a:pt x="21081" y="26863"/>
                  </a:cubicBezTo>
                  <a:cubicBezTo>
                    <a:pt x="21723" y="30076"/>
                    <a:pt x="23008" y="33931"/>
                    <a:pt x="24936" y="36501"/>
                  </a:cubicBezTo>
                  <a:cubicBezTo>
                    <a:pt x="26863" y="39071"/>
                    <a:pt x="29433" y="41640"/>
                    <a:pt x="30718" y="44210"/>
                  </a:cubicBezTo>
                  <a:cubicBezTo>
                    <a:pt x="32003" y="46780"/>
                    <a:pt x="35216" y="48708"/>
                    <a:pt x="37786" y="50635"/>
                  </a:cubicBezTo>
                  <a:cubicBezTo>
                    <a:pt x="39713" y="51278"/>
                    <a:pt x="40998" y="52563"/>
                    <a:pt x="42925" y="53205"/>
                  </a:cubicBezTo>
                  <a:cubicBezTo>
                    <a:pt x="43568" y="53205"/>
                    <a:pt x="48065" y="54490"/>
                    <a:pt x="48065" y="54490"/>
                  </a:cubicBezTo>
                  <a:cubicBezTo>
                    <a:pt x="48708" y="55775"/>
                    <a:pt x="48065" y="57060"/>
                    <a:pt x="46780" y="58345"/>
                  </a:cubicBezTo>
                  <a:cubicBezTo>
                    <a:pt x="45495" y="59630"/>
                    <a:pt x="44211" y="59630"/>
                    <a:pt x="42925" y="60273"/>
                  </a:cubicBezTo>
                  <a:cubicBezTo>
                    <a:pt x="39070" y="60915"/>
                    <a:pt x="35216" y="60273"/>
                    <a:pt x="31361" y="59630"/>
                  </a:cubicBezTo>
                  <a:cubicBezTo>
                    <a:pt x="24936" y="58345"/>
                    <a:pt x="19153" y="58988"/>
                    <a:pt x="13371" y="62200"/>
                  </a:cubicBezTo>
                  <a:cubicBezTo>
                    <a:pt x="9516" y="64128"/>
                    <a:pt x="6304" y="67982"/>
                    <a:pt x="6946" y="71837"/>
                  </a:cubicBezTo>
                  <a:cubicBezTo>
                    <a:pt x="7589" y="76335"/>
                    <a:pt x="12086" y="78905"/>
                    <a:pt x="15941" y="81475"/>
                  </a:cubicBezTo>
                  <a:cubicBezTo>
                    <a:pt x="19796" y="84045"/>
                    <a:pt x="23651" y="88542"/>
                    <a:pt x="21723" y="92397"/>
                  </a:cubicBezTo>
                  <a:cubicBezTo>
                    <a:pt x="20438" y="96252"/>
                    <a:pt x="15299" y="97537"/>
                    <a:pt x="13371" y="100749"/>
                  </a:cubicBezTo>
                  <a:cubicBezTo>
                    <a:pt x="12086" y="103962"/>
                    <a:pt x="14014" y="107817"/>
                    <a:pt x="17226" y="109744"/>
                  </a:cubicBezTo>
                  <a:cubicBezTo>
                    <a:pt x="20438" y="111672"/>
                    <a:pt x="24293" y="112957"/>
                    <a:pt x="27506" y="114242"/>
                  </a:cubicBezTo>
                  <a:cubicBezTo>
                    <a:pt x="30718" y="115527"/>
                    <a:pt x="34573" y="118096"/>
                    <a:pt x="35216" y="121309"/>
                  </a:cubicBezTo>
                  <a:cubicBezTo>
                    <a:pt x="37143" y="126449"/>
                    <a:pt x="32003" y="132231"/>
                    <a:pt x="28148" y="135444"/>
                  </a:cubicBezTo>
                  <a:cubicBezTo>
                    <a:pt x="24293" y="139299"/>
                    <a:pt x="15941" y="137371"/>
                    <a:pt x="10801" y="139299"/>
                  </a:cubicBezTo>
                  <a:cubicBezTo>
                    <a:pt x="6304" y="141226"/>
                    <a:pt x="3091" y="144438"/>
                    <a:pt x="1164" y="148293"/>
                  </a:cubicBezTo>
                  <a:cubicBezTo>
                    <a:pt x="-764" y="152148"/>
                    <a:pt x="-121" y="157288"/>
                    <a:pt x="1806" y="161143"/>
                  </a:cubicBezTo>
                  <a:cubicBezTo>
                    <a:pt x="4376" y="166283"/>
                    <a:pt x="8874" y="169495"/>
                    <a:pt x="14014" y="172065"/>
                  </a:cubicBezTo>
                  <a:cubicBezTo>
                    <a:pt x="21081" y="175920"/>
                    <a:pt x="28148" y="179775"/>
                    <a:pt x="35858" y="182988"/>
                  </a:cubicBezTo>
                  <a:cubicBezTo>
                    <a:pt x="37143" y="183630"/>
                    <a:pt x="38428" y="184273"/>
                    <a:pt x="40356" y="184915"/>
                  </a:cubicBezTo>
                  <a:cubicBezTo>
                    <a:pt x="44211" y="185558"/>
                    <a:pt x="48708" y="183630"/>
                    <a:pt x="51278" y="181703"/>
                  </a:cubicBezTo>
                  <a:cubicBezTo>
                    <a:pt x="54490" y="179133"/>
                    <a:pt x="56418" y="175920"/>
                    <a:pt x="58988" y="173350"/>
                  </a:cubicBezTo>
                  <a:cubicBezTo>
                    <a:pt x="59630" y="172708"/>
                    <a:pt x="59630" y="172708"/>
                    <a:pt x="60273" y="172708"/>
                  </a:cubicBezTo>
                  <a:cubicBezTo>
                    <a:pt x="60915" y="172708"/>
                    <a:pt x="61558" y="172708"/>
                    <a:pt x="61558" y="172708"/>
                  </a:cubicBezTo>
                  <a:cubicBezTo>
                    <a:pt x="67340" y="173350"/>
                    <a:pt x="73122" y="171423"/>
                    <a:pt x="77620" y="168853"/>
                  </a:cubicBezTo>
                  <a:cubicBezTo>
                    <a:pt x="81475" y="166926"/>
                    <a:pt x="84687" y="163713"/>
                    <a:pt x="88542" y="161786"/>
                  </a:cubicBezTo>
                  <a:cubicBezTo>
                    <a:pt x="92397" y="159858"/>
                    <a:pt x="96252" y="157931"/>
                    <a:pt x="99464" y="154718"/>
                  </a:cubicBezTo>
                  <a:cubicBezTo>
                    <a:pt x="101392" y="152791"/>
                    <a:pt x="103319" y="151506"/>
                    <a:pt x="105889" y="150221"/>
                  </a:cubicBezTo>
                  <a:cubicBezTo>
                    <a:pt x="108459" y="148936"/>
                    <a:pt x="111029" y="148293"/>
                    <a:pt x="113599" y="148936"/>
                  </a:cubicBezTo>
                  <a:cubicBezTo>
                    <a:pt x="112957" y="152148"/>
                    <a:pt x="116811" y="154718"/>
                    <a:pt x="120024" y="154718"/>
                  </a:cubicBezTo>
                  <a:cubicBezTo>
                    <a:pt x="123236" y="154718"/>
                    <a:pt x="126449" y="153433"/>
                    <a:pt x="129661" y="152148"/>
                  </a:cubicBezTo>
                  <a:cubicBezTo>
                    <a:pt x="136086" y="149578"/>
                    <a:pt x="143154" y="147008"/>
                    <a:pt x="150221" y="145723"/>
                  </a:cubicBezTo>
                  <a:cubicBezTo>
                    <a:pt x="151506" y="145723"/>
                    <a:pt x="152791" y="145081"/>
                    <a:pt x="153433" y="145723"/>
                  </a:cubicBezTo>
                  <a:cubicBezTo>
                    <a:pt x="154718" y="145723"/>
                    <a:pt x="155361" y="146366"/>
                    <a:pt x="156003" y="147008"/>
                  </a:cubicBezTo>
                  <a:cubicBezTo>
                    <a:pt x="158573" y="148293"/>
                    <a:pt x="161143" y="149578"/>
                    <a:pt x="161786" y="151506"/>
                  </a:cubicBezTo>
                  <a:cubicBezTo>
                    <a:pt x="163713" y="156646"/>
                    <a:pt x="156646" y="161143"/>
                    <a:pt x="157931" y="166926"/>
                  </a:cubicBezTo>
                  <a:cubicBezTo>
                    <a:pt x="158573" y="170138"/>
                    <a:pt x="163071" y="172065"/>
                    <a:pt x="166283" y="170780"/>
                  </a:cubicBezTo>
                  <a:cubicBezTo>
                    <a:pt x="168210" y="170138"/>
                    <a:pt x="169496" y="168853"/>
                    <a:pt x="170780" y="166926"/>
                  </a:cubicBezTo>
                  <a:cubicBezTo>
                    <a:pt x="172708" y="163713"/>
                    <a:pt x="174635" y="159216"/>
                    <a:pt x="173350" y="155361"/>
                  </a:cubicBezTo>
                  <a:cubicBezTo>
                    <a:pt x="172708" y="153433"/>
                    <a:pt x="171423" y="151506"/>
                    <a:pt x="170780" y="148936"/>
                  </a:cubicBezTo>
                  <a:cubicBezTo>
                    <a:pt x="170780" y="145081"/>
                    <a:pt x="174635" y="141226"/>
                    <a:pt x="173993" y="137371"/>
                  </a:cubicBezTo>
                  <a:cubicBezTo>
                    <a:pt x="173350" y="135444"/>
                    <a:pt x="171423" y="133516"/>
                    <a:pt x="169496" y="132231"/>
                  </a:cubicBezTo>
                  <a:cubicBezTo>
                    <a:pt x="167568" y="130946"/>
                    <a:pt x="164998" y="130304"/>
                    <a:pt x="163071" y="129019"/>
                  </a:cubicBezTo>
                  <a:cubicBezTo>
                    <a:pt x="161143" y="127734"/>
                    <a:pt x="159216" y="126449"/>
                    <a:pt x="157288" y="125164"/>
                  </a:cubicBezTo>
                  <a:cubicBezTo>
                    <a:pt x="154718" y="123879"/>
                    <a:pt x="151506" y="123236"/>
                    <a:pt x="148936" y="122594"/>
                  </a:cubicBezTo>
                  <a:cubicBezTo>
                    <a:pt x="141226" y="120666"/>
                    <a:pt x="134801" y="116812"/>
                    <a:pt x="128376" y="112957"/>
                  </a:cubicBezTo>
                  <a:cubicBezTo>
                    <a:pt x="127734" y="112314"/>
                    <a:pt x="126449" y="111672"/>
                    <a:pt x="125806" y="111029"/>
                  </a:cubicBezTo>
                  <a:cubicBezTo>
                    <a:pt x="125164" y="109744"/>
                    <a:pt x="124521" y="108459"/>
                    <a:pt x="123879" y="107174"/>
                  </a:cubicBezTo>
                  <a:cubicBezTo>
                    <a:pt x="121951" y="102677"/>
                    <a:pt x="120666" y="97537"/>
                    <a:pt x="118739" y="93039"/>
                  </a:cubicBezTo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 454">
              <a:extLst>
                <a:ext uri="{FF2B5EF4-FFF2-40B4-BE49-F238E27FC236}">
                  <a16:creationId xmlns:a16="http://schemas.microsoft.com/office/drawing/2014/main" id="{E45CBE0A-C01B-C797-295F-25B662AA300D}"/>
                </a:ext>
              </a:extLst>
            </p:cNvPr>
            <p:cNvSpPr/>
            <p:nvPr/>
          </p:nvSpPr>
          <p:spPr>
            <a:xfrm>
              <a:off x="3764046" y="2370838"/>
              <a:ext cx="22008" cy="19274"/>
            </a:xfrm>
            <a:custGeom>
              <a:avLst/>
              <a:gdLst>
                <a:gd name="connsiteX0" fmla="*/ 1669 w 22008"/>
                <a:gd name="connsiteY0" fmla="*/ 19275 h 19274"/>
                <a:gd name="connsiteX1" fmla="*/ 384 w 22008"/>
                <a:gd name="connsiteY1" fmla="*/ 7710 h 19274"/>
                <a:gd name="connsiteX2" fmla="*/ 1027 w 22008"/>
                <a:gd name="connsiteY2" fmla="*/ 3855 h 19274"/>
                <a:gd name="connsiteX3" fmla="*/ 8094 w 22008"/>
                <a:gd name="connsiteY3" fmla="*/ 0 h 19274"/>
                <a:gd name="connsiteX4" fmla="*/ 16446 w 22008"/>
                <a:gd name="connsiteY4" fmla="*/ 1927 h 19274"/>
                <a:gd name="connsiteX5" fmla="*/ 20944 w 22008"/>
                <a:gd name="connsiteY5" fmla="*/ 5782 h 19274"/>
                <a:gd name="connsiteX6" fmla="*/ 21586 w 22008"/>
                <a:gd name="connsiteY6" fmla="*/ 10922 h 19274"/>
                <a:gd name="connsiteX7" fmla="*/ 19659 w 22008"/>
                <a:gd name="connsiteY7" fmla="*/ 13492 h 19274"/>
                <a:gd name="connsiteX8" fmla="*/ 17089 w 22008"/>
                <a:gd name="connsiteY8" fmla="*/ 14777 h 19274"/>
                <a:gd name="connsiteX9" fmla="*/ 13234 w 22008"/>
                <a:gd name="connsiteY9" fmla="*/ 16062 h 19274"/>
                <a:gd name="connsiteX10" fmla="*/ 1669 w 22008"/>
                <a:gd name="connsiteY10" fmla="*/ 19275 h 1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008" h="19274">
                  <a:moveTo>
                    <a:pt x="1669" y="19275"/>
                  </a:moveTo>
                  <a:cubicBezTo>
                    <a:pt x="-258" y="16062"/>
                    <a:pt x="-258" y="11565"/>
                    <a:pt x="384" y="7710"/>
                  </a:cubicBezTo>
                  <a:cubicBezTo>
                    <a:pt x="384" y="6425"/>
                    <a:pt x="384" y="5140"/>
                    <a:pt x="1027" y="3855"/>
                  </a:cubicBezTo>
                  <a:cubicBezTo>
                    <a:pt x="2312" y="1285"/>
                    <a:pt x="4882" y="0"/>
                    <a:pt x="8094" y="0"/>
                  </a:cubicBezTo>
                  <a:cubicBezTo>
                    <a:pt x="10664" y="0"/>
                    <a:pt x="13877" y="643"/>
                    <a:pt x="16446" y="1927"/>
                  </a:cubicBezTo>
                  <a:cubicBezTo>
                    <a:pt x="18374" y="2570"/>
                    <a:pt x="19659" y="3855"/>
                    <a:pt x="20944" y="5782"/>
                  </a:cubicBezTo>
                  <a:cubicBezTo>
                    <a:pt x="22229" y="7067"/>
                    <a:pt x="22229" y="9637"/>
                    <a:pt x="21586" y="10922"/>
                  </a:cubicBezTo>
                  <a:cubicBezTo>
                    <a:pt x="20944" y="11565"/>
                    <a:pt x="20301" y="12850"/>
                    <a:pt x="19659" y="13492"/>
                  </a:cubicBezTo>
                  <a:cubicBezTo>
                    <a:pt x="19016" y="14135"/>
                    <a:pt x="18374" y="14777"/>
                    <a:pt x="17089" y="14777"/>
                  </a:cubicBezTo>
                  <a:cubicBezTo>
                    <a:pt x="15804" y="15420"/>
                    <a:pt x="14519" y="16062"/>
                    <a:pt x="13234" y="16062"/>
                  </a:cubicBezTo>
                  <a:cubicBezTo>
                    <a:pt x="9379" y="17347"/>
                    <a:pt x="5524" y="18632"/>
                    <a:pt x="1669" y="19275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 455">
              <a:extLst>
                <a:ext uri="{FF2B5EF4-FFF2-40B4-BE49-F238E27FC236}">
                  <a16:creationId xmlns:a16="http://schemas.microsoft.com/office/drawing/2014/main" id="{35DC26B0-7572-6CF8-2077-C9C640E85183}"/>
                </a:ext>
              </a:extLst>
            </p:cNvPr>
            <p:cNvSpPr/>
            <p:nvPr/>
          </p:nvSpPr>
          <p:spPr>
            <a:xfrm>
              <a:off x="3764046" y="2370838"/>
              <a:ext cx="22008" cy="19274"/>
            </a:xfrm>
            <a:custGeom>
              <a:avLst/>
              <a:gdLst>
                <a:gd name="connsiteX0" fmla="*/ 1669 w 22008"/>
                <a:gd name="connsiteY0" fmla="*/ 19275 h 19274"/>
                <a:gd name="connsiteX1" fmla="*/ 384 w 22008"/>
                <a:gd name="connsiteY1" fmla="*/ 7710 h 19274"/>
                <a:gd name="connsiteX2" fmla="*/ 1027 w 22008"/>
                <a:gd name="connsiteY2" fmla="*/ 3855 h 19274"/>
                <a:gd name="connsiteX3" fmla="*/ 8094 w 22008"/>
                <a:gd name="connsiteY3" fmla="*/ 0 h 19274"/>
                <a:gd name="connsiteX4" fmla="*/ 16446 w 22008"/>
                <a:gd name="connsiteY4" fmla="*/ 1927 h 19274"/>
                <a:gd name="connsiteX5" fmla="*/ 20944 w 22008"/>
                <a:gd name="connsiteY5" fmla="*/ 5782 h 19274"/>
                <a:gd name="connsiteX6" fmla="*/ 21586 w 22008"/>
                <a:gd name="connsiteY6" fmla="*/ 10922 h 19274"/>
                <a:gd name="connsiteX7" fmla="*/ 19659 w 22008"/>
                <a:gd name="connsiteY7" fmla="*/ 13492 h 19274"/>
                <a:gd name="connsiteX8" fmla="*/ 17089 w 22008"/>
                <a:gd name="connsiteY8" fmla="*/ 14777 h 19274"/>
                <a:gd name="connsiteX9" fmla="*/ 13234 w 22008"/>
                <a:gd name="connsiteY9" fmla="*/ 16062 h 19274"/>
                <a:gd name="connsiteX10" fmla="*/ 1669 w 22008"/>
                <a:gd name="connsiteY10" fmla="*/ 19275 h 1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008" h="19274">
                  <a:moveTo>
                    <a:pt x="1669" y="19275"/>
                  </a:moveTo>
                  <a:cubicBezTo>
                    <a:pt x="-258" y="16062"/>
                    <a:pt x="-258" y="11565"/>
                    <a:pt x="384" y="7710"/>
                  </a:cubicBezTo>
                  <a:cubicBezTo>
                    <a:pt x="384" y="6425"/>
                    <a:pt x="384" y="5140"/>
                    <a:pt x="1027" y="3855"/>
                  </a:cubicBezTo>
                  <a:cubicBezTo>
                    <a:pt x="2312" y="1285"/>
                    <a:pt x="4882" y="0"/>
                    <a:pt x="8094" y="0"/>
                  </a:cubicBezTo>
                  <a:cubicBezTo>
                    <a:pt x="10664" y="0"/>
                    <a:pt x="13877" y="643"/>
                    <a:pt x="16446" y="1927"/>
                  </a:cubicBezTo>
                  <a:cubicBezTo>
                    <a:pt x="18374" y="2570"/>
                    <a:pt x="19659" y="3855"/>
                    <a:pt x="20944" y="5782"/>
                  </a:cubicBezTo>
                  <a:cubicBezTo>
                    <a:pt x="22229" y="7067"/>
                    <a:pt x="22229" y="9637"/>
                    <a:pt x="21586" y="10922"/>
                  </a:cubicBezTo>
                  <a:cubicBezTo>
                    <a:pt x="20944" y="11565"/>
                    <a:pt x="20301" y="12850"/>
                    <a:pt x="19659" y="13492"/>
                  </a:cubicBezTo>
                  <a:cubicBezTo>
                    <a:pt x="19016" y="14135"/>
                    <a:pt x="18374" y="14777"/>
                    <a:pt x="17089" y="14777"/>
                  </a:cubicBezTo>
                  <a:cubicBezTo>
                    <a:pt x="15804" y="15420"/>
                    <a:pt x="14519" y="16062"/>
                    <a:pt x="13234" y="16062"/>
                  </a:cubicBezTo>
                  <a:cubicBezTo>
                    <a:pt x="9379" y="17347"/>
                    <a:pt x="5524" y="18632"/>
                    <a:pt x="1669" y="19275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 456">
              <a:extLst>
                <a:ext uri="{FF2B5EF4-FFF2-40B4-BE49-F238E27FC236}">
                  <a16:creationId xmlns:a16="http://schemas.microsoft.com/office/drawing/2014/main" id="{8EC1505A-EDB0-168C-C869-3FEAB33A1F8B}"/>
                </a:ext>
              </a:extLst>
            </p:cNvPr>
            <p:cNvSpPr/>
            <p:nvPr/>
          </p:nvSpPr>
          <p:spPr>
            <a:xfrm>
              <a:off x="3745798" y="2400107"/>
              <a:ext cx="21284" cy="47855"/>
            </a:xfrm>
            <a:custGeom>
              <a:avLst/>
              <a:gdLst>
                <a:gd name="connsiteX0" fmla="*/ 15420 w 21284"/>
                <a:gd name="connsiteY0" fmla="*/ 286 h 47855"/>
                <a:gd name="connsiteX1" fmla="*/ 21202 w 21284"/>
                <a:gd name="connsiteY1" fmla="*/ 15705 h 47855"/>
                <a:gd name="connsiteX2" fmla="*/ 18632 w 21284"/>
                <a:gd name="connsiteY2" fmla="*/ 28555 h 47855"/>
                <a:gd name="connsiteX3" fmla="*/ 0 w 21284"/>
                <a:gd name="connsiteY3" fmla="*/ 47830 h 47855"/>
                <a:gd name="connsiteX4" fmla="*/ 2570 w 21284"/>
                <a:gd name="connsiteY4" fmla="*/ 43975 h 47855"/>
                <a:gd name="connsiteX5" fmla="*/ 7067 w 21284"/>
                <a:gd name="connsiteY5" fmla="*/ 40120 h 47855"/>
                <a:gd name="connsiteX6" fmla="*/ 8995 w 21284"/>
                <a:gd name="connsiteY6" fmla="*/ 37550 h 47855"/>
                <a:gd name="connsiteX7" fmla="*/ 9637 w 21284"/>
                <a:gd name="connsiteY7" fmla="*/ 33695 h 47855"/>
                <a:gd name="connsiteX8" fmla="*/ 9637 w 21284"/>
                <a:gd name="connsiteY8" fmla="*/ 22773 h 47855"/>
                <a:gd name="connsiteX9" fmla="*/ 10922 w 21284"/>
                <a:gd name="connsiteY9" fmla="*/ 13778 h 47855"/>
                <a:gd name="connsiteX10" fmla="*/ 14135 w 21284"/>
                <a:gd name="connsiteY10" fmla="*/ 928 h 47855"/>
                <a:gd name="connsiteX11" fmla="*/ 14777 w 21284"/>
                <a:gd name="connsiteY11" fmla="*/ 286 h 47855"/>
                <a:gd name="connsiteX12" fmla="*/ 15420 w 21284"/>
                <a:gd name="connsiteY12" fmla="*/ 286 h 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284" h="47855">
                  <a:moveTo>
                    <a:pt x="15420" y="286"/>
                  </a:moveTo>
                  <a:cubicBezTo>
                    <a:pt x="18632" y="4783"/>
                    <a:pt x="21845" y="9923"/>
                    <a:pt x="21202" y="15705"/>
                  </a:cubicBezTo>
                  <a:cubicBezTo>
                    <a:pt x="20559" y="20203"/>
                    <a:pt x="19275" y="24058"/>
                    <a:pt x="18632" y="28555"/>
                  </a:cubicBezTo>
                  <a:cubicBezTo>
                    <a:pt x="17347" y="36907"/>
                    <a:pt x="10922" y="48472"/>
                    <a:pt x="0" y="47830"/>
                  </a:cubicBezTo>
                  <a:cubicBezTo>
                    <a:pt x="0" y="45902"/>
                    <a:pt x="1285" y="44617"/>
                    <a:pt x="2570" y="43975"/>
                  </a:cubicBezTo>
                  <a:cubicBezTo>
                    <a:pt x="4497" y="42690"/>
                    <a:pt x="5782" y="41405"/>
                    <a:pt x="7067" y="40120"/>
                  </a:cubicBezTo>
                  <a:cubicBezTo>
                    <a:pt x="7710" y="39477"/>
                    <a:pt x="8352" y="38192"/>
                    <a:pt x="8995" y="37550"/>
                  </a:cubicBezTo>
                  <a:cubicBezTo>
                    <a:pt x="9637" y="36265"/>
                    <a:pt x="9637" y="34980"/>
                    <a:pt x="9637" y="33695"/>
                  </a:cubicBezTo>
                  <a:cubicBezTo>
                    <a:pt x="9637" y="29840"/>
                    <a:pt x="9637" y="25985"/>
                    <a:pt x="9637" y="22773"/>
                  </a:cubicBezTo>
                  <a:cubicBezTo>
                    <a:pt x="9637" y="19560"/>
                    <a:pt x="10280" y="16990"/>
                    <a:pt x="10922" y="13778"/>
                  </a:cubicBezTo>
                  <a:cubicBezTo>
                    <a:pt x="11565" y="9280"/>
                    <a:pt x="11565" y="4140"/>
                    <a:pt x="14135" y="928"/>
                  </a:cubicBezTo>
                  <a:cubicBezTo>
                    <a:pt x="14135" y="928"/>
                    <a:pt x="14777" y="286"/>
                    <a:pt x="14777" y="286"/>
                  </a:cubicBezTo>
                  <a:cubicBezTo>
                    <a:pt x="14777" y="-357"/>
                    <a:pt x="15420" y="286"/>
                    <a:pt x="15420" y="286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 457">
              <a:extLst>
                <a:ext uri="{FF2B5EF4-FFF2-40B4-BE49-F238E27FC236}">
                  <a16:creationId xmlns:a16="http://schemas.microsoft.com/office/drawing/2014/main" id="{77E8DE95-77EE-FF8B-32A0-DB9BF0F4727D}"/>
                </a:ext>
              </a:extLst>
            </p:cNvPr>
            <p:cNvSpPr/>
            <p:nvPr/>
          </p:nvSpPr>
          <p:spPr>
            <a:xfrm>
              <a:off x="3745798" y="2400107"/>
              <a:ext cx="21284" cy="47855"/>
            </a:xfrm>
            <a:custGeom>
              <a:avLst/>
              <a:gdLst>
                <a:gd name="connsiteX0" fmla="*/ 15420 w 21284"/>
                <a:gd name="connsiteY0" fmla="*/ 286 h 47855"/>
                <a:gd name="connsiteX1" fmla="*/ 21202 w 21284"/>
                <a:gd name="connsiteY1" fmla="*/ 15705 h 47855"/>
                <a:gd name="connsiteX2" fmla="*/ 18632 w 21284"/>
                <a:gd name="connsiteY2" fmla="*/ 28555 h 47855"/>
                <a:gd name="connsiteX3" fmla="*/ 0 w 21284"/>
                <a:gd name="connsiteY3" fmla="*/ 47830 h 47855"/>
                <a:gd name="connsiteX4" fmla="*/ 2570 w 21284"/>
                <a:gd name="connsiteY4" fmla="*/ 43975 h 47855"/>
                <a:gd name="connsiteX5" fmla="*/ 7067 w 21284"/>
                <a:gd name="connsiteY5" fmla="*/ 40120 h 47855"/>
                <a:gd name="connsiteX6" fmla="*/ 8995 w 21284"/>
                <a:gd name="connsiteY6" fmla="*/ 37550 h 47855"/>
                <a:gd name="connsiteX7" fmla="*/ 9637 w 21284"/>
                <a:gd name="connsiteY7" fmla="*/ 33695 h 47855"/>
                <a:gd name="connsiteX8" fmla="*/ 9637 w 21284"/>
                <a:gd name="connsiteY8" fmla="*/ 22773 h 47855"/>
                <a:gd name="connsiteX9" fmla="*/ 10922 w 21284"/>
                <a:gd name="connsiteY9" fmla="*/ 13778 h 47855"/>
                <a:gd name="connsiteX10" fmla="*/ 14135 w 21284"/>
                <a:gd name="connsiteY10" fmla="*/ 928 h 47855"/>
                <a:gd name="connsiteX11" fmla="*/ 14777 w 21284"/>
                <a:gd name="connsiteY11" fmla="*/ 286 h 47855"/>
                <a:gd name="connsiteX12" fmla="*/ 15420 w 21284"/>
                <a:gd name="connsiteY12" fmla="*/ 286 h 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284" h="47855">
                  <a:moveTo>
                    <a:pt x="15420" y="286"/>
                  </a:moveTo>
                  <a:cubicBezTo>
                    <a:pt x="18632" y="4783"/>
                    <a:pt x="21845" y="9923"/>
                    <a:pt x="21202" y="15705"/>
                  </a:cubicBezTo>
                  <a:cubicBezTo>
                    <a:pt x="20559" y="20203"/>
                    <a:pt x="19275" y="24058"/>
                    <a:pt x="18632" y="28555"/>
                  </a:cubicBezTo>
                  <a:cubicBezTo>
                    <a:pt x="17347" y="36907"/>
                    <a:pt x="10922" y="48472"/>
                    <a:pt x="0" y="47830"/>
                  </a:cubicBezTo>
                  <a:cubicBezTo>
                    <a:pt x="0" y="45902"/>
                    <a:pt x="1285" y="44617"/>
                    <a:pt x="2570" y="43975"/>
                  </a:cubicBezTo>
                  <a:cubicBezTo>
                    <a:pt x="4497" y="42690"/>
                    <a:pt x="5782" y="41405"/>
                    <a:pt x="7067" y="40120"/>
                  </a:cubicBezTo>
                  <a:cubicBezTo>
                    <a:pt x="7710" y="39477"/>
                    <a:pt x="8352" y="38192"/>
                    <a:pt x="8995" y="37550"/>
                  </a:cubicBezTo>
                  <a:cubicBezTo>
                    <a:pt x="9637" y="36265"/>
                    <a:pt x="9637" y="34980"/>
                    <a:pt x="9637" y="33695"/>
                  </a:cubicBezTo>
                  <a:cubicBezTo>
                    <a:pt x="9637" y="29840"/>
                    <a:pt x="9637" y="25985"/>
                    <a:pt x="9637" y="22773"/>
                  </a:cubicBezTo>
                  <a:cubicBezTo>
                    <a:pt x="9637" y="19560"/>
                    <a:pt x="10280" y="16990"/>
                    <a:pt x="10922" y="13778"/>
                  </a:cubicBezTo>
                  <a:cubicBezTo>
                    <a:pt x="11565" y="9280"/>
                    <a:pt x="11565" y="4140"/>
                    <a:pt x="14135" y="928"/>
                  </a:cubicBezTo>
                  <a:cubicBezTo>
                    <a:pt x="14135" y="928"/>
                    <a:pt x="14777" y="286"/>
                    <a:pt x="14777" y="286"/>
                  </a:cubicBezTo>
                  <a:cubicBezTo>
                    <a:pt x="14777" y="-357"/>
                    <a:pt x="15420" y="286"/>
                    <a:pt x="15420" y="286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 458">
              <a:extLst>
                <a:ext uri="{FF2B5EF4-FFF2-40B4-BE49-F238E27FC236}">
                  <a16:creationId xmlns:a16="http://schemas.microsoft.com/office/drawing/2014/main" id="{7695CE93-75A3-5C67-F27C-AB2AC47C4FFB}"/>
                </a:ext>
              </a:extLst>
            </p:cNvPr>
            <p:cNvSpPr/>
            <p:nvPr/>
          </p:nvSpPr>
          <p:spPr>
            <a:xfrm>
              <a:off x="3113328" y="2429090"/>
              <a:ext cx="1054584" cy="616866"/>
            </a:xfrm>
            <a:custGeom>
              <a:avLst/>
              <a:gdLst>
                <a:gd name="connsiteX0" fmla="*/ 1054585 w 1054584"/>
                <a:gd name="connsiteY0" fmla="*/ 472442 h 616866"/>
                <a:gd name="connsiteX1" fmla="*/ 1048802 w 1054584"/>
                <a:gd name="connsiteY1" fmla="*/ 472442 h 616866"/>
                <a:gd name="connsiteX2" fmla="*/ 1034668 w 1054584"/>
                <a:gd name="connsiteY2" fmla="*/ 473085 h 616866"/>
                <a:gd name="connsiteX3" fmla="*/ 1020533 w 1054584"/>
                <a:gd name="connsiteY3" fmla="*/ 485292 h 616866"/>
                <a:gd name="connsiteX4" fmla="*/ 999331 w 1054584"/>
                <a:gd name="connsiteY4" fmla="*/ 505852 h 616866"/>
                <a:gd name="connsiteX5" fmla="*/ 969134 w 1054584"/>
                <a:gd name="connsiteY5" fmla="*/ 505852 h 616866"/>
                <a:gd name="connsiteX6" fmla="*/ 951787 w 1054584"/>
                <a:gd name="connsiteY6" fmla="*/ 482722 h 616866"/>
                <a:gd name="connsiteX7" fmla="*/ 950502 w 1054584"/>
                <a:gd name="connsiteY7" fmla="*/ 471157 h 616866"/>
                <a:gd name="connsiteX8" fmla="*/ 920305 w 1054584"/>
                <a:gd name="connsiteY8" fmla="*/ 451883 h 616866"/>
                <a:gd name="connsiteX9" fmla="*/ 889465 w 1054584"/>
                <a:gd name="connsiteY9" fmla="*/ 454453 h 616866"/>
                <a:gd name="connsiteX10" fmla="*/ 870191 w 1054584"/>
                <a:gd name="connsiteY10" fmla="*/ 462163 h 616866"/>
                <a:gd name="connsiteX11" fmla="*/ 849631 w 1054584"/>
                <a:gd name="connsiteY11" fmla="*/ 462805 h 616866"/>
                <a:gd name="connsiteX12" fmla="*/ 834211 w 1054584"/>
                <a:gd name="connsiteY12" fmla="*/ 455095 h 616866"/>
                <a:gd name="connsiteX13" fmla="*/ 804657 w 1054584"/>
                <a:gd name="connsiteY13" fmla="*/ 464732 h 616866"/>
                <a:gd name="connsiteX14" fmla="*/ 792450 w 1054584"/>
                <a:gd name="connsiteY14" fmla="*/ 493644 h 616866"/>
                <a:gd name="connsiteX15" fmla="*/ 782812 w 1054584"/>
                <a:gd name="connsiteY15" fmla="*/ 517416 h 616866"/>
                <a:gd name="connsiteX16" fmla="*/ 761610 w 1054584"/>
                <a:gd name="connsiteY16" fmla="*/ 525769 h 616866"/>
                <a:gd name="connsiteX17" fmla="*/ 739766 w 1054584"/>
                <a:gd name="connsiteY17" fmla="*/ 521271 h 616866"/>
                <a:gd name="connsiteX18" fmla="*/ 712781 w 1054584"/>
                <a:gd name="connsiteY18" fmla="*/ 526411 h 616866"/>
                <a:gd name="connsiteX19" fmla="*/ 689009 w 1054584"/>
                <a:gd name="connsiteY19" fmla="*/ 541831 h 616866"/>
                <a:gd name="connsiteX20" fmla="*/ 680014 w 1054584"/>
                <a:gd name="connsiteY20" fmla="*/ 557251 h 616866"/>
                <a:gd name="connsiteX21" fmla="*/ 667165 w 1054584"/>
                <a:gd name="connsiteY21" fmla="*/ 568173 h 616866"/>
                <a:gd name="connsiteX22" fmla="*/ 621548 w 1054584"/>
                <a:gd name="connsiteY22" fmla="*/ 564961 h 616866"/>
                <a:gd name="connsiteX23" fmla="*/ 593921 w 1054584"/>
                <a:gd name="connsiteY23" fmla="*/ 555966 h 616866"/>
                <a:gd name="connsiteX24" fmla="*/ 561797 w 1054584"/>
                <a:gd name="connsiteY24" fmla="*/ 544401 h 616866"/>
                <a:gd name="connsiteX25" fmla="*/ 539310 w 1054584"/>
                <a:gd name="connsiteY25" fmla="*/ 536049 h 616866"/>
                <a:gd name="connsiteX26" fmla="*/ 502045 w 1054584"/>
                <a:gd name="connsiteY26" fmla="*/ 533479 h 616866"/>
                <a:gd name="connsiteX27" fmla="*/ 476346 w 1054584"/>
                <a:gd name="connsiteY27" fmla="*/ 521271 h 616866"/>
                <a:gd name="connsiteX28" fmla="*/ 450646 w 1054584"/>
                <a:gd name="connsiteY28" fmla="*/ 505852 h 616866"/>
                <a:gd name="connsiteX29" fmla="*/ 429444 w 1054584"/>
                <a:gd name="connsiteY29" fmla="*/ 494929 h 616866"/>
                <a:gd name="connsiteX30" fmla="*/ 394750 w 1054584"/>
                <a:gd name="connsiteY30" fmla="*/ 494929 h 616866"/>
                <a:gd name="connsiteX31" fmla="*/ 384470 w 1054584"/>
                <a:gd name="connsiteY31" fmla="*/ 514847 h 616866"/>
                <a:gd name="connsiteX32" fmla="*/ 343994 w 1054584"/>
                <a:gd name="connsiteY32" fmla="*/ 550826 h 616866"/>
                <a:gd name="connsiteX33" fmla="*/ 294522 w 1054584"/>
                <a:gd name="connsiteY33" fmla="*/ 549541 h 616866"/>
                <a:gd name="connsiteX34" fmla="*/ 268180 w 1054584"/>
                <a:gd name="connsiteY34" fmla="*/ 568173 h 616866"/>
                <a:gd name="connsiteX35" fmla="*/ 264325 w 1054584"/>
                <a:gd name="connsiteY35" fmla="*/ 574598 h 616866"/>
                <a:gd name="connsiteX36" fmla="*/ 264325 w 1054584"/>
                <a:gd name="connsiteY36" fmla="*/ 593230 h 616866"/>
                <a:gd name="connsiteX37" fmla="*/ 246978 w 1054584"/>
                <a:gd name="connsiteY37" fmla="*/ 604795 h 616866"/>
                <a:gd name="connsiteX38" fmla="*/ 227061 w 1054584"/>
                <a:gd name="connsiteY38" fmla="*/ 599012 h 616866"/>
                <a:gd name="connsiteX39" fmla="*/ 214854 w 1054584"/>
                <a:gd name="connsiteY39" fmla="*/ 614432 h 616866"/>
                <a:gd name="connsiteX40" fmla="*/ 205216 w 1054584"/>
                <a:gd name="connsiteY40" fmla="*/ 614432 h 616866"/>
                <a:gd name="connsiteX41" fmla="*/ 180802 w 1054584"/>
                <a:gd name="connsiteY41" fmla="*/ 604795 h 616866"/>
                <a:gd name="connsiteX42" fmla="*/ 174377 w 1054584"/>
                <a:gd name="connsiteY42" fmla="*/ 603510 h 616866"/>
                <a:gd name="connsiteX43" fmla="*/ 158315 w 1054584"/>
                <a:gd name="connsiteY43" fmla="*/ 593230 h 616866"/>
                <a:gd name="connsiteX44" fmla="*/ 145465 w 1054584"/>
                <a:gd name="connsiteY44" fmla="*/ 575883 h 616866"/>
                <a:gd name="connsiteX45" fmla="*/ 126190 w 1054584"/>
                <a:gd name="connsiteY45" fmla="*/ 560463 h 616866"/>
                <a:gd name="connsiteX46" fmla="*/ 111413 w 1054584"/>
                <a:gd name="connsiteY46" fmla="*/ 541831 h 616866"/>
                <a:gd name="connsiteX47" fmla="*/ 77361 w 1054584"/>
                <a:gd name="connsiteY47" fmla="*/ 512277 h 616866"/>
                <a:gd name="connsiteX48" fmla="*/ 54874 w 1054584"/>
                <a:gd name="connsiteY48" fmla="*/ 523841 h 616866"/>
                <a:gd name="connsiteX49" fmla="*/ 34315 w 1054584"/>
                <a:gd name="connsiteY49" fmla="*/ 512919 h 616866"/>
                <a:gd name="connsiteX50" fmla="*/ 8615 w 1054584"/>
                <a:gd name="connsiteY50" fmla="*/ 502639 h 616866"/>
                <a:gd name="connsiteX51" fmla="*/ 4118 w 1054584"/>
                <a:gd name="connsiteY51" fmla="*/ 500069 h 616866"/>
                <a:gd name="connsiteX52" fmla="*/ 905 w 1054584"/>
                <a:gd name="connsiteY52" fmla="*/ 468587 h 616866"/>
                <a:gd name="connsiteX53" fmla="*/ 26605 w 1054584"/>
                <a:gd name="connsiteY53" fmla="*/ 458308 h 616866"/>
                <a:gd name="connsiteX54" fmla="*/ 49734 w 1054584"/>
                <a:gd name="connsiteY54" fmla="*/ 440960 h 616866"/>
                <a:gd name="connsiteX55" fmla="*/ 60014 w 1054584"/>
                <a:gd name="connsiteY55" fmla="*/ 417831 h 616866"/>
                <a:gd name="connsiteX56" fmla="*/ 73506 w 1054584"/>
                <a:gd name="connsiteY56" fmla="*/ 413976 h 616866"/>
                <a:gd name="connsiteX57" fmla="*/ 86356 w 1054584"/>
                <a:gd name="connsiteY57" fmla="*/ 396629 h 616866"/>
                <a:gd name="connsiteX58" fmla="*/ 91496 w 1054584"/>
                <a:gd name="connsiteY58" fmla="*/ 390204 h 616866"/>
                <a:gd name="connsiteX59" fmla="*/ 78646 w 1054584"/>
                <a:gd name="connsiteY59" fmla="*/ 363220 h 616866"/>
                <a:gd name="connsiteX60" fmla="*/ 55517 w 1054584"/>
                <a:gd name="connsiteY60" fmla="*/ 363220 h 616866"/>
                <a:gd name="connsiteX61" fmla="*/ 35600 w 1054584"/>
                <a:gd name="connsiteY61" fmla="*/ 328525 h 616866"/>
                <a:gd name="connsiteX62" fmla="*/ 26605 w 1054584"/>
                <a:gd name="connsiteY62" fmla="*/ 298971 h 616866"/>
                <a:gd name="connsiteX63" fmla="*/ 37527 w 1054584"/>
                <a:gd name="connsiteY63" fmla="*/ 275199 h 616866"/>
                <a:gd name="connsiteX64" fmla="*/ 66439 w 1054584"/>
                <a:gd name="connsiteY64" fmla="*/ 258494 h 616866"/>
                <a:gd name="connsiteX65" fmla="*/ 64512 w 1054584"/>
                <a:gd name="connsiteY65" fmla="*/ 246287 h 616866"/>
                <a:gd name="connsiteX66" fmla="*/ 68366 w 1054584"/>
                <a:gd name="connsiteY66" fmla="*/ 245644 h 616866"/>
                <a:gd name="connsiteX67" fmla="*/ 85714 w 1054584"/>
                <a:gd name="connsiteY67" fmla="*/ 235365 h 616866"/>
                <a:gd name="connsiteX68" fmla="*/ 108201 w 1054584"/>
                <a:gd name="connsiteY68" fmla="*/ 225085 h 616866"/>
                <a:gd name="connsiteX69" fmla="*/ 135185 w 1054584"/>
                <a:gd name="connsiteY69" fmla="*/ 220587 h 616866"/>
                <a:gd name="connsiteX70" fmla="*/ 145465 w 1054584"/>
                <a:gd name="connsiteY70" fmla="*/ 223800 h 616866"/>
                <a:gd name="connsiteX71" fmla="*/ 157672 w 1054584"/>
                <a:gd name="connsiteY71" fmla="*/ 231510 h 616866"/>
                <a:gd name="connsiteX72" fmla="*/ 161527 w 1054584"/>
                <a:gd name="connsiteY72" fmla="*/ 248214 h 616866"/>
                <a:gd name="connsiteX73" fmla="*/ 177589 w 1054584"/>
                <a:gd name="connsiteY73" fmla="*/ 257209 h 616866"/>
                <a:gd name="connsiteX74" fmla="*/ 194294 w 1054584"/>
                <a:gd name="connsiteY74" fmla="*/ 255924 h 616866"/>
                <a:gd name="connsiteX75" fmla="*/ 204574 w 1054584"/>
                <a:gd name="connsiteY75" fmla="*/ 259779 h 616866"/>
                <a:gd name="connsiteX76" fmla="*/ 217424 w 1054584"/>
                <a:gd name="connsiteY76" fmla="*/ 250784 h 616866"/>
                <a:gd name="connsiteX77" fmla="*/ 205859 w 1054584"/>
                <a:gd name="connsiteY77" fmla="*/ 242432 h 616866"/>
                <a:gd name="connsiteX78" fmla="*/ 194937 w 1054584"/>
                <a:gd name="connsiteY78" fmla="*/ 236007 h 616866"/>
                <a:gd name="connsiteX79" fmla="*/ 199434 w 1054584"/>
                <a:gd name="connsiteY79" fmla="*/ 223157 h 616866"/>
                <a:gd name="connsiteX80" fmla="*/ 218066 w 1054584"/>
                <a:gd name="connsiteY80" fmla="*/ 219302 h 616866"/>
                <a:gd name="connsiteX81" fmla="*/ 230916 w 1054584"/>
                <a:gd name="connsiteY81" fmla="*/ 214805 h 616866"/>
                <a:gd name="connsiteX82" fmla="*/ 244408 w 1054584"/>
                <a:gd name="connsiteY82" fmla="*/ 210950 h 616866"/>
                <a:gd name="connsiteX83" fmla="*/ 259828 w 1054584"/>
                <a:gd name="connsiteY83" fmla="*/ 195530 h 616866"/>
                <a:gd name="connsiteX84" fmla="*/ 262398 w 1054584"/>
                <a:gd name="connsiteY84" fmla="*/ 182038 h 616866"/>
                <a:gd name="connsiteX85" fmla="*/ 255330 w 1054584"/>
                <a:gd name="connsiteY85" fmla="*/ 181396 h 616866"/>
                <a:gd name="connsiteX86" fmla="*/ 243123 w 1054584"/>
                <a:gd name="connsiteY86" fmla="*/ 194888 h 616866"/>
                <a:gd name="connsiteX87" fmla="*/ 234128 w 1054584"/>
                <a:gd name="connsiteY87" fmla="*/ 197458 h 616866"/>
                <a:gd name="connsiteX88" fmla="*/ 244408 w 1054584"/>
                <a:gd name="connsiteY88" fmla="*/ 179468 h 616866"/>
                <a:gd name="connsiteX89" fmla="*/ 256615 w 1054584"/>
                <a:gd name="connsiteY89" fmla="*/ 171116 h 616866"/>
                <a:gd name="connsiteX90" fmla="*/ 264968 w 1054584"/>
                <a:gd name="connsiteY90" fmla="*/ 168546 h 616866"/>
                <a:gd name="connsiteX91" fmla="*/ 272678 w 1054584"/>
                <a:gd name="connsiteY91" fmla="*/ 159551 h 616866"/>
                <a:gd name="connsiteX92" fmla="*/ 278460 w 1054584"/>
                <a:gd name="connsiteY92" fmla="*/ 150556 h 616866"/>
                <a:gd name="connsiteX93" fmla="*/ 301589 w 1054584"/>
                <a:gd name="connsiteY93" fmla="*/ 151199 h 616866"/>
                <a:gd name="connsiteX94" fmla="*/ 329216 w 1054584"/>
                <a:gd name="connsiteY94" fmla="*/ 151199 h 616866"/>
                <a:gd name="connsiteX95" fmla="*/ 348491 w 1054584"/>
                <a:gd name="connsiteY95" fmla="*/ 143489 h 616866"/>
                <a:gd name="connsiteX96" fmla="*/ 371621 w 1054584"/>
                <a:gd name="connsiteY96" fmla="*/ 136421 h 616866"/>
                <a:gd name="connsiteX97" fmla="*/ 387040 w 1054584"/>
                <a:gd name="connsiteY97" fmla="*/ 135137 h 616866"/>
                <a:gd name="connsiteX98" fmla="*/ 401175 w 1054584"/>
                <a:gd name="connsiteY98" fmla="*/ 131924 h 616866"/>
                <a:gd name="connsiteX99" fmla="*/ 407600 w 1054584"/>
                <a:gd name="connsiteY99" fmla="*/ 126784 h 616866"/>
                <a:gd name="connsiteX100" fmla="*/ 433299 w 1054584"/>
                <a:gd name="connsiteY100" fmla="*/ 104297 h 616866"/>
                <a:gd name="connsiteX101" fmla="*/ 452574 w 1054584"/>
                <a:gd name="connsiteY101" fmla="*/ 82453 h 616866"/>
                <a:gd name="connsiteX102" fmla="*/ 466066 w 1054584"/>
                <a:gd name="connsiteY102" fmla="*/ 66390 h 616866"/>
                <a:gd name="connsiteX103" fmla="*/ 468636 w 1054584"/>
                <a:gd name="connsiteY103" fmla="*/ 67675 h 616866"/>
                <a:gd name="connsiteX104" fmla="*/ 464139 w 1054584"/>
                <a:gd name="connsiteY104" fmla="*/ 79883 h 616866"/>
                <a:gd name="connsiteX105" fmla="*/ 462211 w 1054584"/>
                <a:gd name="connsiteY105" fmla="*/ 97230 h 616866"/>
                <a:gd name="connsiteX106" fmla="*/ 475061 w 1054584"/>
                <a:gd name="connsiteY106" fmla="*/ 105582 h 616866"/>
                <a:gd name="connsiteX107" fmla="*/ 476988 w 1054584"/>
                <a:gd name="connsiteY107" fmla="*/ 94017 h 616866"/>
                <a:gd name="connsiteX108" fmla="*/ 476988 w 1054584"/>
                <a:gd name="connsiteY108" fmla="*/ 79240 h 616866"/>
                <a:gd name="connsiteX109" fmla="*/ 488553 w 1054584"/>
                <a:gd name="connsiteY109" fmla="*/ 69603 h 616866"/>
                <a:gd name="connsiteX110" fmla="*/ 496906 w 1054584"/>
                <a:gd name="connsiteY110" fmla="*/ 63178 h 616866"/>
                <a:gd name="connsiteX111" fmla="*/ 502045 w 1054584"/>
                <a:gd name="connsiteY111" fmla="*/ 55468 h 616866"/>
                <a:gd name="connsiteX112" fmla="*/ 498833 w 1054584"/>
                <a:gd name="connsiteY112" fmla="*/ 47116 h 616866"/>
                <a:gd name="connsiteX113" fmla="*/ 489838 w 1054584"/>
                <a:gd name="connsiteY113" fmla="*/ 46473 h 616866"/>
                <a:gd name="connsiteX114" fmla="*/ 482128 w 1054584"/>
                <a:gd name="connsiteY114" fmla="*/ 54826 h 616866"/>
                <a:gd name="connsiteX115" fmla="*/ 475704 w 1054584"/>
                <a:gd name="connsiteY115" fmla="*/ 59965 h 616866"/>
                <a:gd name="connsiteX116" fmla="*/ 469279 w 1054584"/>
                <a:gd name="connsiteY116" fmla="*/ 54183 h 616866"/>
                <a:gd name="connsiteX117" fmla="*/ 475061 w 1054584"/>
                <a:gd name="connsiteY117" fmla="*/ 43903 h 616866"/>
                <a:gd name="connsiteX118" fmla="*/ 483413 w 1054584"/>
                <a:gd name="connsiteY118" fmla="*/ 29769 h 616866"/>
                <a:gd name="connsiteX119" fmla="*/ 485341 w 1054584"/>
                <a:gd name="connsiteY119" fmla="*/ 16919 h 616866"/>
                <a:gd name="connsiteX120" fmla="*/ 491123 w 1054584"/>
                <a:gd name="connsiteY120" fmla="*/ 3427 h 616866"/>
                <a:gd name="connsiteX121" fmla="*/ 504616 w 1054584"/>
                <a:gd name="connsiteY121" fmla="*/ 1499 h 616866"/>
                <a:gd name="connsiteX122" fmla="*/ 512325 w 1054584"/>
                <a:gd name="connsiteY122" fmla="*/ 9209 h 616866"/>
                <a:gd name="connsiteX123" fmla="*/ 523248 w 1054584"/>
                <a:gd name="connsiteY123" fmla="*/ 13706 h 616866"/>
                <a:gd name="connsiteX124" fmla="*/ 536097 w 1054584"/>
                <a:gd name="connsiteY124" fmla="*/ 14991 h 616866"/>
                <a:gd name="connsiteX125" fmla="*/ 561797 w 1054584"/>
                <a:gd name="connsiteY125" fmla="*/ 18846 h 616866"/>
                <a:gd name="connsiteX126" fmla="*/ 595206 w 1054584"/>
                <a:gd name="connsiteY126" fmla="*/ 18846 h 616866"/>
                <a:gd name="connsiteX127" fmla="*/ 608056 w 1054584"/>
                <a:gd name="connsiteY127" fmla="*/ 21416 h 616866"/>
                <a:gd name="connsiteX128" fmla="*/ 603559 w 1054584"/>
                <a:gd name="connsiteY128" fmla="*/ 26556 h 616866"/>
                <a:gd name="connsiteX129" fmla="*/ 584284 w 1054584"/>
                <a:gd name="connsiteY129" fmla="*/ 30411 h 616866"/>
                <a:gd name="connsiteX130" fmla="*/ 558584 w 1054584"/>
                <a:gd name="connsiteY130" fmla="*/ 31054 h 616866"/>
                <a:gd name="connsiteX131" fmla="*/ 537382 w 1054584"/>
                <a:gd name="connsiteY131" fmla="*/ 31054 h 616866"/>
                <a:gd name="connsiteX132" fmla="*/ 521963 w 1054584"/>
                <a:gd name="connsiteY132" fmla="*/ 34266 h 616866"/>
                <a:gd name="connsiteX133" fmla="*/ 516823 w 1054584"/>
                <a:gd name="connsiteY133" fmla="*/ 45188 h 616866"/>
                <a:gd name="connsiteX134" fmla="*/ 521963 w 1054584"/>
                <a:gd name="connsiteY134" fmla="*/ 51613 h 616866"/>
                <a:gd name="connsiteX135" fmla="*/ 538025 w 1054584"/>
                <a:gd name="connsiteY135" fmla="*/ 50971 h 616866"/>
                <a:gd name="connsiteX136" fmla="*/ 553444 w 1054584"/>
                <a:gd name="connsiteY136" fmla="*/ 44546 h 616866"/>
                <a:gd name="connsiteX137" fmla="*/ 575931 w 1054584"/>
                <a:gd name="connsiteY137" fmla="*/ 45188 h 616866"/>
                <a:gd name="connsiteX138" fmla="*/ 583641 w 1054584"/>
                <a:gd name="connsiteY138" fmla="*/ 45831 h 616866"/>
                <a:gd name="connsiteX139" fmla="*/ 599704 w 1054584"/>
                <a:gd name="connsiteY139" fmla="*/ 40048 h 616866"/>
                <a:gd name="connsiteX140" fmla="*/ 620906 w 1054584"/>
                <a:gd name="connsiteY140" fmla="*/ 32981 h 616866"/>
                <a:gd name="connsiteX141" fmla="*/ 638895 w 1054584"/>
                <a:gd name="connsiteY141" fmla="*/ 31054 h 616866"/>
                <a:gd name="connsiteX142" fmla="*/ 645320 w 1054584"/>
                <a:gd name="connsiteY142" fmla="*/ 44546 h 616866"/>
                <a:gd name="connsiteX143" fmla="*/ 654958 w 1054584"/>
                <a:gd name="connsiteY143" fmla="*/ 72815 h 616866"/>
                <a:gd name="connsiteX144" fmla="*/ 678087 w 1054584"/>
                <a:gd name="connsiteY144" fmla="*/ 90162 h 616866"/>
                <a:gd name="connsiteX145" fmla="*/ 693507 w 1054584"/>
                <a:gd name="connsiteY145" fmla="*/ 92732 h 616866"/>
                <a:gd name="connsiteX146" fmla="*/ 706999 w 1054584"/>
                <a:gd name="connsiteY146" fmla="*/ 101085 h 616866"/>
                <a:gd name="connsiteX147" fmla="*/ 717921 w 1054584"/>
                <a:gd name="connsiteY147" fmla="*/ 102370 h 616866"/>
                <a:gd name="connsiteX148" fmla="*/ 731413 w 1054584"/>
                <a:gd name="connsiteY148" fmla="*/ 115862 h 616866"/>
                <a:gd name="connsiteX149" fmla="*/ 743621 w 1054584"/>
                <a:gd name="connsiteY149" fmla="*/ 128712 h 616866"/>
                <a:gd name="connsiteX150" fmla="*/ 736553 w 1054584"/>
                <a:gd name="connsiteY150" fmla="*/ 137706 h 616866"/>
                <a:gd name="connsiteX151" fmla="*/ 745548 w 1054584"/>
                <a:gd name="connsiteY151" fmla="*/ 142846 h 616866"/>
                <a:gd name="connsiteX152" fmla="*/ 757755 w 1054584"/>
                <a:gd name="connsiteY152" fmla="*/ 146701 h 616866"/>
                <a:gd name="connsiteX153" fmla="*/ 762895 w 1054584"/>
                <a:gd name="connsiteY153" fmla="*/ 160194 h 616866"/>
                <a:gd name="connsiteX154" fmla="*/ 773818 w 1054584"/>
                <a:gd name="connsiteY154" fmla="*/ 163406 h 616866"/>
                <a:gd name="connsiteX155" fmla="*/ 774460 w 1054584"/>
                <a:gd name="connsiteY155" fmla="*/ 157624 h 616866"/>
                <a:gd name="connsiteX156" fmla="*/ 768678 w 1054584"/>
                <a:gd name="connsiteY156" fmla="*/ 150556 h 616866"/>
                <a:gd name="connsiteX157" fmla="*/ 766750 w 1054584"/>
                <a:gd name="connsiteY157" fmla="*/ 144774 h 616866"/>
                <a:gd name="connsiteX158" fmla="*/ 779600 w 1054584"/>
                <a:gd name="connsiteY158" fmla="*/ 137064 h 616866"/>
                <a:gd name="connsiteX159" fmla="*/ 804657 w 1054584"/>
                <a:gd name="connsiteY159" fmla="*/ 129354 h 616866"/>
                <a:gd name="connsiteX160" fmla="*/ 817507 w 1054584"/>
                <a:gd name="connsiteY160" fmla="*/ 121644 h 616866"/>
                <a:gd name="connsiteX161" fmla="*/ 829714 w 1054584"/>
                <a:gd name="connsiteY161" fmla="*/ 121644 h 616866"/>
                <a:gd name="connsiteX162" fmla="*/ 838709 w 1054584"/>
                <a:gd name="connsiteY162" fmla="*/ 126784 h 616866"/>
                <a:gd name="connsiteX163" fmla="*/ 848989 w 1054584"/>
                <a:gd name="connsiteY163" fmla="*/ 119717 h 616866"/>
                <a:gd name="connsiteX164" fmla="*/ 859911 w 1054584"/>
                <a:gd name="connsiteY164" fmla="*/ 119074 h 616866"/>
                <a:gd name="connsiteX165" fmla="*/ 863123 w 1054584"/>
                <a:gd name="connsiteY165" fmla="*/ 132567 h 616866"/>
                <a:gd name="connsiteX166" fmla="*/ 880471 w 1054584"/>
                <a:gd name="connsiteY166" fmla="*/ 153769 h 616866"/>
                <a:gd name="connsiteX167" fmla="*/ 891393 w 1054584"/>
                <a:gd name="connsiteY167" fmla="*/ 166618 h 616866"/>
                <a:gd name="connsiteX168" fmla="*/ 897175 w 1054584"/>
                <a:gd name="connsiteY168" fmla="*/ 181396 h 616866"/>
                <a:gd name="connsiteX169" fmla="*/ 885610 w 1054584"/>
                <a:gd name="connsiteY169" fmla="*/ 187820 h 616866"/>
                <a:gd name="connsiteX170" fmla="*/ 870833 w 1054584"/>
                <a:gd name="connsiteY170" fmla="*/ 181396 h 616866"/>
                <a:gd name="connsiteX171" fmla="*/ 863123 w 1054584"/>
                <a:gd name="connsiteY171" fmla="*/ 173043 h 616866"/>
                <a:gd name="connsiteX172" fmla="*/ 855413 w 1054584"/>
                <a:gd name="connsiteY172" fmla="*/ 175613 h 616866"/>
                <a:gd name="connsiteX173" fmla="*/ 858626 w 1054584"/>
                <a:gd name="connsiteY173" fmla="*/ 186536 h 616866"/>
                <a:gd name="connsiteX174" fmla="*/ 866336 w 1054584"/>
                <a:gd name="connsiteY174" fmla="*/ 196815 h 616866"/>
                <a:gd name="connsiteX175" fmla="*/ 867621 w 1054584"/>
                <a:gd name="connsiteY175" fmla="*/ 201955 h 616866"/>
                <a:gd name="connsiteX176" fmla="*/ 875331 w 1054584"/>
                <a:gd name="connsiteY176" fmla="*/ 207095 h 616866"/>
                <a:gd name="connsiteX177" fmla="*/ 875331 w 1054584"/>
                <a:gd name="connsiteY177" fmla="*/ 214805 h 616866"/>
                <a:gd name="connsiteX178" fmla="*/ 875973 w 1054584"/>
                <a:gd name="connsiteY178" fmla="*/ 228297 h 616866"/>
                <a:gd name="connsiteX179" fmla="*/ 880471 w 1054584"/>
                <a:gd name="connsiteY179" fmla="*/ 235365 h 616866"/>
                <a:gd name="connsiteX180" fmla="*/ 892035 w 1054584"/>
                <a:gd name="connsiteY180" fmla="*/ 230225 h 616866"/>
                <a:gd name="connsiteX181" fmla="*/ 902315 w 1054584"/>
                <a:gd name="connsiteY181" fmla="*/ 230867 h 616866"/>
                <a:gd name="connsiteX182" fmla="*/ 908097 w 1054584"/>
                <a:gd name="connsiteY182" fmla="*/ 216732 h 616866"/>
                <a:gd name="connsiteX183" fmla="*/ 908097 w 1054584"/>
                <a:gd name="connsiteY183" fmla="*/ 208380 h 616866"/>
                <a:gd name="connsiteX184" fmla="*/ 917092 w 1054584"/>
                <a:gd name="connsiteY184" fmla="*/ 210308 h 616866"/>
                <a:gd name="connsiteX185" fmla="*/ 922875 w 1054584"/>
                <a:gd name="connsiteY185" fmla="*/ 216090 h 616866"/>
                <a:gd name="connsiteX186" fmla="*/ 928657 w 1054584"/>
                <a:gd name="connsiteY186" fmla="*/ 206453 h 616866"/>
                <a:gd name="connsiteX187" fmla="*/ 925445 w 1054584"/>
                <a:gd name="connsiteY187" fmla="*/ 192318 h 616866"/>
                <a:gd name="connsiteX188" fmla="*/ 911310 w 1054584"/>
                <a:gd name="connsiteY188" fmla="*/ 187178 h 616866"/>
                <a:gd name="connsiteX189" fmla="*/ 899745 w 1054584"/>
                <a:gd name="connsiteY189" fmla="*/ 165976 h 616866"/>
                <a:gd name="connsiteX190" fmla="*/ 896533 w 1054584"/>
                <a:gd name="connsiteY190" fmla="*/ 159551 h 616866"/>
                <a:gd name="connsiteX191" fmla="*/ 909383 w 1054584"/>
                <a:gd name="connsiteY191" fmla="*/ 160194 h 616866"/>
                <a:gd name="connsiteX192" fmla="*/ 926730 w 1054584"/>
                <a:gd name="connsiteY192" fmla="*/ 173686 h 616866"/>
                <a:gd name="connsiteX193" fmla="*/ 944719 w 1054584"/>
                <a:gd name="connsiteY193" fmla="*/ 192318 h 616866"/>
                <a:gd name="connsiteX194" fmla="*/ 954999 w 1054584"/>
                <a:gd name="connsiteY194" fmla="*/ 200670 h 616866"/>
                <a:gd name="connsiteX195" fmla="*/ 969776 w 1054584"/>
                <a:gd name="connsiteY195" fmla="*/ 212877 h 616866"/>
                <a:gd name="connsiteX196" fmla="*/ 976201 w 1054584"/>
                <a:gd name="connsiteY196" fmla="*/ 221230 h 616866"/>
                <a:gd name="connsiteX197" fmla="*/ 980698 w 1054584"/>
                <a:gd name="connsiteY197" fmla="*/ 241789 h 616866"/>
                <a:gd name="connsiteX198" fmla="*/ 965921 w 1054584"/>
                <a:gd name="connsiteY198" fmla="*/ 248214 h 616866"/>
                <a:gd name="connsiteX199" fmla="*/ 933797 w 1054584"/>
                <a:gd name="connsiteY199" fmla="*/ 247572 h 616866"/>
                <a:gd name="connsiteX200" fmla="*/ 919020 w 1054584"/>
                <a:gd name="connsiteY200" fmla="*/ 256567 h 616866"/>
                <a:gd name="connsiteX201" fmla="*/ 905528 w 1054584"/>
                <a:gd name="connsiteY201" fmla="*/ 256567 h 616866"/>
                <a:gd name="connsiteX202" fmla="*/ 894605 w 1054584"/>
                <a:gd name="connsiteY202" fmla="*/ 254639 h 616866"/>
                <a:gd name="connsiteX203" fmla="*/ 882398 w 1054584"/>
                <a:gd name="connsiteY203" fmla="*/ 260422 h 616866"/>
                <a:gd name="connsiteX204" fmla="*/ 870833 w 1054584"/>
                <a:gd name="connsiteY204" fmla="*/ 260422 h 616866"/>
                <a:gd name="connsiteX205" fmla="*/ 881755 w 1054584"/>
                <a:gd name="connsiteY205" fmla="*/ 273271 h 616866"/>
                <a:gd name="connsiteX206" fmla="*/ 917735 w 1054584"/>
                <a:gd name="connsiteY206" fmla="*/ 292546 h 616866"/>
                <a:gd name="connsiteX207" fmla="*/ 949859 w 1054584"/>
                <a:gd name="connsiteY207" fmla="*/ 304753 h 616866"/>
                <a:gd name="connsiteX208" fmla="*/ 970419 w 1054584"/>
                <a:gd name="connsiteY208" fmla="*/ 304753 h 616866"/>
                <a:gd name="connsiteX209" fmla="*/ 971061 w 1054584"/>
                <a:gd name="connsiteY209" fmla="*/ 315033 h 616866"/>
                <a:gd name="connsiteX210" fmla="*/ 990978 w 1054584"/>
                <a:gd name="connsiteY210" fmla="*/ 317603 h 616866"/>
                <a:gd name="connsiteX211" fmla="*/ 1008968 w 1054584"/>
                <a:gd name="connsiteY211" fmla="*/ 320173 h 616866"/>
                <a:gd name="connsiteX212" fmla="*/ 1005756 w 1054584"/>
                <a:gd name="connsiteY212" fmla="*/ 332380 h 616866"/>
                <a:gd name="connsiteX213" fmla="*/ 1009610 w 1054584"/>
                <a:gd name="connsiteY213" fmla="*/ 353582 h 616866"/>
                <a:gd name="connsiteX214" fmla="*/ 1019890 w 1054584"/>
                <a:gd name="connsiteY214" fmla="*/ 387634 h 616866"/>
                <a:gd name="connsiteX215" fmla="*/ 1027600 w 1054584"/>
                <a:gd name="connsiteY215" fmla="*/ 412691 h 616866"/>
                <a:gd name="connsiteX216" fmla="*/ 1042377 w 1054584"/>
                <a:gd name="connsiteY216" fmla="*/ 442245 h 616866"/>
                <a:gd name="connsiteX217" fmla="*/ 1046875 w 1054584"/>
                <a:gd name="connsiteY217" fmla="*/ 451883 h 616866"/>
                <a:gd name="connsiteX218" fmla="*/ 1046875 w 1054584"/>
                <a:gd name="connsiteY218" fmla="*/ 451883 h 616866"/>
                <a:gd name="connsiteX219" fmla="*/ 1049445 w 1054584"/>
                <a:gd name="connsiteY219" fmla="*/ 457665 h 616866"/>
                <a:gd name="connsiteX220" fmla="*/ 1050730 w 1054584"/>
                <a:gd name="connsiteY220" fmla="*/ 459593 h 616866"/>
                <a:gd name="connsiteX221" fmla="*/ 1052015 w 1054584"/>
                <a:gd name="connsiteY221" fmla="*/ 462163 h 616866"/>
                <a:gd name="connsiteX222" fmla="*/ 1052657 w 1054584"/>
                <a:gd name="connsiteY222" fmla="*/ 464732 h 616866"/>
                <a:gd name="connsiteX223" fmla="*/ 1053300 w 1054584"/>
                <a:gd name="connsiteY223" fmla="*/ 467302 h 616866"/>
                <a:gd name="connsiteX224" fmla="*/ 1053942 w 1054584"/>
                <a:gd name="connsiteY224" fmla="*/ 469872 h 616866"/>
                <a:gd name="connsiteX225" fmla="*/ 1054585 w 1054584"/>
                <a:gd name="connsiteY225" fmla="*/ 472442 h 61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1054584" h="616866">
                  <a:moveTo>
                    <a:pt x="1054585" y="472442"/>
                  </a:moveTo>
                  <a:cubicBezTo>
                    <a:pt x="1052657" y="472442"/>
                    <a:pt x="1050730" y="472442"/>
                    <a:pt x="1048802" y="472442"/>
                  </a:cubicBezTo>
                  <a:cubicBezTo>
                    <a:pt x="1044305" y="472442"/>
                    <a:pt x="1039165" y="471800"/>
                    <a:pt x="1034668" y="473085"/>
                  </a:cubicBezTo>
                  <a:cubicBezTo>
                    <a:pt x="1028243" y="475012"/>
                    <a:pt x="1024388" y="480152"/>
                    <a:pt x="1020533" y="485292"/>
                  </a:cubicBezTo>
                  <a:cubicBezTo>
                    <a:pt x="1014108" y="493002"/>
                    <a:pt x="1008326" y="501354"/>
                    <a:pt x="999331" y="505852"/>
                  </a:cubicBezTo>
                  <a:cubicBezTo>
                    <a:pt x="990336" y="510349"/>
                    <a:pt x="978771" y="510349"/>
                    <a:pt x="969134" y="505852"/>
                  </a:cubicBezTo>
                  <a:cubicBezTo>
                    <a:pt x="959496" y="501354"/>
                    <a:pt x="953072" y="492359"/>
                    <a:pt x="951787" y="482722"/>
                  </a:cubicBezTo>
                  <a:cubicBezTo>
                    <a:pt x="951144" y="478867"/>
                    <a:pt x="951787" y="475012"/>
                    <a:pt x="950502" y="471157"/>
                  </a:cubicBezTo>
                  <a:cubicBezTo>
                    <a:pt x="946647" y="460235"/>
                    <a:pt x="931227" y="453810"/>
                    <a:pt x="920305" y="451883"/>
                  </a:cubicBezTo>
                  <a:cubicBezTo>
                    <a:pt x="910025" y="449955"/>
                    <a:pt x="899103" y="451240"/>
                    <a:pt x="889465" y="454453"/>
                  </a:cubicBezTo>
                  <a:cubicBezTo>
                    <a:pt x="883041" y="457023"/>
                    <a:pt x="876616" y="460235"/>
                    <a:pt x="870191" y="462163"/>
                  </a:cubicBezTo>
                  <a:cubicBezTo>
                    <a:pt x="863766" y="464090"/>
                    <a:pt x="856056" y="465375"/>
                    <a:pt x="849631" y="462805"/>
                  </a:cubicBezTo>
                  <a:cubicBezTo>
                    <a:pt x="844491" y="460878"/>
                    <a:pt x="839994" y="457023"/>
                    <a:pt x="834211" y="455095"/>
                  </a:cubicBezTo>
                  <a:cubicBezTo>
                    <a:pt x="823932" y="451240"/>
                    <a:pt x="811724" y="457023"/>
                    <a:pt x="804657" y="464732"/>
                  </a:cubicBezTo>
                  <a:cubicBezTo>
                    <a:pt x="797590" y="473085"/>
                    <a:pt x="795020" y="483365"/>
                    <a:pt x="792450" y="493644"/>
                  </a:cubicBezTo>
                  <a:cubicBezTo>
                    <a:pt x="790522" y="501997"/>
                    <a:pt x="788595" y="510992"/>
                    <a:pt x="782812" y="517416"/>
                  </a:cubicBezTo>
                  <a:cubicBezTo>
                    <a:pt x="777673" y="523199"/>
                    <a:pt x="769320" y="526411"/>
                    <a:pt x="761610" y="525769"/>
                  </a:cubicBezTo>
                  <a:cubicBezTo>
                    <a:pt x="753901" y="525126"/>
                    <a:pt x="747476" y="521914"/>
                    <a:pt x="739766" y="521271"/>
                  </a:cubicBezTo>
                  <a:cubicBezTo>
                    <a:pt x="730771" y="519986"/>
                    <a:pt x="721134" y="522556"/>
                    <a:pt x="712781" y="526411"/>
                  </a:cubicBezTo>
                  <a:cubicBezTo>
                    <a:pt x="703787" y="529624"/>
                    <a:pt x="694149" y="534764"/>
                    <a:pt x="689009" y="541831"/>
                  </a:cubicBezTo>
                  <a:cubicBezTo>
                    <a:pt x="685154" y="546328"/>
                    <a:pt x="683227" y="552111"/>
                    <a:pt x="680014" y="557251"/>
                  </a:cubicBezTo>
                  <a:cubicBezTo>
                    <a:pt x="676802" y="561748"/>
                    <a:pt x="672305" y="565603"/>
                    <a:pt x="667165" y="568173"/>
                  </a:cubicBezTo>
                  <a:cubicBezTo>
                    <a:pt x="653030" y="575240"/>
                    <a:pt x="636325" y="570100"/>
                    <a:pt x="621548" y="564961"/>
                  </a:cubicBezTo>
                  <a:cubicBezTo>
                    <a:pt x="612553" y="561748"/>
                    <a:pt x="603559" y="559178"/>
                    <a:pt x="593921" y="555966"/>
                  </a:cubicBezTo>
                  <a:cubicBezTo>
                    <a:pt x="582999" y="552111"/>
                    <a:pt x="572719" y="548898"/>
                    <a:pt x="561797" y="544401"/>
                  </a:cubicBezTo>
                  <a:cubicBezTo>
                    <a:pt x="554087" y="541189"/>
                    <a:pt x="547020" y="537976"/>
                    <a:pt x="539310" y="536049"/>
                  </a:cubicBezTo>
                  <a:cubicBezTo>
                    <a:pt x="527103" y="533479"/>
                    <a:pt x="514253" y="536049"/>
                    <a:pt x="502045" y="533479"/>
                  </a:cubicBezTo>
                  <a:cubicBezTo>
                    <a:pt x="493051" y="531551"/>
                    <a:pt x="484698" y="526411"/>
                    <a:pt x="476346" y="521271"/>
                  </a:cubicBezTo>
                  <a:cubicBezTo>
                    <a:pt x="467994" y="516131"/>
                    <a:pt x="458999" y="510992"/>
                    <a:pt x="450646" y="505852"/>
                  </a:cubicBezTo>
                  <a:cubicBezTo>
                    <a:pt x="444222" y="501997"/>
                    <a:pt x="437154" y="497499"/>
                    <a:pt x="429444" y="494929"/>
                  </a:cubicBezTo>
                  <a:cubicBezTo>
                    <a:pt x="418522" y="491075"/>
                    <a:pt x="405672" y="491075"/>
                    <a:pt x="394750" y="494929"/>
                  </a:cubicBezTo>
                  <a:cubicBezTo>
                    <a:pt x="385113" y="498142"/>
                    <a:pt x="379973" y="505209"/>
                    <a:pt x="384470" y="514847"/>
                  </a:cubicBezTo>
                  <a:cubicBezTo>
                    <a:pt x="388968" y="525126"/>
                    <a:pt x="357486" y="543758"/>
                    <a:pt x="343994" y="550826"/>
                  </a:cubicBezTo>
                  <a:cubicBezTo>
                    <a:pt x="330501" y="557251"/>
                    <a:pt x="311869" y="551468"/>
                    <a:pt x="294522" y="549541"/>
                  </a:cubicBezTo>
                  <a:cubicBezTo>
                    <a:pt x="282957" y="548256"/>
                    <a:pt x="273320" y="560463"/>
                    <a:pt x="268180" y="568173"/>
                  </a:cubicBezTo>
                  <a:cubicBezTo>
                    <a:pt x="265610" y="572028"/>
                    <a:pt x="264325" y="574598"/>
                    <a:pt x="264325" y="574598"/>
                  </a:cubicBezTo>
                  <a:lnTo>
                    <a:pt x="264325" y="593230"/>
                  </a:lnTo>
                  <a:cubicBezTo>
                    <a:pt x="264325" y="600940"/>
                    <a:pt x="257900" y="602867"/>
                    <a:pt x="246978" y="604795"/>
                  </a:cubicBezTo>
                  <a:cubicBezTo>
                    <a:pt x="236698" y="606722"/>
                    <a:pt x="230916" y="599655"/>
                    <a:pt x="227061" y="599012"/>
                  </a:cubicBezTo>
                  <a:cubicBezTo>
                    <a:pt x="223206" y="598370"/>
                    <a:pt x="216781" y="608650"/>
                    <a:pt x="214854" y="614432"/>
                  </a:cubicBezTo>
                  <a:cubicBezTo>
                    <a:pt x="212284" y="619572"/>
                    <a:pt x="208429" y="615075"/>
                    <a:pt x="205216" y="614432"/>
                  </a:cubicBezTo>
                  <a:cubicBezTo>
                    <a:pt x="202646" y="613790"/>
                    <a:pt x="191724" y="607365"/>
                    <a:pt x="180802" y="604795"/>
                  </a:cubicBezTo>
                  <a:cubicBezTo>
                    <a:pt x="178874" y="604152"/>
                    <a:pt x="176304" y="604152"/>
                    <a:pt x="174377" y="603510"/>
                  </a:cubicBezTo>
                  <a:cubicBezTo>
                    <a:pt x="161527" y="602225"/>
                    <a:pt x="159600" y="595800"/>
                    <a:pt x="158315" y="593230"/>
                  </a:cubicBezTo>
                  <a:cubicBezTo>
                    <a:pt x="157030" y="590660"/>
                    <a:pt x="153175" y="581665"/>
                    <a:pt x="145465" y="575883"/>
                  </a:cubicBezTo>
                  <a:cubicBezTo>
                    <a:pt x="137755" y="570743"/>
                    <a:pt x="134543" y="571385"/>
                    <a:pt x="126190" y="560463"/>
                  </a:cubicBezTo>
                  <a:cubicBezTo>
                    <a:pt x="118481" y="550183"/>
                    <a:pt x="118481" y="550826"/>
                    <a:pt x="111413" y="541831"/>
                  </a:cubicBezTo>
                  <a:cubicBezTo>
                    <a:pt x="104988" y="533479"/>
                    <a:pt x="99206" y="521271"/>
                    <a:pt x="77361" y="512277"/>
                  </a:cubicBezTo>
                  <a:cubicBezTo>
                    <a:pt x="55517" y="502639"/>
                    <a:pt x="61299" y="520629"/>
                    <a:pt x="54874" y="523841"/>
                  </a:cubicBezTo>
                  <a:cubicBezTo>
                    <a:pt x="48450" y="527054"/>
                    <a:pt x="38812" y="518701"/>
                    <a:pt x="34315" y="512919"/>
                  </a:cubicBezTo>
                  <a:cubicBezTo>
                    <a:pt x="30460" y="507137"/>
                    <a:pt x="18253" y="505209"/>
                    <a:pt x="8615" y="502639"/>
                  </a:cubicBezTo>
                  <a:cubicBezTo>
                    <a:pt x="6688" y="501997"/>
                    <a:pt x="5403" y="501354"/>
                    <a:pt x="4118" y="500069"/>
                  </a:cubicBezTo>
                  <a:cubicBezTo>
                    <a:pt x="-1022" y="493002"/>
                    <a:pt x="-380" y="476940"/>
                    <a:pt x="905" y="468587"/>
                  </a:cubicBezTo>
                  <a:cubicBezTo>
                    <a:pt x="2833" y="458308"/>
                    <a:pt x="26605" y="459593"/>
                    <a:pt x="26605" y="458308"/>
                  </a:cubicBezTo>
                  <a:cubicBezTo>
                    <a:pt x="27247" y="457023"/>
                    <a:pt x="46522" y="448028"/>
                    <a:pt x="49734" y="440960"/>
                  </a:cubicBezTo>
                  <a:cubicBezTo>
                    <a:pt x="52304" y="433893"/>
                    <a:pt x="60014" y="417831"/>
                    <a:pt x="60014" y="417831"/>
                  </a:cubicBezTo>
                  <a:lnTo>
                    <a:pt x="73506" y="413976"/>
                  </a:lnTo>
                  <a:cubicBezTo>
                    <a:pt x="73506" y="413976"/>
                    <a:pt x="79931" y="404981"/>
                    <a:pt x="86356" y="396629"/>
                  </a:cubicBezTo>
                  <a:cubicBezTo>
                    <a:pt x="88284" y="394701"/>
                    <a:pt x="89569" y="392131"/>
                    <a:pt x="91496" y="390204"/>
                  </a:cubicBezTo>
                  <a:cubicBezTo>
                    <a:pt x="99206" y="381209"/>
                    <a:pt x="85071" y="368359"/>
                    <a:pt x="78646" y="363220"/>
                  </a:cubicBezTo>
                  <a:cubicBezTo>
                    <a:pt x="72221" y="357437"/>
                    <a:pt x="61942" y="363220"/>
                    <a:pt x="55517" y="363220"/>
                  </a:cubicBezTo>
                  <a:cubicBezTo>
                    <a:pt x="49092" y="363220"/>
                    <a:pt x="35600" y="328525"/>
                    <a:pt x="35600" y="328525"/>
                  </a:cubicBezTo>
                  <a:cubicBezTo>
                    <a:pt x="35600" y="328525"/>
                    <a:pt x="26605" y="306038"/>
                    <a:pt x="26605" y="298971"/>
                  </a:cubicBezTo>
                  <a:cubicBezTo>
                    <a:pt x="26605" y="291261"/>
                    <a:pt x="36242" y="277126"/>
                    <a:pt x="37527" y="275199"/>
                  </a:cubicBezTo>
                  <a:cubicBezTo>
                    <a:pt x="39455" y="273914"/>
                    <a:pt x="64512" y="262349"/>
                    <a:pt x="66439" y="258494"/>
                  </a:cubicBezTo>
                  <a:cubicBezTo>
                    <a:pt x="68366" y="255282"/>
                    <a:pt x="64512" y="246929"/>
                    <a:pt x="64512" y="246287"/>
                  </a:cubicBezTo>
                  <a:cubicBezTo>
                    <a:pt x="65154" y="246929"/>
                    <a:pt x="65797" y="246929"/>
                    <a:pt x="68366" y="245644"/>
                  </a:cubicBezTo>
                  <a:cubicBezTo>
                    <a:pt x="76719" y="241789"/>
                    <a:pt x="83144" y="237934"/>
                    <a:pt x="85714" y="235365"/>
                  </a:cubicBezTo>
                  <a:cubicBezTo>
                    <a:pt x="88926" y="232152"/>
                    <a:pt x="100491" y="227655"/>
                    <a:pt x="108201" y="225085"/>
                  </a:cubicBezTo>
                  <a:cubicBezTo>
                    <a:pt x="115911" y="222515"/>
                    <a:pt x="121050" y="217375"/>
                    <a:pt x="135185" y="220587"/>
                  </a:cubicBezTo>
                  <a:cubicBezTo>
                    <a:pt x="139040" y="221230"/>
                    <a:pt x="142895" y="222515"/>
                    <a:pt x="145465" y="223800"/>
                  </a:cubicBezTo>
                  <a:cubicBezTo>
                    <a:pt x="152532" y="226370"/>
                    <a:pt x="157030" y="229582"/>
                    <a:pt x="157672" y="231510"/>
                  </a:cubicBezTo>
                  <a:cubicBezTo>
                    <a:pt x="158957" y="234080"/>
                    <a:pt x="161527" y="246287"/>
                    <a:pt x="161527" y="248214"/>
                  </a:cubicBezTo>
                  <a:cubicBezTo>
                    <a:pt x="161527" y="250142"/>
                    <a:pt x="172449" y="257209"/>
                    <a:pt x="177589" y="257209"/>
                  </a:cubicBezTo>
                  <a:cubicBezTo>
                    <a:pt x="182729" y="257209"/>
                    <a:pt x="187869" y="252712"/>
                    <a:pt x="194294" y="255924"/>
                  </a:cubicBezTo>
                  <a:cubicBezTo>
                    <a:pt x="201361" y="259137"/>
                    <a:pt x="198149" y="261064"/>
                    <a:pt x="204574" y="259779"/>
                  </a:cubicBezTo>
                  <a:cubicBezTo>
                    <a:pt x="210999" y="258494"/>
                    <a:pt x="218709" y="253997"/>
                    <a:pt x="217424" y="250784"/>
                  </a:cubicBezTo>
                  <a:cubicBezTo>
                    <a:pt x="216139" y="247572"/>
                    <a:pt x="209714" y="242432"/>
                    <a:pt x="205859" y="242432"/>
                  </a:cubicBezTo>
                  <a:cubicBezTo>
                    <a:pt x="202004" y="242432"/>
                    <a:pt x="194937" y="239219"/>
                    <a:pt x="194937" y="236007"/>
                  </a:cubicBezTo>
                  <a:cubicBezTo>
                    <a:pt x="194294" y="232795"/>
                    <a:pt x="194294" y="225727"/>
                    <a:pt x="199434" y="223157"/>
                  </a:cubicBezTo>
                  <a:cubicBezTo>
                    <a:pt x="205216" y="220587"/>
                    <a:pt x="215496" y="221230"/>
                    <a:pt x="218066" y="219302"/>
                  </a:cubicBezTo>
                  <a:cubicBezTo>
                    <a:pt x="220636" y="217375"/>
                    <a:pt x="226418" y="215447"/>
                    <a:pt x="230916" y="214805"/>
                  </a:cubicBezTo>
                  <a:cubicBezTo>
                    <a:pt x="235413" y="214805"/>
                    <a:pt x="242481" y="212235"/>
                    <a:pt x="244408" y="210950"/>
                  </a:cubicBezTo>
                  <a:cubicBezTo>
                    <a:pt x="246336" y="209665"/>
                    <a:pt x="257258" y="201313"/>
                    <a:pt x="259828" y="195530"/>
                  </a:cubicBezTo>
                  <a:cubicBezTo>
                    <a:pt x="262398" y="190390"/>
                    <a:pt x="263683" y="183323"/>
                    <a:pt x="262398" y="182038"/>
                  </a:cubicBezTo>
                  <a:cubicBezTo>
                    <a:pt x="261113" y="180753"/>
                    <a:pt x="258543" y="177541"/>
                    <a:pt x="255330" y="181396"/>
                  </a:cubicBezTo>
                  <a:cubicBezTo>
                    <a:pt x="252118" y="185251"/>
                    <a:pt x="246978" y="192318"/>
                    <a:pt x="243123" y="194888"/>
                  </a:cubicBezTo>
                  <a:cubicBezTo>
                    <a:pt x="239268" y="197458"/>
                    <a:pt x="232843" y="204525"/>
                    <a:pt x="234128" y="197458"/>
                  </a:cubicBezTo>
                  <a:cubicBezTo>
                    <a:pt x="234771" y="189748"/>
                    <a:pt x="241196" y="182681"/>
                    <a:pt x="244408" y="179468"/>
                  </a:cubicBezTo>
                  <a:cubicBezTo>
                    <a:pt x="248263" y="176256"/>
                    <a:pt x="254045" y="171758"/>
                    <a:pt x="256615" y="171116"/>
                  </a:cubicBezTo>
                  <a:cubicBezTo>
                    <a:pt x="259185" y="170473"/>
                    <a:pt x="261755" y="171758"/>
                    <a:pt x="264968" y="168546"/>
                  </a:cubicBezTo>
                  <a:cubicBezTo>
                    <a:pt x="267538" y="165333"/>
                    <a:pt x="272035" y="161478"/>
                    <a:pt x="272678" y="159551"/>
                  </a:cubicBezTo>
                  <a:cubicBezTo>
                    <a:pt x="273320" y="157624"/>
                    <a:pt x="278460" y="150556"/>
                    <a:pt x="278460" y="150556"/>
                  </a:cubicBezTo>
                  <a:cubicBezTo>
                    <a:pt x="278460" y="150556"/>
                    <a:pt x="289382" y="151199"/>
                    <a:pt x="301589" y="151199"/>
                  </a:cubicBezTo>
                  <a:cubicBezTo>
                    <a:pt x="313797" y="151199"/>
                    <a:pt x="325361" y="152484"/>
                    <a:pt x="329216" y="151199"/>
                  </a:cubicBezTo>
                  <a:cubicBezTo>
                    <a:pt x="333071" y="149914"/>
                    <a:pt x="341424" y="146059"/>
                    <a:pt x="348491" y="143489"/>
                  </a:cubicBezTo>
                  <a:cubicBezTo>
                    <a:pt x="355558" y="140919"/>
                    <a:pt x="365196" y="137064"/>
                    <a:pt x="371621" y="136421"/>
                  </a:cubicBezTo>
                  <a:cubicBezTo>
                    <a:pt x="378045" y="135779"/>
                    <a:pt x="381258" y="136421"/>
                    <a:pt x="387040" y="135137"/>
                  </a:cubicBezTo>
                  <a:cubicBezTo>
                    <a:pt x="392823" y="133852"/>
                    <a:pt x="397963" y="134494"/>
                    <a:pt x="401175" y="131924"/>
                  </a:cubicBezTo>
                  <a:cubicBezTo>
                    <a:pt x="404387" y="129354"/>
                    <a:pt x="407600" y="126784"/>
                    <a:pt x="407600" y="126784"/>
                  </a:cubicBezTo>
                  <a:cubicBezTo>
                    <a:pt x="407600" y="126784"/>
                    <a:pt x="424305" y="113292"/>
                    <a:pt x="433299" y="104297"/>
                  </a:cubicBezTo>
                  <a:cubicBezTo>
                    <a:pt x="441652" y="95302"/>
                    <a:pt x="450004" y="86307"/>
                    <a:pt x="452574" y="82453"/>
                  </a:cubicBezTo>
                  <a:cubicBezTo>
                    <a:pt x="455144" y="78598"/>
                    <a:pt x="465424" y="66390"/>
                    <a:pt x="466066" y="66390"/>
                  </a:cubicBezTo>
                  <a:cubicBezTo>
                    <a:pt x="467351" y="65748"/>
                    <a:pt x="468636" y="63820"/>
                    <a:pt x="468636" y="67675"/>
                  </a:cubicBezTo>
                  <a:cubicBezTo>
                    <a:pt x="468636" y="72173"/>
                    <a:pt x="466066" y="75385"/>
                    <a:pt x="464139" y="79883"/>
                  </a:cubicBezTo>
                  <a:cubicBezTo>
                    <a:pt x="462854" y="84380"/>
                    <a:pt x="458356" y="91447"/>
                    <a:pt x="462211" y="97230"/>
                  </a:cubicBezTo>
                  <a:cubicBezTo>
                    <a:pt x="466066" y="103655"/>
                    <a:pt x="473133" y="109437"/>
                    <a:pt x="475061" y="105582"/>
                  </a:cubicBezTo>
                  <a:cubicBezTo>
                    <a:pt x="476988" y="101727"/>
                    <a:pt x="478273" y="99157"/>
                    <a:pt x="476988" y="94017"/>
                  </a:cubicBezTo>
                  <a:cubicBezTo>
                    <a:pt x="475704" y="88877"/>
                    <a:pt x="473133" y="83095"/>
                    <a:pt x="476988" y="79240"/>
                  </a:cubicBezTo>
                  <a:cubicBezTo>
                    <a:pt x="480201" y="74743"/>
                    <a:pt x="484698" y="72815"/>
                    <a:pt x="488553" y="69603"/>
                  </a:cubicBezTo>
                  <a:cubicBezTo>
                    <a:pt x="492408" y="66390"/>
                    <a:pt x="494336" y="65748"/>
                    <a:pt x="496906" y="63178"/>
                  </a:cubicBezTo>
                  <a:cubicBezTo>
                    <a:pt x="499475" y="60608"/>
                    <a:pt x="502045" y="56753"/>
                    <a:pt x="502045" y="55468"/>
                  </a:cubicBezTo>
                  <a:cubicBezTo>
                    <a:pt x="502045" y="53541"/>
                    <a:pt x="500761" y="48401"/>
                    <a:pt x="498833" y="47116"/>
                  </a:cubicBezTo>
                  <a:cubicBezTo>
                    <a:pt x="496906" y="46473"/>
                    <a:pt x="494336" y="42618"/>
                    <a:pt x="489838" y="46473"/>
                  </a:cubicBezTo>
                  <a:cubicBezTo>
                    <a:pt x="485341" y="50328"/>
                    <a:pt x="484056" y="51613"/>
                    <a:pt x="482128" y="54826"/>
                  </a:cubicBezTo>
                  <a:cubicBezTo>
                    <a:pt x="480201" y="58038"/>
                    <a:pt x="478916" y="61250"/>
                    <a:pt x="475704" y="59965"/>
                  </a:cubicBezTo>
                  <a:cubicBezTo>
                    <a:pt x="472491" y="58681"/>
                    <a:pt x="468636" y="58038"/>
                    <a:pt x="469279" y="54183"/>
                  </a:cubicBezTo>
                  <a:cubicBezTo>
                    <a:pt x="469921" y="50328"/>
                    <a:pt x="473133" y="47758"/>
                    <a:pt x="475061" y="43903"/>
                  </a:cubicBezTo>
                  <a:cubicBezTo>
                    <a:pt x="476346" y="40691"/>
                    <a:pt x="481486" y="38121"/>
                    <a:pt x="483413" y="29769"/>
                  </a:cubicBezTo>
                  <a:cubicBezTo>
                    <a:pt x="484698" y="21416"/>
                    <a:pt x="484698" y="21416"/>
                    <a:pt x="485341" y="16919"/>
                  </a:cubicBezTo>
                  <a:cubicBezTo>
                    <a:pt x="485983" y="12421"/>
                    <a:pt x="487911" y="5997"/>
                    <a:pt x="491123" y="3427"/>
                  </a:cubicBezTo>
                  <a:cubicBezTo>
                    <a:pt x="494336" y="857"/>
                    <a:pt x="502045" y="-1713"/>
                    <a:pt x="504616" y="1499"/>
                  </a:cubicBezTo>
                  <a:cubicBezTo>
                    <a:pt x="507828" y="5354"/>
                    <a:pt x="509755" y="6639"/>
                    <a:pt x="512325" y="9209"/>
                  </a:cubicBezTo>
                  <a:cubicBezTo>
                    <a:pt x="514895" y="11779"/>
                    <a:pt x="517465" y="13706"/>
                    <a:pt x="523248" y="13706"/>
                  </a:cubicBezTo>
                  <a:cubicBezTo>
                    <a:pt x="529030" y="13706"/>
                    <a:pt x="534812" y="14349"/>
                    <a:pt x="536097" y="14991"/>
                  </a:cubicBezTo>
                  <a:cubicBezTo>
                    <a:pt x="537382" y="15634"/>
                    <a:pt x="549590" y="18846"/>
                    <a:pt x="561797" y="18846"/>
                  </a:cubicBezTo>
                  <a:lnTo>
                    <a:pt x="595206" y="18846"/>
                  </a:lnTo>
                  <a:cubicBezTo>
                    <a:pt x="598419" y="18846"/>
                    <a:pt x="607413" y="20131"/>
                    <a:pt x="608056" y="21416"/>
                  </a:cubicBezTo>
                  <a:cubicBezTo>
                    <a:pt x="608056" y="22701"/>
                    <a:pt x="610626" y="23986"/>
                    <a:pt x="603559" y="26556"/>
                  </a:cubicBezTo>
                  <a:cubicBezTo>
                    <a:pt x="596491" y="29126"/>
                    <a:pt x="591351" y="29769"/>
                    <a:pt x="584284" y="30411"/>
                  </a:cubicBezTo>
                  <a:cubicBezTo>
                    <a:pt x="577217" y="31054"/>
                    <a:pt x="567579" y="31054"/>
                    <a:pt x="558584" y="31054"/>
                  </a:cubicBezTo>
                  <a:cubicBezTo>
                    <a:pt x="549590" y="31054"/>
                    <a:pt x="545735" y="31054"/>
                    <a:pt x="537382" y="31054"/>
                  </a:cubicBezTo>
                  <a:cubicBezTo>
                    <a:pt x="529030" y="31054"/>
                    <a:pt x="523248" y="32339"/>
                    <a:pt x="521963" y="34266"/>
                  </a:cubicBezTo>
                  <a:cubicBezTo>
                    <a:pt x="520678" y="36193"/>
                    <a:pt x="516180" y="41333"/>
                    <a:pt x="516823" y="45188"/>
                  </a:cubicBezTo>
                  <a:cubicBezTo>
                    <a:pt x="517465" y="49043"/>
                    <a:pt x="517465" y="50328"/>
                    <a:pt x="521963" y="51613"/>
                  </a:cubicBezTo>
                  <a:cubicBezTo>
                    <a:pt x="526460" y="52256"/>
                    <a:pt x="532885" y="52898"/>
                    <a:pt x="538025" y="50971"/>
                  </a:cubicBezTo>
                  <a:cubicBezTo>
                    <a:pt x="543165" y="48401"/>
                    <a:pt x="546377" y="44546"/>
                    <a:pt x="553444" y="44546"/>
                  </a:cubicBezTo>
                  <a:cubicBezTo>
                    <a:pt x="559869" y="44546"/>
                    <a:pt x="574647" y="44546"/>
                    <a:pt x="575931" y="45188"/>
                  </a:cubicBezTo>
                  <a:cubicBezTo>
                    <a:pt x="577217" y="45831"/>
                    <a:pt x="580429" y="45831"/>
                    <a:pt x="583641" y="45831"/>
                  </a:cubicBezTo>
                  <a:cubicBezTo>
                    <a:pt x="586854" y="45831"/>
                    <a:pt x="595206" y="41333"/>
                    <a:pt x="599704" y="40048"/>
                  </a:cubicBezTo>
                  <a:cubicBezTo>
                    <a:pt x="604201" y="38763"/>
                    <a:pt x="613838" y="34908"/>
                    <a:pt x="620906" y="32981"/>
                  </a:cubicBezTo>
                  <a:cubicBezTo>
                    <a:pt x="628615" y="31696"/>
                    <a:pt x="636325" y="28484"/>
                    <a:pt x="638895" y="31054"/>
                  </a:cubicBezTo>
                  <a:cubicBezTo>
                    <a:pt x="641465" y="33624"/>
                    <a:pt x="645320" y="41333"/>
                    <a:pt x="645320" y="44546"/>
                  </a:cubicBezTo>
                  <a:cubicBezTo>
                    <a:pt x="645320" y="47758"/>
                    <a:pt x="646605" y="63820"/>
                    <a:pt x="654958" y="72815"/>
                  </a:cubicBezTo>
                  <a:cubicBezTo>
                    <a:pt x="663310" y="81810"/>
                    <a:pt x="669735" y="88877"/>
                    <a:pt x="678087" y="90162"/>
                  </a:cubicBezTo>
                  <a:cubicBezTo>
                    <a:pt x="686439" y="91447"/>
                    <a:pt x="690294" y="90805"/>
                    <a:pt x="693507" y="92732"/>
                  </a:cubicBezTo>
                  <a:cubicBezTo>
                    <a:pt x="696077" y="94660"/>
                    <a:pt x="701216" y="98515"/>
                    <a:pt x="706999" y="101085"/>
                  </a:cubicBezTo>
                  <a:cubicBezTo>
                    <a:pt x="706999" y="101085"/>
                    <a:pt x="714066" y="100442"/>
                    <a:pt x="717921" y="102370"/>
                  </a:cubicBezTo>
                  <a:cubicBezTo>
                    <a:pt x="722419" y="104297"/>
                    <a:pt x="728201" y="112649"/>
                    <a:pt x="731413" y="115862"/>
                  </a:cubicBezTo>
                  <a:cubicBezTo>
                    <a:pt x="734626" y="119074"/>
                    <a:pt x="745548" y="124857"/>
                    <a:pt x="743621" y="128712"/>
                  </a:cubicBezTo>
                  <a:cubicBezTo>
                    <a:pt x="741693" y="133209"/>
                    <a:pt x="735268" y="135779"/>
                    <a:pt x="736553" y="137706"/>
                  </a:cubicBezTo>
                  <a:cubicBezTo>
                    <a:pt x="737196" y="139634"/>
                    <a:pt x="742336" y="142846"/>
                    <a:pt x="745548" y="142846"/>
                  </a:cubicBezTo>
                  <a:cubicBezTo>
                    <a:pt x="748761" y="142846"/>
                    <a:pt x="756470" y="144131"/>
                    <a:pt x="757755" y="146701"/>
                  </a:cubicBezTo>
                  <a:cubicBezTo>
                    <a:pt x="759040" y="149271"/>
                    <a:pt x="759683" y="157624"/>
                    <a:pt x="762895" y="160194"/>
                  </a:cubicBezTo>
                  <a:cubicBezTo>
                    <a:pt x="766108" y="162763"/>
                    <a:pt x="773175" y="163406"/>
                    <a:pt x="773818" y="163406"/>
                  </a:cubicBezTo>
                  <a:cubicBezTo>
                    <a:pt x="774460" y="162763"/>
                    <a:pt x="776388" y="159551"/>
                    <a:pt x="774460" y="157624"/>
                  </a:cubicBezTo>
                  <a:cubicBezTo>
                    <a:pt x="772533" y="155054"/>
                    <a:pt x="769963" y="152484"/>
                    <a:pt x="768678" y="150556"/>
                  </a:cubicBezTo>
                  <a:cubicBezTo>
                    <a:pt x="767393" y="149271"/>
                    <a:pt x="763538" y="147986"/>
                    <a:pt x="766750" y="144774"/>
                  </a:cubicBezTo>
                  <a:cubicBezTo>
                    <a:pt x="770605" y="141561"/>
                    <a:pt x="779600" y="137064"/>
                    <a:pt x="779600" y="137064"/>
                  </a:cubicBezTo>
                  <a:cubicBezTo>
                    <a:pt x="779600" y="137064"/>
                    <a:pt x="798875" y="132567"/>
                    <a:pt x="804657" y="129354"/>
                  </a:cubicBezTo>
                  <a:cubicBezTo>
                    <a:pt x="810439" y="126142"/>
                    <a:pt x="814294" y="122287"/>
                    <a:pt x="817507" y="121644"/>
                  </a:cubicBezTo>
                  <a:cubicBezTo>
                    <a:pt x="821362" y="121002"/>
                    <a:pt x="828429" y="119074"/>
                    <a:pt x="829714" y="121644"/>
                  </a:cubicBezTo>
                  <a:cubicBezTo>
                    <a:pt x="830999" y="124214"/>
                    <a:pt x="836139" y="128069"/>
                    <a:pt x="838709" y="126784"/>
                  </a:cubicBezTo>
                  <a:cubicBezTo>
                    <a:pt x="841279" y="125499"/>
                    <a:pt x="846419" y="119717"/>
                    <a:pt x="848989" y="119717"/>
                  </a:cubicBezTo>
                  <a:cubicBezTo>
                    <a:pt x="850916" y="119074"/>
                    <a:pt x="859268" y="117789"/>
                    <a:pt x="859911" y="119074"/>
                  </a:cubicBezTo>
                  <a:cubicBezTo>
                    <a:pt x="860553" y="120359"/>
                    <a:pt x="863123" y="131924"/>
                    <a:pt x="863123" y="132567"/>
                  </a:cubicBezTo>
                  <a:cubicBezTo>
                    <a:pt x="863123" y="133209"/>
                    <a:pt x="876616" y="149271"/>
                    <a:pt x="880471" y="153769"/>
                  </a:cubicBezTo>
                  <a:cubicBezTo>
                    <a:pt x="884325" y="158266"/>
                    <a:pt x="889465" y="162763"/>
                    <a:pt x="891393" y="166618"/>
                  </a:cubicBezTo>
                  <a:cubicBezTo>
                    <a:pt x="893320" y="170473"/>
                    <a:pt x="900388" y="178826"/>
                    <a:pt x="897175" y="181396"/>
                  </a:cubicBezTo>
                  <a:cubicBezTo>
                    <a:pt x="894605" y="183966"/>
                    <a:pt x="892035" y="188463"/>
                    <a:pt x="885610" y="187820"/>
                  </a:cubicBezTo>
                  <a:cubicBezTo>
                    <a:pt x="878543" y="187820"/>
                    <a:pt x="874046" y="184608"/>
                    <a:pt x="870833" y="181396"/>
                  </a:cubicBezTo>
                  <a:cubicBezTo>
                    <a:pt x="867621" y="178183"/>
                    <a:pt x="865693" y="174328"/>
                    <a:pt x="863123" y="173043"/>
                  </a:cubicBezTo>
                  <a:cubicBezTo>
                    <a:pt x="860553" y="171758"/>
                    <a:pt x="856056" y="172401"/>
                    <a:pt x="855413" y="175613"/>
                  </a:cubicBezTo>
                  <a:cubicBezTo>
                    <a:pt x="854771" y="178183"/>
                    <a:pt x="855413" y="182681"/>
                    <a:pt x="858626" y="186536"/>
                  </a:cubicBezTo>
                  <a:cubicBezTo>
                    <a:pt x="861838" y="190390"/>
                    <a:pt x="866336" y="195530"/>
                    <a:pt x="866336" y="196815"/>
                  </a:cubicBezTo>
                  <a:cubicBezTo>
                    <a:pt x="866336" y="198100"/>
                    <a:pt x="865693" y="199385"/>
                    <a:pt x="867621" y="201955"/>
                  </a:cubicBezTo>
                  <a:cubicBezTo>
                    <a:pt x="870191" y="205168"/>
                    <a:pt x="874688" y="205168"/>
                    <a:pt x="875331" y="207095"/>
                  </a:cubicBezTo>
                  <a:cubicBezTo>
                    <a:pt x="875331" y="208380"/>
                    <a:pt x="874046" y="208380"/>
                    <a:pt x="875331" y="214805"/>
                  </a:cubicBezTo>
                  <a:cubicBezTo>
                    <a:pt x="876616" y="221230"/>
                    <a:pt x="875973" y="224442"/>
                    <a:pt x="875973" y="228297"/>
                  </a:cubicBezTo>
                  <a:cubicBezTo>
                    <a:pt x="875973" y="232152"/>
                    <a:pt x="877258" y="234722"/>
                    <a:pt x="880471" y="235365"/>
                  </a:cubicBezTo>
                  <a:cubicBezTo>
                    <a:pt x="883683" y="235365"/>
                    <a:pt x="890108" y="230867"/>
                    <a:pt x="892035" y="230225"/>
                  </a:cubicBezTo>
                  <a:cubicBezTo>
                    <a:pt x="893963" y="230225"/>
                    <a:pt x="898460" y="236007"/>
                    <a:pt x="902315" y="230867"/>
                  </a:cubicBezTo>
                  <a:cubicBezTo>
                    <a:pt x="906170" y="225085"/>
                    <a:pt x="908740" y="219945"/>
                    <a:pt x="908097" y="216732"/>
                  </a:cubicBezTo>
                  <a:cubicBezTo>
                    <a:pt x="908097" y="213520"/>
                    <a:pt x="906812" y="209023"/>
                    <a:pt x="908097" y="208380"/>
                  </a:cubicBezTo>
                  <a:cubicBezTo>
                    <a:pt x="910025" y="207738"/>
                    <a:pt x="915807" y="207738"/>
                    <a:pt x="917092" y="210308"/>
                  </a:cubicBezTo>
                  <a:cubicBezTo>
                    <a:pt x="917735" y="212877"/>
                    <a:pt x="919662" y="218017"/>
                    <a:pt x="922875" y="216090"/>
                  </a:cubicBezTo>
                  <a:cubicBezTo>
                    <a:pt x="926087" y="214162"/>
                    <a:pt x="928015" y="211593"/>
                    <a:pt x="928657" y="206453"/>
                  </a:cubicBezTo>
                  <a:cubicBezTo>
                    <a:pt x="929299" y="201313"/>
                    <a:pt x="929299" y="194245"/>
                    <a:pt x="925445" y="192318"/>
                  </a:cubicBezTo>
                  <a:cubicBezTo>
                    <a:pt x="920947" y="191033"/>
                    <a:pt x="913880" y="192318"/>
                    <a:pt x="911310" y="187178"/>
                  </a:cubicBezTo>
                  <a:cubicBezTo>
                    <a:pt x="909383" y="182038"/>
                    <a:pt x="900388" y="167261"/>
                    <a:pt x="899745" y="165976"/>
                  </a:cubicBezTo>
                  <a:cubicBezTo>
                    <a:pt x="899103" y="164691"/>
                    <a:pt x="893963" y="160836"/>
                    <a:pt x="896533" y="159551"/>
                  </a:cubicBezTo>
                  <a:cubicBezTo>
                    <a:pt x="899103" y="158266"/>
                    <a:pt x="904243" y="156981"/>
                    <a:pt x="909383" y="160194"/>
                  </a:cubicBezTo>
                  <a:cubicBezTo>
                    <a:pt x="914522" y="163406"/>
                    <a:pt x="924802" y="171116"/>
                    <a:pt x="926730" y="173686"/>
                  </a:cubicBezTo>
                  <a:cubicBezTo>
                    <a:pt x="928657" y="176256"/>
                    <a:pt x="940864" y="189748"/>
                    <a:pt x="944719" y="192318"/>
                  </a:cubicBezTo>
                  <a:cubicBezTo>
                    <a:pt x="947932" y="194888"/>
                    <a:pt x="953072" y="198743"/>
                    <a:pt x="954999" y="200670"/>
                  </a:cubicBezTo>
                  <a:cubicBezTo>
                    <a:pt x="956927" y="203240"/>
                    <a:pt x="966564" y="210950"/>
                    <a:pt x="969776" y="212877"/>
                  </a:cubicBezTo>
                  <a:cubicBezTo>
                    <a:pt x="972989" y="214805"/>
                    <a:pt x="974274" y="214805"/>
                    <a:pt x="976201" y="221230"/>
                  </a:cubicBezTo>
                  <a:cubicBezTo>
                    <a:pt x="978129" y="227655"/>
                    <a:pt x="983269" y="238577"/>
                    <a:pt x="980698" y="241789"/>
                  </a:cubicBezTo>
                  <a:cubicBezTo>
                    <a:pt x="978129" y="245644"/>
                    <a:pt x="974274" y="248857"/>
                    <a:pt x="965921" y="248214"/>
                  </a:cubicBezTo>
                  <a:cubicBezTo>
                    <a:pt x="956927" y="247572"/>
                    <a:pt x="939579" y="245002"/>
                    <a:pt x="933797" y="247572"/>
                  </a:cubicBezTo>
                  <a:cubicBezTo>
                    <a:pt x="928015" y="250142"/>
                    <a:pt x="928015" y="255924"/>
                    <a:pt x="919020" y="256567"/>
                  </a:cubicBezTo>
                  <a:cubicBezTo>
                    <a:pt x="910667" y="257209"/>
                    <a:pt x="908097" y="257209"/>
                    <a:pt x="905528" y="256567"/>
                  </a:cubicBezTo>
                  <a:cubicBezTo>
                    <a:pt x="902958" y="255924"/>
                    <a:pt x="899745" y="252712"/>
                    <a:pt x="894605" y="254639"/>
                  </a:cubicBezTo>
                  <a:cubicBezTo>
                    <a:pt x="889465" y="256567"/>
                    <a:pt x="886895" y="259137"/>
                    <a:pt x="882398" y="260422"/>
                  </a:cubicBezTo>
                  <a:cubicBezTo>
                    <a:pt x="877900" y="261706"/>
                    <a:pt x="871476" y="258494"/>
                    <a:pt x="870833" y="260422"/>
                  </a:cubicBezTo>
                  <a:cubicBezTo>
                    <a:pt x="870191" y="262349"/>
                    <a:pt x="879186" y="271986"/>
                    <a:pt x="881755" y="273271"/>
                  </a:cubicBezTo>
                  <a:cubicBezTo>
                    <a:pt x="883683" y="274556"/>
                    <a:pt x="895890" y="282909"/>
                    <a:pt x="917735" y="292546"/>
                  </a:cubicBezTo>
                  <a:cubicBezTo>
                    <a:pt x="939579" y="302183"/>
                    <a:pt x="941507" y="304753"/>
                    <a:pt x="949859" y="304753"/>
                  </a:cubicBezTo>
                  <a:cubicBezTo>
                    <a:pt x="958211" y="304753"/>
                    <a:pt x="970419" y="300898"/>
                    <a:pt x="970419" y="304753"/>
                  </a:cubicBezTo>
                  <a:cubicBezTo>
                    <a:pt x="970419" y="308608"/>
                    <a:pt x="963994" y="313105"/>
                    <a:pt x="971061" y="315033"/>
                  </a:cubicBezTo>
                  <a:cubicBezTo>
                    <a:pt x="978129" y="316960"/>
                    <a:pt x="984553" y="318888"/>
                    <a:pt x="990978" y="317603"/>
                  </a:cubicBezTo>
                  <a:cubicBezTo>
                    <a:pt x="997403" y="316318"/>
                    <a:pt x="1008326" y="318245"/>
                    <a:pt x="1008968" y="320173"/>
                  </a:cubicBezTo>
                  <a:cubicBezTo>
                    <a:pt x="1009610" y="322100"/>
                    <a:pt x="1006398" y="329168"/>
                    <a:pt x="1005756" y="332380"/>
                  </a:cubicBezTo>
                  <a:cubicBezTo>
                    <a:pt x="1005756" y="334950"/>
                    <a:pt x="1001258" y="332380"/>
                    <a:pt x="1009610" y="353582"/>
                  </a:cubicBezTo>
                  <a:cubicBezTo>
                    <a:pt x="1017963" y="374784"/>
                    <a:pt x="1019248" y="376712"/>
                    <a:pt x="1019890" y="387634"/>
                  </a:cubicBezTo>
                  <a:cubicBezTo>
                    <a:pt x="1020533" y="398556"/>
                    <a:pt x="1026315" y="409479"/>
                    <a:pt x="1027600" y="412691"/>
                  </a:cubicBezTo>
                  <a:cubicBezTo>
                    <a:pt x="1028885" y="415903"/>
                    <a:pt x="1034668" y="424898"/>
                    <a:pt x="1042377" y="442245"/>
                  </a:cubicBezTo>
                  <a:cubicBezTo>
                    <a:pt x="1044305" y="446100"/>
                    <a:pt x="1045590" y="449313"/>
                    <a:pt x="1046875" y="451883"/>
                  </a:cubicBezTo>
                  <a:lnTo>
                    <a:pt x="1046875" y="451883"/>
                  </a:lnTo>
                  <a:cubicBezTo>
                    <a:pt x="1048160" y="454453"/>
                    <a:pt x="1048802" y="455738"/>
                    <a:pt x="1049445" y="457665"/>
                  </a:cubicBezTo>
                  <a:cubicBezTo>
                    <a:pt x="1050087" y="458308"/>
                    <a:pt x="1050087" y="458950"/>
                    <a:pt x="1050730" y="459593"/>
                  </a:cubicBezTo>
                  <a:cubicBezTo>
                    <a:pt x="1051372" y="460878"/>
                    <a:pt x="1051372" y="461520"/>
                    <a:pt x="1052015" y="462163"/>
                  </a:cubicBezTo>
                  <a:cubicBezTo>
                    <a:pt x="1052657" y="462805"/>
                    <a:pt x="1052657" y="463448"/>
                    <a:pt x="1052657" y="464732"/>
                  </a:cubicBezTo>
                  <a:cubicBezTo>
                    <a:pt x="1052657" y="465375"/>
                    <a:pt x="1053300" y="466660"/>
                    <a:pt x="1053300" y="467302"/>
                  </a:cubicBezTo>
                  <a:cubicBezTo>
                    <a:pt x="1053300" y="467945"/>
                    <a:pt x="1053300" y="469230"/>
                    <a:pt x="1053942" y="469872"/>
                  </a:cubicBezTo>
                  <a:cubicBezTo>
                    <a:pt x="1054585" y="469872"/>
                    <a:pt x="1054585" y="471157"/>
                    <a:pt x="1054585" y="472442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 459">
              <a:extLst>
                <a:ext uri="{FF2B5EF4-FFF2-40B4-BE49-F238E27FC236}">
                  <a16:creationId xmlns:a16="http://schemas.microsoft.com/office/drawing/2014/main" id="{10602D42-A325-0F55-6F03-03E6A4D11917}"/>
                </a:ext>
              </a:extLst>
            </p:cNvPr>
            <p:cNvSpPr/>
            <p:nvPr/>
          </p:nvSpPr>
          <p:spPr>
            <a:xfrm>
              <a:off x="3113328" y="2429090"/>
              <a:ext cx="1054584" cy="616866"/>
            </a:xfrm>
            <a:custGeom>
              <a:avLst/>
              <a:gdLst>
                <a:gd name="connsiteX0" fmla="*/ 1054585 w 1054584"/>
                <a:gd name="connsiteY0" fmla="*/ 472442 h 616866"/>
                <a:gd name="connsiteX1" fmla="*/ 1048802 w 1054584"/>
                <a:gd name="connsiteY1" fmla="*/ 472442 h 616866"/>
                <a:gd name="connsiteX2" fmla="*/ 1034668 w 1054584"/>
                <a:gd name="connsiteY2" fmla="*/ 473085 h 616866"/>
                <a:gd name="connsiteX3" fmla="*/ 1020533 w 1054584"/>
                <a:gd name="connsiteY3" fmla="*/ 485292 h 616866"/>
                <a:gd name="connsiteX4" fmla="*/ 999331 w 1054584"/>
                <a:gd name="connsiteY4" fmla="*/ 505852 h 616866"/>
                <a:gd name="connsiteX5" fmla="*/ 969134 w 1054584"/>
                <a:gd name="connsiteY5" fmla="*/ 505852 h 616866"/>
                <a:gd name="connsiteX6" fmla="*/ 951787 w 1054584"/>
                <a:gd name="connsiteY6" fmla="*/ 482722 h 616866"/>
                <a:gd name="connsiteX7" fmla="*/ 950502 w 1054584"/>
                <a:gd name="connsiteY7" fmla="*/ 471157 h 616866"/>
                <a:gd name="connsiteX8" fmla="*/ 920305 w 1054584"/>
                <a:gd name="connsiteY8" fmla="*/ 451883 h 616866"/>
                <a:gd name="connsiteX9" fmla="*/ 889465 w 1054584"/>
                <a:gd name="connsiteY9" fmla="*/ 454453 h 616866"/>
                <a:gd name="connsiteX10" fmla="*/ 870191 w 1054584"/>
                <a:gd name="connsiteY10" fmla="*/ 462163 h 616866"/>
                <a:gd name="connsiteX11" fmla="*/ 849631 w 1054584"/>
                <a:gd name="connsiteY11" fmla="*/ 462805 h 616866"/>
                <a:gd name="connsiteX12" fmla="*/ 834211 w 1054584"/>
                <a:gd name="connsiteY12" fmla="*/ 455095 h 616866"/>
                <a:gd name="connsiteX13" fmla="*/ 804657 w 1054584"/>
                <a:gd name="connsiteY13" fmla="*/ 464732 h 616866"/>
                <a:gd name="connsiteX14" fmla="*/ 792450 w 1054584"/>
                <a:gd name="connsiteY14" fmla="*/ 493644 h 616866"/>
                <a:gd name="connsiteX15" fmla="*/ 782812 w 1054584"/>
                <a:gd name="connsiteY15" fmla="*/ 517416 h 616866"/>
                <a:gd name="connsiteX16" fmla="*/ 761610 w 1054584"/>
                <a:gd name="connsiteY16" fmla="*/ 525769 h 616866"/>
                <a:gd name="connsiteX17" fmla="*/ 739766 w 1054584"/>
                <a:gd name="connsiteY17" fmla="*/ 521271 h 616866"/>
                <a:gd name="connsiteX18" fmla="*/ 712781 w 1054584"/>
                <a:gd name="connsiteY18" fmla="*/ 526411 h 616866"/>
                <a:gd name="connsiteX19" fmla="*/ 689009 w 1054584"/>
                <a:gd name="connsiteY19" fmla="*/ 541831 h 616866"/>
                <a:gd name="connsiteX20" fmla="*/ 680014 w 1054584"/>
                <a:gd name="connsiteY20" fmla="*/ 557251 h 616866"/>
                <a:gd name="connsiteX21" fmla="*/ 667165 w 1054584"/>
                <a:gd name="connsiteY21" fmla="*/ 568173 h 616866"/>
                <a:gd name="connsiteX22" fmla="*/ 621548 w 1054584"/>
                <a:gd name="connsiteY22" fmla="*/ 564961 h 616866"/>
                <a:gd name="connsiteX23" fmla="*/ 593921 w 1054584"/>
                <a:gd name="connsiteY23" fmla="*/ 555966 h 616866"/>
                <a:gd name="connsiteX24" fmla="*/ 561797 w 1054584"/>
                <a:gd name="connsiteY24" fmla="*/ 544401 h 616866"/>
                <a:gd name="connsiteX25" fmla="*/ 539310 w 1054584"/>
                <a:gd name="connsiteY25" fmla="*/ 536049 h 616866"/>
                <a:gd name="connsiteX26" fmla="*/ 502045 w 1054584"/>
                <a:gd name="connsiteY26" fmla="*/ 533479 h 616866"/>
                <a:gd name="connsiteX27" fmla="*/ 476346 w 1054584"/>
                <a:gd name="connsiteY27" fmla="*/ 521271 h 616866"/>
                <a:gd name="connsiteX28" fmla="*/ 450646 w 1054584"/>
                <a:gd name="connsiteY28" fmla="*/ 505852 h 616866"/>
                <a:gd name="connsiteX29" fmla="*/ 429444 w 1054584"/>
                <a:gd name="connsiteY29" fmla="*/ 494929 h 616866"/>
                <a:gd name="connsiteX30" fmla="*/ 394750 w 1054584"/>
                <a:gd name="connsiteY30" fmla="*/ 494929 h 616866"/>
                <a:gd name="connsiteX31" fmla="*/ 384470 w 1054584"/>
                <a:gd name="connsiteY31" fmla="*/ 514847 h 616866"/>
                <a:gd name="connsiteX32" fmla="*/ 343994 w 1054584"/>
                <a:gd name="connsiteY32" fmla="*/ 550826 h 616866"/>
                <a:gd name="connsiteX33" fmla="*/ 294522 w 1054584"/>
                <a:gd name="connsiteY33" fmla="*/ 549541 h 616866"/>
                <a:gd name="connsiteX34" fmla="*/ 268180 w 1054584"/>
                <a:gd name="connsiteY34" fmla="*/ 568173 h 616866"/>
                <a:gd name="connsiteX35" fmla="*/ 264325 w 1054584"/>
                <a:gd name="connsiteY35" fmla="*/ 574598 h 616866"/>
                <a:gd name="connsiteX36" fmla="*/ 264325 w 1054584"/>
                <a:gd name="connsiteY36" fmla="*/ 593230 h 616866"/>
                <a:gd name="connsiteX37" fmla="*/ 246978 w 1054584"/>
                <a:gd name="connsiteY37" fmla="*/ 604795 h 616866"/>
                <a:gd name="connsiteX38" fmla="*/ 227061 w 1054584"/>
                <a:gd name="connsiteY38" fmla="*/ 599012 h 616866"/>
                <a:gd name="connsiteX39" fmla="*/ 214854 w 1054584"/>
                <a:gd name="connsiteY39" fmla="*/ 614432 h 616866"/>
                <a:gd name="connsiteX40" fmla="*/ 205216 w 1054584"/>
                <a:gd name="connsiteY40" fmla="*/ 614432 h 616866"/>
                <a:gd name="connsiteX41" fmla="*/ 180802 w 1054584"/>
                <a:gd name="connsiteY41" fmla="*/ 604795 h 616866"/>
                <a:gd name="connsiteX42" fmla="*/ 174377 w 1054584"/>
                <a:gd name="connsiteY42" fmla="*/ 603510 h 616866"/>
                <a:gd name="connsiteX43" fmla="*/ 158315 w 1054584"/>
                <a:gd name="connsiteY43" fmla="*/ 593230 h 616866"/>
                <a:gd name="connsiteX44" fmla="*/ 145465 w 1054584"/>
                <a:gd name="connsiteY44" fmla="*/ 575883 h 616866"/>
                <a:gd name="connsiteX45" fmla="*/ 126190 w 1054584"/>
                <a:gd name="connsiteY45" fmla="*/ 560463 h 616866"/>
                <a:gd name="connsiteX46" fmla="*/ 111413 w 1054584"/>
                <a:gd name="connsiteY46" fmla="*/ 541831 h 616866"/>
                <a:gd name="connsiteX47" fmla="*/ 77361 w 1054584"/>
                <a:gd name="connsiteY47" fmla="*/ 512277 h 616866"/>
                <a:gd name="connsiteX48" fmla="*/ 54874 w 1054584"/>
                <a:gd name="connsiteY48" fmla="*/ 523841 h 616866"/>
                <a:gd name="connsiteX49" fmla="*/ 34315 w 1054584"/>
                <a:gd name="connsiteY49" fmla="*/ 512919 h 616866"/>
                <a:gd name="connsiteX50" fmla="*/ 8615 w 1054584"/>
                <a:gd name="connsiteY50" fmla="*/ 502639 h 616866"/>
                <a:gd name="connsiteX51" fmla="*/ 4118 w 1054584"/>
                <a:gd name="connsiteY51" fmla="*/ 500069 h 616866"/>
                <a:gd name="connsiteX52" fmla="*/ 905 w 1054584"/>
                <a:gd name="connsiteY52" fmla="*/ 468587 h 616866"/>
                <a:gd name="connsiteX53" fmla="*/ 26605 w 1054584"/>
                <a:gd name="connsiteY53" fmla="*/ 458308 h 616866"/>
                <a:gd name="connsiteX54" fmla="*/ 49734 w 1054584"/>
                <a:gd name="connsiteY54" fmla="*/ 440960 h 616866"/>
                <a:gd name="connsiteX55" fmla="*/ 60014 w 1054584"/>
                <a:gd name="connsiteY55" fmla="*/ 417831 h 616866"/>
                <a:gd name="connsiteX56" fmla="*/ 73506 w 1054584"/>
                <a:gd name="connsiteY56" fmla="*/ 413976 h 616866"/>
                <a:gd name="connsiteX57" fmla="*/ 86356 w 1054584"/>
                <a:gd name="connsiteY57" fmla="*/ 396629 h 616866"/>
                <a:gd name="connsiteX58" fmla="*/ 91496 w 1054584"/>
                <a:gd name="connsiteY58" fmla="*/ 390204 h 616866"/>
                <a:gd name="connsiteX59" fmla="*/ 78646 w 1054584"/>
                <a:gd name="connsiteY59" fmla="*/ 363220 h 616866"/>
                <a:gd name="connsiteX60" fmla="*/ 55517 w 1054584"/>
                <a:gd name="connsiteY60" fmla="*/ 363220 h 616866"/>
                <a:gd name="connsiteX61" fmla="*/ 35600 w 1054584"/>
                <a:gd name="connsiteY61" fmla="*/ 328525 h 616866"/>
                <a:gd name="connsiteX62" fmla="*/ 26605 w 1054584"/>
                <a:gd name="connsiteY62" fmla="*/ 298971 h 616866"/>
                <a:gd name="connsiteX63" fmla="*/ 37527 w 1054584"/>
                <a:gd name="connsiteY63" fmla="*/ 275199 h 616866"/>
                <a:gd name="connsiteX64" fmla="*/ 66439 w 1054584"/>
                <a:gd name="connsiteY64" fmla="*/ 258494 h 616866"/>
                <a:gd name="connsiteX65" fmla="*/ 64512 w 1054584"/>
                <a:gd name="connsiteY65" fmla="*/ 246287 h 616866"/>
                <a:gd name="connsiteX66" fmla="*/ 68366 w 1054584"/>
                <a:gd name="connsiteY66" fmla="*/ 245644 h 616866"/>
                <a:gd name="connsiteX67" fmla="*/ 85714 w 1054584"/>
                <a:gd name="connsiteY67" fmla="*/ 235365 h 616866"/>
                <a:gd name="connsiteX68" fmla="*/ 108201 w 1054584"/>
                <a:gd name="connsiteY68" fmla="*/ 225085 h 616866"/>
                <a:gd name="connsiteX69" fmla="*/ 135185 w 1054584"/>
                <a:gd name="connsiteY69" fmla="*/ 220587 h 616866"/>
                <a:gd name="connsiteX70" fmla="*/ 145465 w 1054584"/>
                <a:gd name="connsiteY70" fmla="*/ 223800 h 616866"/>
                <a:gd name="connsiteX71" fmla="*/ 157672 w 1054584"/>
                <a:gd name="connsiteY71" fmla="*/ 231510 h 616866"/>
                <a:gd name="connsiteX72" fmla="*/ 161527 w 1054584"/>
                <a:gd name="connsiteY72" fmla="*/ 248214 h 616866"/>
                <a:gd name="connsiteX73" fmla="*/ 177589 w 1054584"/>
                <a:gd name="connsiteY73" fmla="*/ 257209 h 616866"/>
                <a:gd name="connsiteX74" fmla="*/ 194294 w 1054584"/>
                <a:gd name="connsiteY74" fmla="*/ 255924 h 616866"/>
                <a:gd name="connsiteX75" fmla="*/ 204574 w 1054584"/>
                <a:gd name="connsiteY75" fmla="*/ 259779 h 616866"/>
                <a:gd name="connsiteX76" fmla="*/ 217424 w 1054584"/>
                <a:gd name="connsiteY76" fmla="*/ 250784 h 616866"/>
                <a:gd name="connsiteX77" fmla="*/ 205859 w 1054584"/>
                <a:gd name="connsiteY77" fmla="*/ 242432 h 616866"/>
                <a:gd name="connsiteX78" fmla="*/ 194937 w 1054584"/>
                <a:gd name="connsiteY78" fmla="*/ 236007 h 616866"/>
                <a:gd name="connsiteX79" fmla="*/ 199434 w 1054584"/>
                <a:gd name="connsiteY79" fmla="*/ 223157 h 616866"/>
                <a:gd name="connsiteX80" fmla="*/ 218066 w 1054584"/>
                <a:gd name="connsiteY80" fmla="*/ 219302 h 616866"/>
                <a:gd name="connsiteX81" fmla="*/ 230916 w 1054584"/>
                <a:gd name="connsiteY81" fmla="*/ 214805 h 616866"/>
                <a:gd name="connsiteX82" fmla="*/ 244408 w 1054584"/>
                <a:gd name="connsiteY82" fmla="*/ 210950 h 616866"/>
                <a:gd name="connsiteX83" fmla="*/ 259828 w 1054584"/>
                <a:gd name="connsiteY83" fmla="*/ 195530 h 616866"/>
                <a:gd name="connsiteX84" fmla="*/ 262398 w 1054584"/>
                <a:gd name="connsiteY84" fmla="*/ 182038 h 616866"/>
                <a:gd name="connsiteX85" fmla="*/ 255330 w 1054584"/>
                <a:gd name="connsiteY85" fmla="*/ 181396 h 616866"/>
                <a:gd name="connsiteX86" fmla="*/ 243123 w 1054584"/>
                <a:gd name="connsiteY86" fmla="*/ 194888 h 616866"/>
                <a:gd name="connsiteX87" fmla="*/ 234128 w 1054584"/>
                <a:gd name="connsiteY87" fmla="*/ 197458 h 616866"/>
                <a:gd name="connsiteX88" fmla="*/ 244408 w 1054584"/>
                <a:gd name="connsiteY88" fmla="*/ 179468 h 616866"/>
                <a:gd name="connsiteX89" fmla="*/ 256615 w 1054584"/>
                <a:gd name="connsiteY89" fmla="*/ 171116 h 616866"/>
                <a:gd name="connsiteX90" fmla="*/ 264968 w 1054584"/>
                <a:gd name="connsiteY90" fmla="*/ 168546 h 616866"/>
                <a:gd name="connsiteX91" fmla="*/ 272678 w 1054584"/>
                <a:gd name="connsiteY91" fmla="*/ 159551 h 616866"/>
                <a:gd name="connsiteX92" fmla="*/ 278460 w 1054584"/>
                <a:gd name="connsiteY92" fmla="*/ 150556 h 616866"/>
                <a:gd name="connsiteX93" fmla="*/ 301589 w 1054584"/>
                <a:gd name="connsiteY93" fmla="*/ 151199 h 616866"/>
                <a:gd name="connsiteX94" fmla="*/ 329216 w 1054584"/>
                <a:gd name="connsiteY94" fmla="*/ 151199 h 616866"/>
                <a:gd name="connsiteX95" fmla="*/ 348491 w 1054584"/>
                <a:gd name="connsiteY95" fmla="*/ 143489 h 616866"/>
                <a:gd name="connsiteX96" fmla="*/ 371621 w 1054584"/>
                <a:gd name="connsiteY96" fmla="*/ 136421 h 616866"/>
                <a:gd name="connsiteX97" fmla="*/ 387040 w 1054584"/>
                <a:gd name="connsiteY97" fmla="*/ 135137 h 616866"/>
                <a:gd name="connsiteX98" fmla="*/ 401175 w 1054584"/>
                <a:gd name="connsiteY98" fmla="*/ 131924 h 616866"/>
                <a:gd name="connsiteX99" fmla="*/ 407600 w 1054584"/>
                <a:gd name="connsiteY99" fmla="*/ 126784 h 616866"/>
                <a:gd name="connsiteX100" fmla="*/ 433299 w 1054584"/>
                <a:gd name="connsiteY100" fmla="*/ 104297 h 616866"/>
                <a:gd name="connsiteX101" fmla="*/ 452574 w 1054584"/>
                <a:gd name="connsiteY101" fmla="*/ 82453 h 616866"/>
                <a:gd name="connsiteX102" fmla="*/ 466066 w 1054584"/>
                <a:gd name="connsiteY102" fmla="*/ 66390 h 616866"/>
                <a:gd name="connsiteX103" fmla="*/ 468636 w 1054584"/>
                <a:gd name="connsiteY103" fmla="*/ 67675 h 616866"/>
                <a:gd name="connsiteX104" fmla="*/ 464139 w 1054584"/>
                <a:gd name="connsiteY104" fmla="*/ 79883 h 616866"/>
                <a:gd name="connsiteX105" fmla="*/ 462211 w 1054584"/>
                <a:gd name="connsiteY105" fmla="*/ 97230 h 616866"/>
                <a:gd name="connsiteX106" fmla="*/ 475061 w 1054584"/>
                <a:gd name="connsiteY106" fmla="*/ 105582 h 616866"/>
                <a:gd name="connsiteX107" fmla="*/ 476988 w 1054584"/>
                <a:gd name="connsiteY107" fmla="*/ 94017 h 616866"/>
                <a:gd name="connsiteX108" fmla="*/ 476988 w 1054584"/>
                <a:gd name="connsiteY108" fmla="*/ 79240 h 616866"/>
                <a:gd name="connsiteX109" fmla="*/ 488553 w 1054584"/>
                <a:gd name="connsiteY109" fmla="*/ 69603 h 616866"/>
                <a:gd name="connsiteX110" fmla="*/ 496906 w 1054584"/>
                <a:gd name="connsiteY110" fmla="*/ 63178 h 616866"/>
                <a:gd name="connsiteX111" fmla="*/ 502045 w 1054584"/>
                <a:gd name="connsiteY111" fmla="*/ 55468 h 616866"/>
                <a:gd name="connsiteX112" fmla="*/ 498833 w 1054584"/>
                <a:gd name="connsiteY112" fmla="*/ 47116 h 616866"/>
                <a:gd name="connsiteX113" fmla="*/ 489838 w 1054584"/>
                <a:gd name="connsiteY113" fmla="*/ 46473 h 616866"/>
                <a:gd name="connsiteX114" fmla="*/ 482128 w 1054584"/>
                <a:gd name="connsiteY114" fmla="*/ 54826 h 616866"/>
                <a:gd name="connsiteX115" fmla="*/ 475704 w 1054584"/>
                <a:gd name="connsiteY115" fmla="*/ 59965 h 616866"/>
                <a:gd name="connsiteX116" fmla="*/ 469279 w 1054584"/>
                <a:gd name="connsiteY116" fmla="*/ 54183 h 616866"/>
                <a:gd name="connsiteX117" fmla="*/ 475061 w 1054584"/>
                <a:gd name="connsiteY117" fmla="*/ 43903 h 616866"/>
                <a:gd name="connsiteX118" fmla="*/ 483413 w 1054584"/>
                <a:gd name="connsiteY118" fmla="*/ 29769 h 616866"/>
                <a:gd name="connsiteX119" fmla="*/ 485341 w 1054584"/>
                <a:gd name="connsiteY119" fmla="*/ 16919 h 616866"/>
                <a:gd name="connsiteX120" fmla="*/ 491123 w 1054584"/>
                <a:gd name="connsiteY120" fmla="*/ 3427 h 616866"/>
                <a:gd name="connsiteX121" fmla="*/ 504616 w 1054584"/>
                <a:gd name="connsiteY121" fmla="*/ 1499 h 616866"/>
                <a:gd name="connsiteX122" fmla="*/ 512325 w 1054584"/>
                <a:gd name="connsiteY122" fmla="*/ 9209 h 616866"/>
                <a:gd name="connsiteX123" fmla="*/ 523248 w 1054584"/>
                <a:gd name="connsiteY123" fmla="*/ 13706 h 616866"/>
                <a:gd name="connsiteX124" fmla="*/ 536097 w 1054584"/>
                <a:gd name="connsiteY124" fmla="*/ 14991 h 616866"/>
                <a:gd name="connsiteX125" fmla="*/ 561797 w 1054584"/>
                <a:gd name="connsiteY125" fmla="*/ 18846 h 616866"/>
                <a:gd name="connsiteX126" fmla="*/ 595206 w 1054584"/>
                <a:gd name="connsiteY126" fmla="*/ 18846 h 616866"/>
                <a:gd name="connsiteX127" fmla="*/ 608056 w 1054584"/>
                <a:gd name="connsiteY127" fmla="*/ 21416 h 616866"/>
                <a:gd name="connsiteX128" fmla="*/ 603559 w 1054584"/>
                <a:gd name="connsiteY128" fmla="*/ 26556 h 616866"/>
                <a:gd name="connsiteX129" fmla="*/ 584284 w 1054584"/>
                <a:gd name="connsiteY129" fmla="*/ 30411 h 616866"/>
                <a:gd name="connsiteX130" fmla="*/ 558584 w 1054584"/>
                <a:gd name="connsiteY130" fmla="*/ 31054 h 616866"/>
                <a:gd name="connsiteX131" fmla="*/ 537382 w 1054584"/>
                <a:gd name="connsiteY131" fmla="*/ 31054 h 616866"/>
                <a:gd name="connsiteX132" fmla="*/ 521963 w 1054584"/>
                <a:gd name="connsiteY132" fmla="*/ 34266 h 616866"/>
                <a:gd name="connsiteX133" fmla="*/ 516823 w 1054584"/>
                <a:gd name="connsiteY133" fmla="*/ 45188 h 616866"/>
                <a:gd name="connsiteX134" fmla="*/ 521963 w 1054584"/>
                <a:gd name="connsiteY134" fmla="*/ 51613 h 616866"/>
                <a:gd name="connsiteX135" fmla="*/ 538025 w 1054584"/>
                <a:gd name="connsiteY135" fmla="*/ 50971 h 616866"/>
                <a:gd name="connsiteX136" fmla="*/ 553444 w 1054584"/>
                <a:gd name="connsiteY136" fmla="*/ 44546 h 616866"/>
                <a:gd name="connsiteX137" fmla="*/ 575931 w 1054584"/>
                <a:gd name="connsiteY137" fmla="*/ 45188 h 616866"/>
                <a:gd name="connsiteX138" fmla="*/ 583641 w 1054584"/>
                <a:gd name="connsiteY138" fmla="*/ 45831 h 616866"/>
                <a:gd name="connsiteX139" fmla="*/ 599704 w 1054584"/>
                <a:gd name="connsiteY139" fmla="*/ 40048 h 616866"/>
                <a:gd name="connsiteX140" fmla="*/ 620906 w 1054584"/>
                <a:gd name="connsiteY140" fmla="*/ 32981 h 616866"/>
                <a:gd name="connsiteX141" fmla="*/ 638895 w 1054584"/>
                <a:gd name="connsiteY141" fmla="*/ 31054 h 616866"/>
                <a:gd name="connsiteX142" fmla="*/ 645320 w 1054584"/>
                <a:gd name="connsiteY142" fmla="*/ 44546 h 616866"/>
                <a:gd name="connsiteX143" fmla="*/ 654958 w 1054584"/>
                <a:gd name="connsiteY143" fmla="*/ 72815 h 616866"/>
                <a:gd name="connsiteX144" fmla="*/ 678087 w 1054584"/>
                <a:gd name="connsiteY144" fmla="*/ 90162 h 616866"/>
                <a:gd name="connsiteX145" fmla="*/ 693507 w 1054584"/>
                <a:gd name="connsiteY145" fmla="*/ 92732 h 616866"/>
                <a:gd name="connsiteX146" fmla="*/ 706999 w 1054584"/>
                <a:gd name="connsiteY146" fmla="*/ 101085 h 616866"/>
                <a:gd name="connsiteX147" fmla="*/ 717921 w 1054584"/>
                <a:gd name="connsiteY147" fmla="*/ 102370 h 616866"/>
                <a:gd name="connsiteX148" fmla="*/ 731413 w 1054584"/>
                <a:gd name="connsiteY148" fmla="*/ 115862 h 616866"/>
                <a:gd name="connsiteX149" fmla="*/ 743621 w 1054584"/>
                <a:gd name="connsiteY149" fmla="*/ 128712 h 616866"/>
                <a:gd name="connsiteX150" fmla="*/ 736553 w 1054584"/>
                <a:gd name="connsiteY150" fmla="*/ 137706 h 616866"/>
                <a:gd name="connsiteX151" fmla="*/ 745548 w 1054584"/>
                <a:gd name="connsiteY151" fmla="*/ 142846 h 616866"/>
                <a:gd name="connsiteX152" fmla="*/ 757755 w 1054584"/>
                <a:gd name="connsiteY152" fmla="*/ 146701 h 616866"/>
                <a:gd name="connsiteX153" fmla="*/ 762895 w 1054584"/>
                <a:gd name="connsiteY153" fmla="*/ 160194 h 616866"/>
                <a:gd name="connsiteX154" fmla="*/ 773818 w 1054584"/>
                <a:gd name="connsiteY154" fmla="*/ 163406 h 616866"/>
                <a:gd name="connsiteX155" fmla="*/ 774460 w 1054584"/>
                <a:gd name="connsiteY155" fmla="*/ 157624 h 616866"/>
                <a:gd name="connsiteX156" fmla="*/ 768678 w 1054584"/>
                <a:gd name="connsiteY156" fmla="*/ 150556 h 616866"/>
                <a:gd name="connsiteX157" fmla="*/ 766750 w 1054584"/>
                <a:gd name="connsiteY157" fmla="*/ 144774 h 616866"/>
                <a:gd name="connsiteX158" fmla="*/ 779600 w 1054584"/>
                <a:gd name="connsiteY158" fmla="*/ 137064 h 616866"/>
                <a:gd name="connsiteX159" fmla="*/ 804657 w 1054584"/>
                <a:gd name="connsiteY159" fmla="*/ 129354 h 616866"/>
                <a:gd name="connsiteX160" fmla="*/ 817507 w 1054584"/>
                <a:gd name="connsiteY160" fmla="*/ 121644 h 616866"/>
                <a:gd name="connsiteX161" fmla="*/ 829714 w 1054584"/>
                <a:gd name="connsiteY161" fmla="*/ 121644 h 616866"/>
                <a:gd name="connsiteX162" fmla="*/ 838709 w 1054584"/>
                <a:gd name="connsiteY162" fmla="*/ 126784 h 616866"/>
                <a:gd name="connsiteX163" fmla="*/ 848989 w 1054584"/>
                <a:gd name="connsiteY163" fmla="*/ 119717 h 616866"/>
                <a:gd name="connsiteX164" fmla="*/ 859911 w 1054584"/>
                <a:gd name="connsiteY164" fmla="*/ 119074 h 616866"/>
                <a:gd name="connsiteX165" fmla="*/ 863123 w 1054584"/>
                <a:gd name="connsiteY165" fmla="*/ 132567 h 616866"/>
                <a:gd name="connsiteX166" fmla="*/ 880471 w 1054584"/>
                <a:gd name="connsiteY166" fmla="*/ 153769 h 616866"/>
                <a:gd name="connsiteX167" fmla="*/ 891393 w 1054584"/>
                <a:gd name="connsiteY167" fmla="*/ 166618 h 616866"/>
                <a:gd name="connsiteX168" fmla="*/ 897175 w 1054584"/>
                <a:gd name="connsiteY168" fmla="*/ 181396 h 616866"/>
                <a:gd name="connsiteX169" fmla="*/ 885610 w 1054584"/>
                <a:gd name="connsiteY169" fmla="*/ 187820 h 616866"/>
                <a:gd name="connsiteX170" fmla="*/ 870833 w 1054584"/>
                <a:gd name="connsiteY170" fmla="*/ 181396 h 616866"/>
                <a:gd name="connsiteX171" fmla="*/ 863123 w 1054584"/>
                <a:gd name="connsiteY171" fmla="*/ 173043 h 616866"/>
                <a:gd name="connsiteX172" fmla="*/ 855413 w 1054584"/>
                <a:gd name="connsiteY172" fmla="*/ 175613 h 616866"/>
                <a:gd name="connsiteX173" fmla="*/ 858626 w 1054584"/>
                <a:gd name="connsiteY173" fmla="*/ 186536 h 616866"/>
                <a:gd name="connsiteX174" fmla="*/ 866336 w 1054584"/>
                <a:gd name="connsiteY174" fmla="*/ 196815 h 616866"/>
                <a:gd name="connsiteX175" fmla="*/ 867621 w 1054584"/>
                <a:gd name="connsiteY175" fmla="*/ 201955 h 616866"/>
                <a:gd name="connsiteX176" fmla="*/ 875331 w 1054584"/>
                <a:gd name="connsiteY176" fmla="*/ 207095 h 616866"/>
                <a:gd name="connsiteX177" fmla="*/ 875331 w 1054584"/>
                <a:gd name="connsiteY177" fmla="*/ 214805 h 616866"/>
                <a:gd name="connsiteX178" fmla="*/ 875973 w 1054584"/>
                <a:gd name="connsiteY178" fmla="*/ 228297 h 616866"/>
                <a:gd name="connsiteX179" fmla="*/ 880471 w 1054584"/>
                <a:gd name="connsiteY179" fmla="*/ 235365 h 616866"/>
                <a:gd name="connsiteX180" fmla="*/ 892035 w 1054584"/>
                <a:gd name="connsiteY180" fmla="*/ 230225 h 616866"/>
                <a:gd name="connsiteX181" fmla="*/ 902315 w 1054584"/>
                <a:gd name="connsiteY181" fmla="*/ 230867 h 616866"/>
                <a:gd name="connsiteX182" fmla="*/ 908097 w 1054584"/>
                <a:gd name="connsiteY182" fmla="*/ 216732 h 616866"/>
                <a:gd name="connsiteX183" fmla="*/ 908097 w 1054584"/>
                <a:gd name="connsiteY183" fmla="*/ 208380 h 616866"/>
                <a:gd name="connsiteX184" fmla="*/ 917092 w 1054584"/>
                <a:gd name="connsiteY184" fmla="*/ 210308 h 616866"/>
                <a:gd name="connsiteX185" fmla="*/ 922875 w 1054584"/>
                <a:gd name="connsiteY185" fmla="*/ 216090 h 616866"/>
                <a:gd name="connsiteX186" fmla="*/ 928657 w 1054584"/>
                <a:gd name="connsiteY186" fmla="*/ 206453 h 616866"/>
                <a:gd name="connsiteX187" fmla="*/ 925445 w 1054584"/>
                <a:gd name="connsiteY187" fmla="*/ 192318 h 616866"/>
                <a:gd name="connsiteX188" fmla="*/ 911310 w 1054584"/>
                <a:gd name="connsiteY188" fmla="*/ 187178 h 616866"/>
                <a:gd name="connsiteX189" fmla="*/ 899745 w 1054584"/>
                <a:gd name="connsiteY189" fmla="*/ 165976 h 616866"/>
                <a:gd name="connsiteX190" fmla="*/ 896533 w 1054584"/>
                <a:gd name="connsiteY190" fmla="*/ 159551 h 616866"/>
                <a:gd name="connsiteX191" fmla="*/ 909383 w 1054584"/>
                <a:gd name="connsiteY191" fmla="*/ 160194 h 616866"/>
                <a:gd name="connsiteX192" fmla="*/ 926730 w 1054584"/>
                <a:gd name="connsiteY192" fmla="*/ 173686 h 616866"/>
                <a:gd name="connsiteX193" fmla="*/ 944719 w 1054584"/>
                <a:gd name="connsiteY193" fmla="*/ 192318 h 616866"/>
                <a:gd name="connsiteX194" fmla="*/ 954999 w 1054584"/>
                <a:gd name="connsiteY194" fmla="*/ 200670 h 616866"/>
                <a:gd name="connsiteX195" fmla="*/ 969776 w 1054584"/>
                <a:gd name="connsiteY195" fmla="*/ 212877 h 616866"/>
                <a:gd name="connsiteX196" fmla="*/ 976201 w 1054584"/>
                <a:gd name="connsiteY196" fmla="*/ 221230 h 616866"/>
                <a:gd name="connsiteX197" fmla="*/ 980698 w 1054584"/>
                <a:gd name="connsiteY197" fmla="*/ 241789 h 616866"/>
                <a:gd name="connsiteX198" fmla="*/ 965921 w 1054584"/>
                <a:gd name="connsiteY198" fmla="*/ 248214 h 616866"/>
                <a:gd name="connsiteX199" fmla="*/ 933797 w 1054584"/>
                <a:gd name="connsiteY199" fmla="*/ 247572 h 616866"/>
                <a:gd name="connsiteX200" fmla="*/ 919020 w 1054584"/>
                <a:gd name="connsiteY200" fmla="*/ 256567 h 616866"/>
                <a:gd name="connsiteX201" fmla="*/ 905528 w 1054584"/>
                <a:gd name="connsiteY201" fmla="*/ 256567 h 616866"/>
                <a:gd name="connsiteX202" fmla="*/ 894605 w 1054584"/>
                <a:gd name="connsiteY202" fmla="*/ 254639 h 616866"/>
                <a:gd name="connsiteX203" fmla="*/ 882398 w 1054584"/>
                <a:gd name="connsiteY203" fmla="*/ 260422 h 616866"/>
                <a:gd name="connsiteX204" fmla="*/ 870833 w 1054584"/>
                <a:gd name="connsiteY204" fmla="*/ 260422 h 616866"/>
                <a:gd name="connsiteX205" fmla="*/ 881755 w 1054584"/>
                <a:gd name="connsiteY205" fmla="*/ 273271 h 616866"/>
                <a:gd name="connsiteX206" fmla="*/ 917735 w 1054584"/>
                <a:gd name="connsiteY206" fmla="*/ 292546 h 616866"/>
                <a:gd name="connsiteX207" fmla="*/ 949859 w 1054584"/>
                <a:gd name="connsiteY207" fmla="*/ 304753 h 616866"/>
                <a:gd name="connsiteX208" fmla="*/ 970419 w 1054584"/>
                <a:gd name="connsiteY208" fmla="*/ 304753 h 616866"/>
                <a:gd name="connsiteX209" fmla="*/ 971061 w 1054584"/>
                <a:gd name="connsiteY209" fmla="*/ 315033 h 616866"/>
                <a:gd name="connsiteX210" fmla="*/ 990978 w 1054584"/>
                <a:gd name="connsiteY210" fmla="*/ 317603 h 616866"/>
                <a:gd name="connsiteX211" fmla="*/ 1008968 w 1054584"/>
                <a:gd name="connsiteY211" fmla="*/ 320173 h 616866"/>
                <a:gd name="connsiteX212" fmla="*/ 1005756 w 1054584"/>
                <a:gd name="connsiteY212" fmla="*/ 332380 h 616866"/>
                <a:gd name="connsiteX213" fmla="*/ 1009610 w 1054584"/>
                <a:gd name="connsiteY213" fmla="*/ 353582 h 616866"/>
                <a:gd name="connsiteX214" fmla="*/ 1019890 w 1054584"/>
                <a:gd name="connsiteY214" fmla="*/ 387634 h 616866"/>
                <a:gd name="connsiteX215" fmla="*/ 1027600 w 1054584"/>
                <a:gd name="connsiteY215" fmla="*/ 412691 h 616866"/>
                <a:gd name="connsiteX216" fmla="*/ 1042377 w 1054584"/>
                <a:gd name="connsiteY216" fmla="*/ 442245 h 616866"/>
                <a:gd name="connsiteX217" fmla="*/ 1046875 w 1054584"/>
                <a:gd name="connsiteY217" fmla="*/ 451883 h 616866"/>
                <a:gd name="connsiteX218" fmla="*/ 1046875 w 1054584"/>
                <a:gd name="connsiteY218" fmla="*/ 451883 h 616866"/>
                <a:gd name="connsiteX219" fmla="*/ 1049445 w 1054584"/>
                <a:gd name="connsiteY219" fmla="*/ 457665 h 616866"/>
                <a:gd name="connsiteX220" fmla="*/ 1050730 w 1054584"/>
                <a:gd name="connsiteY220" fmla="*/ 459593 h 616866"/>
                <a:gd name="connsiteX221" fmla="*/ 1052015 w 1054584"/>
                <a:gd name="connsiteY221" fmla="*/ 462163 h 616866"/>
                <a:gd name="connsiteX222" fmla="*/ 1052657 w 1054584"/>
                <a:gd name="connsiteY222" fmla="*/ 464732 h 616866"/>
                <a:gd name="connsiteX223" fmla="*/ 1053300 w 1054584"/>
                <a:gd name="connsiteY223" fmla="*/ 467302 h 616866"/>
                <a:gd name="connsiteX224" fmla="*/ 1053942 w 1054584"/>
                <a:gd name="connsiteY224" fmla="*/ 469872 h 616866"/>
                <a:gd name="connsiteX225" fmla="*/ 1054585 w 1054584"/>
                <a:gd name="connsiteY225" fmla="*/ 472442 h 61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1054584" h="616866">
                  <a:moveTo>
                    <a:pt x="1054585" y="472442"/>
                  </a:moveTo>
                  <a:cubicBezTo>
                    <a:pt x="1052657" y="472442"/>
                    <a:pt x="1050730" y="472442"/>
                    <a:pt x="1048802" y="472442"/>
                  </a:cubicBezTo>
                  <a:cubicBezTo>
                    <a:pt x="1044305" y="472442"/>
                    <a:pt x="1039165" y="471800"/>
                    <a:pt x="1034668" y="473085"/>
                  </a:cubicBezTo>
                  <a:cubicBezTo>
                    <a:pt x="1028243" y="475012"/>
                    <a:pt x="1024388" y="480152"/>
                    <a:pt x="1020533" y="485292"/>
                  </a:cubicBezTo>
                  <a:cubicBezTo>
                    <a:pt x="1014108" y="493002"/>
                    <a:pt x="1008326" y="501354"/>
                    <a:pt x="999331" y="505852"/>
                  </a:cubicBezTo>
                  <a:cubicBezTo>
                    <a:pt x="990336" y="510349"/>
                    <a:pt x="978771" y="510349"/>
                    <a:pt x="969134" y="505852"/>
                  </a:cubicBezTo>
                  <a:cubicBezTo>
                    <a:pt x="959496" y="501354"/>
                    <a:pt x="953072" y="492359"/>
                    <a:pt x="951787" y="482722"/>
                  </a:cubicBezTo>
                  <a:cubicBezTo>
                    <a:pt x="951144" y="478867"/>
                    <a:pt x="951787" y="475012"/>
                    <a:pt x="950502" y="471157"/>
                  </a:cubicBezTo>
                  <a:cubicBezTo>
                    <a:pt x="946647" y="460235"/>
                    <a:pt x="931227" y="453810"/>
                    <a:pt x="920305" y="451883"/>
                  </a:cubicBezTo>
                  <a:cubicBezTo>
                    <a:pt x="910025" y="449955"/>
                    <a:pt x="899103" y="451240"/>
                    <a:pt x="889465" y="454453"/>
                  </a:cubicBezTo>
                  <a:cubicBezTo>
                    <a:pt x="883041" y="457023"/>
                    <a:pt x="876616" y="460235"/>
                    <a:pt x="870191" y="462163"/>
                  </a:cubicBezTo>
                  <a:cubicBezTo>
                    <a:pt x="863766" y="464090"/>
                    <a:pt x="856056" y="465375"/>
                    <a:pt x="849631" y="462805"/>
                  </a:cubicBezTo>
                  <a:cubicBezTo>
                    <a:pt x="844491" y="460878"/>
                    <a:pt x="839994" y="457023"/>
                    <a:pt x="834211" y="455095"/>
                  </a:cubicBezTo>
                  <a:cubicBezTo>
                    <a:pt x="823932" y="451240"/>
                    <a:pt x="811724" y="457023"/>
                    <a:pt x="804657" y="464732"/>
                  </a:cubicBezTo>
                  <a:cubicBezTo>
                    <a:pt x="797590" y="473085"/>
                    <a:pt x="795020" y="483365"/>
                    <a:pt x="792450" y="493644"/>
                  </a:cubicBezTo>
                  <a:cubicBezTo>
                    <a:pt x="790522" y="501997"/>
                    <a:pt x="788595" y="510992"/>
                    <a:pt x="782812" y="517416"/>
                  </a:cubicBezTo>
                  <a:cubicBezTo>
                    <a:pt x="777673" y="523199"/>
                    <a:pt x="769320" y="526411"/>
                    <a:pt x="761610" y="525769"/>
                  </a:cubicBezTo>
                  <a:cubicBezTo>
                    <a:pt x="753901" y="525126"/>
                    <a:pt x="747476" y="521914"/>
                    <a:pt x="739766" y="521271"/>
                  </a:cubicBezTo>
                  <a:cubicBezTo>
                    <a:pt x="730771" y="519986"/>
                    <a:pt x="721134" y="522556"/>
                    <a:pt x="712781" y="526411"/>
                  </a:cubicBezTo>
                  <a:cubicBezTo>
                    <a:pt x="703787" y="529624"/>
                    <a:pt x="694149" y="534764"/>
                    <a:pt x="689009" y="541831"/>
                  </a:cubicBezTo>
                  <a:cubicBezTo>
                    <a:pt x="685154" y="546328"/>
                    <a:pt x="683227" y="552111"/>
                    <a:pt x="680014" y="557251"/>
                  </a:cubicBezTo>
                  <a:cubicBezTo>
                    <a:pt x="676802" y="561748"/>
                    <a:pt x="672305" y="565603"/>
                    <a:pt x="667165" y="568173"/>
                  </a:cubicBezTo>
                  <a:cubicBezTo>
                    <a:pt x="653030" y="575240"/>
                    <a:pt x="636325" y="570100"/>
                    <a:pt x="621548" y="564961"/>
                  </a:cubicBezTo>
                  <a:cubicBezTo>
                    <a:pt x="612553" y="561748"/>
                    <a:pt x="603559" y="559178"/>
                    <a:pt x="593921" y="555966"/>
                  </a:cubicBezTo>
                  <a:cubicBezTo>
                    <a:pt x="582999" y="552111"/>
                    <a:pt x="572719" y="548898"/>
                    <a:pt x="561797" y="544401"/>
                  </a:cubicBezTo>
                  <a:cubicBezTo>
                    <a:pt x="554087" y="541189"/>
                    <a:pt x="547020" y="537976"/>
                    <a:pt x="539310" y="536049"/>
                  </a:cubicBezTo>
                  <a:cubicBezTo>
                    <a:pt x="527103" y="533479"/>
                    <a:pt x="514253" y="536049"/>
                    <a:pt x="502045" y="533479"/>
                  </a:cubicBezTo>
                  <a:cubicBezTo>
                    <a:pt x="493051" y="531551"/>
                    <a:pt x="484698" y="526411"/>
                    <a:pt x="476346" y="521271"/>
                  </a:cubicBezTo>
                  <a:cubicBezTo>
                    <a:pt x="467994" y="516131"/>
                    <a:pt x="458999" y="510992"/>
                    <a:pt x="450646" y="505852"/>
                  </a:cubicBezTo>
                  <a:cubicBezTo>
                    <a:pt x="444222" y="501997"/>
                    <a:pt x="437154" y="497499"/>
                    <a:pt x="429444" y="494929"/>
                  </a:cubicBezTo>
                  <a:cubicBezTo>
                    <a:pt x="418522" y="491075"/>
                    <a:pt x="405672" y="491075"/>
                    <a:pt x="394750" y="494929"/>
                  </a:cubicBezTo>
                  <a:cubicBezTo>
                    <a:pt x="385113" y="498142"/>
                    <a:pt x="379973" y="505209"/>
                    <a:pt x="384470" y="514847"/>
                  </a:cubicBezTo>
                  <a:cubicBezTo>
                    <a:pt x="388968" y="525126"/>
                    <a:pt x="357486" y="543758"/>
                    <a:pt x="343994" y="550826"/>
                  </a:cubicBezTo>
                  <a:cubicBezTo>
                    <a:pt x="330501" y="557251"/>
                    <a:pt x="311869" y="551468"/>
                    <a:pt x="294522" y="549541"/>
                  </a:cubicBezTo>
                  <a:cubicBezTo>
                    <a:pt x="282957" y="548256"/>
                    <a:pt x="273320" y="560463"/>
                    <a:pt x="268180" y="568173"/>
                  </a:cubicBezTo>
                  <a:cubicBezTo>
                    <a:pt x="265610" y="572028"/>
                    <a:pt x="264325" y="574598"/>
                    <a:pt x="264325" y="574598"/>
                  </a:cubicBezTo>
                  <a:lnTo>
                    <a:pt x="264325" y="593230"/>
                  </a:lnTo>
                  <a:cubicBezTo>
                    <a:pt x="264325" y="600940"/>
                    <a:pt x="257900" y="602867"/>
                    <a:pt x="246978" y="604795"/>
                  </a:cubicBezTo>
                  <a:cubicBezTo>
                    <a:pt x="236698" y="606722"/>
                    <a:pt x="230916" y="599655"/>
                    <a:pt x="227061" y="599012"/>
                  </a:cubicBezTo>
                  <a:cubicBezTo>
                    <a:pt x="223206" y="598370"/>
                    <a:pt x="216781" y="608650"/>
                    <a:pt x="214854" y="614432"/>
                  </a:cubicBezTo>
                  <a:cubicBezTo>
                    <a:pt x="212284" y="619572"/>
                    <a:pt x="208429" y="615075"/>
                    <a:pt x="205216" y="614432"/>
                  </a:cubicBezTo>
                  <a:cubicBezTo>
                    <a:pt x="202646" y="613790"/>
                    <a:pt x="191724" y="607365"/>
                    <a:pt x="180802" y="604795"/>
                  </a:cubicBezTo>
                  <a:cubicBezTo>
                    <a:pt x="178874" y="604152"/>
                    <a:pt x="176304" y="604152"/>
                    <a:pt x="174377" y="603510"/>
                  </a:cubicBezTo>
                  <a:cubicBezTo>
                    <a:pt x="161527" y="602225"/>
                    <a:pt x="159600" y="595800"/>
                    <a:pt x="158315" y="593230"/>
                  </a:cubicBezTo>
                  <a:cubicBezTo>
                    <a:pt x="157030" y="590660"/>
                    <a:pt x="153175" y="581665"/>
                    <a:pt x="145465" y="575883"/>
                  </a:cubicBezTo>
                  <a:cubicBezTo>
                    <a:pt x="137755" y="570743"/>
                    <a:pt x="134543" y="571385"/>
                    <a:pt x="126190" y="560463"/>
                  </a:cubicBezTo>
                  <a:cubicBezTo>
                    <a:pt x="118481" y="550183"/>
                    <a:pt x="118481" y="550826"/>
                    <a:pt x="111413" y="541831"/>
                  </a:cubicBezTo>
                  <a:cubicBezTo>
                    <a:pt x="104988" y="533479"/>
                    <a:pt x="99206" y="521271"/>
                    <a:pt x="77361" y="512277"/>
                  </a:cubicBezTo>
                  <a:cubicBezTo>
                    <a:pt x="55517" y="502639"/>
                    <a:pt x="61299" y="520629"/>
                    <a:pt x="54874" y="523841"/>
                  </a:cubicBezTo>
                  <a:cubicBezTo>
                    <a:pt x="48450" y="527054"/>
                    <a:pt x="38812" y="518701"/>
                    <a:pt x="34315" y="512919"/>
                  </a:cubicBezTo>
                  <a:cubicBezTo>
                    <a:pt x="30460" y="507137"/>
                    <a:pt x="18253" y="505209"/>
                    <a:pt x="8615" y="502639"/>
                  </a:cubicBezTo>
                  <a:cubicBezTo>
                    <a:pt x="6688" y="501997"/>
                    <a:pt x="5403" y="501354"/>
                    <a:pt x="4118" y="500069"/>
                  </a:cubicBezTo>
                  <a:cubicBezTo>
                    <a:pt x="-1022" y="493002"/>
                    <a:pt x="-380" y="476940"/>
                    <a:pt x="905" y="468587"/>
                  </a:cubicBezTo>
                  <a:cubicBezTo>
                    <a:pt x="2833" y="458308"/>
                    <a:pt x="26605" y="459593"/>
                    <a:pt x="26605" y="458308"/>
                  </a:cubicBezTo>
                  <a:cubicBezTo>
                    <a:pt x="27247" y="457023"/>
                    <a:pt x="46522" y="448028"/>
                    <a:pt x="49734" y="440960"/>
                  </a:cubicBezTo>
                  <a:cubicBezTo>
                    <a:pt x="52304" y="433893"/>
                    <a:pt x="60014" y="417831"/>
                    <a:pt x="60014" y="417831"/>
                  </a:cubicBezTo>
                  <a:lnTo>
                    <a:pt x="73506" y="413976"/>
                  </a:lnTo>
                  <a:cubicBezTo>
                    <a:pt x="73506" y="413976"/>
                    <a:pt x="79931" y="404981"/>
                    <a:pt x="86356" y="396629"/>
                  </a:cubicBezTo>
                  <a:cubicBezTo>
                    <a:pt x="88284" y="394701"/>
                    <a:pt x="89569" y="392131"/>
                    <a:pt x="91496" y="390204"/>
                  </a:cubicBezTo>
                  <a:cubicBezTo>
                    <a:pt x="99206" y="381209"/>
                    <a:pt x="85071" y="368359"/>
                    <a:pt x="78646" y="363220"/>
                  </a:cubicBezTo>
                  <a:cubicBezTo>
                    <a:pt x="72221" y="357437"/>
                    <a:pt x="61942" y="363220"/>
                    <a:pt x="55517" y="363220"/>
                  </a:cubicBezTo>
                  <a:cubicBezTo>
                    <a:pt x="49092" y="363220"/>
                    <a:pt x="35600" y="328525"/>
                    <a:pt x="35600" y="328525"/>
                  </a:cubicBezTo>
                  <a:cubicBezTo>
                    <a:pt x="35600" y="328525"/>
                    <a:pt x="26605" y="306038"/>
                    <a:pt x="26605" y="298971"/>
                  </a:cubicBezTo>
                  <a:cubicBezTo>
                    <a:pt x="26605" y="291261"/>
                    <a:pt x="36242" y="277126"/>
                    <a:pt x="37527" y="275199"/>
                  </a:cubicBezTo>
                  <a:cubicBezTo>
                    <a:pt x="39455" y="273914"/>
                    <a:pt x="64512" y="262349"/>
                    <a:pt x="66439" y="258494"/>
                  </a:cubicBezTo>
                  <a:cubicBezTo>
                    <a:pt x="68366" y="255282"/>
                    <a:pt x="64512" y="246929"/>
                    <a:pt x="64512" y="246287"/>
                  </a:cubicBezTo>
                  <a:cubicBezTo>
                    <a:pt x="65154" y="246929"/>
                    <a:pt x="65797" y="246929"/>
                    <a:pt x="68366" y="245644"/>
                  </a:cubicBezTo>
                  <a:cubicBezTo>
                    <a:pt x="76719" y="241789"/>
                    <a:pt x="83144" y="237934"/>
                    <a:pt x="85714" y="235365"/>
                  </a:cubicBezTo>
                  <a:cubicBezTo>
                    <a:pt x="88926" y="232152"/>
                    <a:pt x="100491" y="227655"/>
                    <a:pt x="108201" y="225085"/>
                  </a:cubicBezTo>
                  <a:cubicBezTo>
                    <a:pt x="115911" y="222515"/>
                    <a:pt x="121050" y="217375"/>
                    <a:pt x="135185" y="220587"/>
                  </a:cubicBezTo>
                  <a:cubicBezTo>
                    <a:pt x="139040" y="221230"/>
                    <a:pt x="142895" y="222515"/>
                    <a:pt x="145465" y="223800"/>
                  </a:cubicBezTo>
                  <a:cubicBezTo>
                    <a:pt x="152532" y="226370"/>
                    <a:pt x="157030" y="229582"/>
                    <a:pt x="157672" y="231510"/>
                  </a:cubicBezTo>
                  <a:cubicBezTo>
                    <a:pt x="158957" y="234080"/>
                    <a:pt x="161527" y="246287"/>
                    <a:pt x="161527" y="248214"/>
                  </a:cubicBezTo>
                  <a:cubicBezTo>
                    <a:pt x="161527" y="250142"/>
                    <a:pt x="172449" y="257209"/>
                    <a:pt x="177589" y="257209"/>
                  </a:cubicBezTo>
                  <a:cubicBezTo>
                    <a:pt x="182729" y="257209"/>
                    <a:pt x="187869" y="252712"/>
                    <a:pt x="194294" y="255924"/>
                  </a:cubicBezTo>
                  <a:cubicBezTo>
                    <a:pt x="201361" y="259137"/>
                    <a:pt x="198149" y="261064"/>
                    <a:pt x="204574" y="259779"/>
                  </a:cubicBezTo>
                  <a:cubicBezTo>
                    <a:pt x="210999" y="258494"/>
                    <a:pt x="218709" y="253997"/>
                    <a:pt x="217424" y="250784"/>
                  </a:cubicBezTo>
                  <a:cubicBezTo>
                    <a:pt x="216139" y="247572"/>
                    <a:pt x="209714" y="242432"/>
                    <a:pt x="205859" y="242432"/>
                  </a:cubicBezTo>
                  <a:cubicBezTo>
                    <a:pt x="202004" y="242432"/>
                    <a:pt x="194937" y="239219"/>
                    <a:pt x="194937" y="236007"/>
                  </a:cubicBezTo>
                  <a:cubicBezTo>
                    <a:pt x="194294" y="232795"/>
                    <a:pt x="194294" y="225727"/>
                    <a:pt x="199434" y="223157"/>
                  </a:cubicBezTo>
                  <a:cubicBezTo>
                    <a:pt x="205216" y="220587"/>
                    <a:pt x="215496" y="221230"/>
                    <a:pt x="218066" y="219302"/>
                  </a:cubicBezTo>
                  <a:cubicBezTo>
                    <a:pt x="220636" y="217375"/>
                    <a:pt x="226418" y="215447"/>
                    <a:pt x="230916" y="214805"/>
                  </a:cubicBezTo>
                  <a:cubicBezTo>
                    <a:pt x="235413" y="214805"/>
                    <a:pt x="242481" y="212235"/>
                    <a:pt x="244408" y="210950"/>
                  </a:cubicBezTo>
                  <a:cubicBezTo>
                    <a:pt x="246336" y="209665"/>
                    <a:pt x="257258" y="201313"/>
                    <a:pt x="259828" y="195530"/>
                  </a:cubicBezTo>
                  <a:cubicBezTo>
                    <a:pt x="262398" y="190390"/>
                    <a:pt x="263683" y="183323"/>
                    <a:pt x="262398" y="182038"/>
                  </a:cubicBezTo>
                  <a:cubicBezTo>
                    <a:pt x="261113" y="180753"/>
                    <a:pt x="258543" y="177541"/>
                    <a:pt x="255330" y="181396"/>
                  </a:cubicBezTo>
                  <a:cubicBezTo>
                    <a:pt x="252118" y="185251"/>
                    <a:pt x="246978" y="192318"/>
                    <a:pt x="243123" y="194888"/>
                  </a:cubicBezTo>
                  <a:cubicBezTo>
                    <a:pt x="239268" y="197458"/>
                    <a:pt x="232843" y="204525"/>
                    <a:pt x="234128" y="197458"/>
                  </a:cubicBezTo>
                  <a:cubicBezTo>
                    <a:pt x="234771" y="189748"/>
                    <a:pt x="241196" y="182681"/>
                    <a:pt x="244408" y="179468"/>
                  </a:cubicBezTo>
                  <a:cubicBezTo>
                    <a:pt x="248263" y="176256"/>
                    <a:pt x="254045" y="171758"/>
                    <a:pt x="256615" y="171116"/>
                  </a:cubicBezTo>
                  <a:cubicBezTo>
                    <a:pt x="259185" y="170473"/>
                    <a:pt x="261755" y="171758"/>
                    <a:pt x="264968" y="168546"/>
                  </a:cubicBezTo>
                  <a:cubicBezTo>
                    <a:pt x="267538" y="165333"/>
                    <a:pt x="272035" y="161478"/>
                    <a:pt x="272678" y="159551"/>
                  </a:cubicBezTo>
                  <a:cubicBezTo>
                    <a:pt x="273320" y="157624"/>
                    <a:pt x="278460" y="150556"/>
                    <a:pt x="278460" y="150556"/>
                  </a:cubicBezTo>
                  <a:cubicBezTo>
                    <a:pt x="278460" y="150556"/>
                    <a:pt x="289382" y="151199"/>
                    <a:pt x="301589" y="151199"/>
                  </a:cubicBezTo>
                  <a:cubicBezTo>
                    <a:pt x="313797" y="151199"/>
                    <a:pt x="325361" y="152484"/>
                    <a:pt x="329216" y="151199"/>
                  </a:cubicBezTo>
                  <a:cubicBezTo>
                    <a:pt x="333071" y="149914"/>
                    <a:pt x="341424" y="146059"/>
                    <a:pt x="348491" y="143489"/>
                  </a:cubicBezTo>
                  <a:cubicBezTo>
                    <a:pt x="355558" y="140919"/>
                    <a:pt x="365196" y="137064"/>
                    <a:pt x="371621" y="136421"/>
                  </a:cubicBezTo>
                  <a:cubicBezTo>
                    <a:pt x="378045" y="135779"/>
                    <a:pt x="381258" y="136421"/>
                    <a:pt x="387040" y="135137"/>
                  </a:cubicBezTo>
                  <a:cubicBezTo>
                    <a:pt x="392823" y="133852"/>
                    <a:pt x="397963" y="134494"/>
                    <a:pt x="401175" y="131924"/>
                  </a:cubicBezTo>
                  <a:cubicBezTo>
                    <a:pt x="404387" y="129354"/>
                    <a:pt x="407600" y="126784"/>
                    <a:pt x="407600" y="126784"/>
                  </a:cubicBezTo>
                  <a:cubicBezTo>
                    <a:pt x="407600" y="126784"/>
                    <a:pt x="424305" y="113292"/>
                    <a:pt x="433299" y="104297"/>
                  </a:cubicBezTo>
                  <a:cubicBezTo>
                    <a:pt x="441652" y="95302"/>
                    <a:pt x="450004" y="86307"/>
                    <a:pt x="452574" y="82453"/>
                  </a:cubicBezTo>
                  <a:cubicBezTo>
                    <a:pt x="455144" y="78598"/>
                    <a:pt x="465424" y="66390"/>
                    <a:pt x="466066" y="66390"/>
                  </a:cubicBezTo>
                  <a:cubicBezTo>
                    <a:pt x="467351" y="65748"/>
                    <a:pt x="468636" y="63820"/>
                    <a:pt x="468636" y="67675"/>
                  </a:cubicBezTo>
                  <a:cubicBezTo>
                    <a:pt x="468636" y="72173"/>
                    <a:pt x="466066" y="75385"/>
                    <a:pt x="464139" y="79883"/>
                  </a:cubicBezTo>
                  <a:cubicBezTo>
                    <a:pt x="462854" y="84380"/>
                    <a:pt x="458356" y="91447"/>
                    <a:pt x="462211" y="97230"/>
                  </a:cubicBezTo>
                  <a:cubicBezTo>
                    <a:pt x="466066" y="103655"/>
                    <a:pt x="473133" y="109437"/>
                    <a:pt x="475061" y="105582"/>
                  </a:cubicBezTo>
                  <a:cubicBezTo>
                    <a:pt x="476988" y="101727"/>
                    <a:pt x="478273" y="99157"/>
                    <a:pt x="476988" y="94017"/>
                  </a:cubicBezTo>
                  <a:cubicBezTo>
                    <a:pt x="475704" y="88877"/>
                    <a:pt x="473133" y="83095"/>
                    <a:pt x="476988" y="79240"/>
                  </a:cubicBezTo>
                  <a:cubicBezTo>
                    <a:pt x="480201" y="74743"/>
                    <a:pt x="484698" y="72815"/>
                    <a:pt x="488553" y="69603"/>
                  </a:cubicBezTo>
                  <a:cubicBezTo>
                    <a:pt x="492408" y="66390"/>
                    <a:pt x="494336" y="65748"/>
                    <a:pt x="496906" y="63178"/>
                  </a:cubicBezTo>
                  <a:cubicBezTo>
                    <a:pt x="499475" y="60608"/>
                    <a:pt x="502045" y="56753"/>
                    <a:pt x="502045" y="55468"/>
                  </a:cubicBezTo>
                  <a:cubicBezTo>
                    <a:pt x="502045" y="53541"/>
                    <a:pt x="500761" y="48401"/>
                    <a:pt x="498833" y="47116"/>
                  </a:cubicBezTo>
                  <a:cubicBezTo>
                    <a:pt x="496906" y="46473"/>
                    <a:pt x="494336" y="42618"/>
                    <a:pt x="489838" y="46473"/>
                  </a:cubicBezTo>
                  <a:cubicBezTo>
                    <a:pt x="485341" y="50328"/>
                    <a:pt x="484056" y="51613"/>
                    <a:pt x="482128" y="54826"/>
                  </a:cubicBezTo>
                  <a:cubicBezTo>
                    <a:pt x="480201" y="58038"/>
                    <a:pt x="478916" y="61250"/>
                    <a:pt x="475704" y="59965"/>
                  </a:cubicBezTo>
                  <a:cubicBezTo>
                    <a:pt x="472491" y="58681"/>
                    <a:pt x="468636" y="58038"/>
                    <a:pt x="469279" y="54183"/>
                  </a:cubicBezTo>
                  <a:cubicBezTo>
                    <a:pt x="469921" y="50328"/>
                    <a:pt x="473133" y="47758"/>
                    <a:pt x="475061" y="43903"/>
                  </a:cubicBezTo>
                  <a:cubicBezTo>
                    <a:pt x="476346" y="40691"/>
                    <a:pt x="481486" y="38121"/>
                    <a:pt x="483413" y="29769"/>
                  </a:cubicBezTo>
                  <a:cubicBezTo>
                    <a:pt x="484698" y="21416"/>
                    <a:pt x="484698" y="21416"/>
                    <a:pt x="485341" y="16919"/>
                  </a:cubicBezTo>
                  <a:cubicBezTo>
                    <a:pt x="485983" y="12421"/>
                    <a:pt x="487911" y="5997"/>
                    <a:pt x="491123" y="3427"/>
                  </a:cubicBezTo>
                  <a:cubicBezTo>
                    <a:pt x="494336" y="857"/>
                    <a:pt x="502045" y="-1713"/>
                    <a:pt x="504616" y="1499"/>
                  </a:cubicBezTo>
                  <a:cubicBezTo>
                    <a:pt x="507828" y="5354"/>
                    <a:pt x="509755" y="6639"/>
                    <a:pt x="512325" y="9209"/>
                  </a:cubicBezTo>
                  <a:cubicBezTo>
                    <a:pt x="514895" y="11779"/>
                    <a:pt x="517465" y="13706"/>
                    <a:pt x="523248" y="13706"/>
                  </a:cubicBezTo>
                  <a:cubicBezTo>
                    <a:pt x="529030" y="13706"/>
                    <a:pt x="534812" y="14349"/>
                    <a:pt x="536097" y="14991"/>
                  </a:cubicBezTo>
                  <a:cubicBezTo>
                    <a:pt x="537382" y="15634"/>
                    <a:pt x="549590" y="18846"/>
                    <a:pt x="561797" y="18846"/>
                  </a:cubicBezTo>
                  <a:lnTo>
                    <a:pt x="595206" y="18846"/>
                  </a:lnTo>
                  <a:cubicBezTo>
                    <a:pt x="598419" y="18846"/>
                    <a:pt x="607413" y="20131"/>
                    <a:pt x="608056" y="21416"/>
                  </a:cubicBezTo>
                  <a:cubicBezTo>
                    <a:pt x="608056" y="22701"/>
                    <a:pt x="610626" y="23986"/>
                    <a:pt x="603559" y="26556"/>
                  </a:cubicBezTo>
                  <a:cubicBezTo>
                    <a:pt x="596491" y="29126"/>
                    <a:pt x="591351" y="29769"/>
                    <a:pt x="584284" y="30411"/>
                  </a:cubicBezTo>
                  <a:cubicBezTo>
                    <a:pt x="577217" y="31054"/>
                    <a:pt x="567579" y="31054"/>
                    <a:pt x="558584" y="31054"/>
                  </a:cubicBezTo>
                  <a:cubicBezTo>
                    <a:pt x="549590" y="31054"/>
                    <a:pt x="545735" y="31054"/>
                    <a:pt x="537382" y="31054"/>
                  </a:cubicBezTo>
                  <a:cubicBezTo>
                    <a:pt x="529030" y="31054"/>
                    <a:pt x="523248" y="32339"/>
                    <a:pt x="521963" y="34266"/>
                  </a:cubicBezTo>
                  <a:cubicBezTo>
                    <a:pt x="520678" y="36193"/>
                    <a:pt x="516180" y="41333"/>
                    <a:pt x="516823" y="45188"/>
                  </a:cubicBezTo>
                  <a:cubicBezTo>
                    <a:pt x="517465" y="49043"/>
                    <a:pt x="517465" y="50328"/>
                    <a:pt x="521963" y="51613"/>
                  </a:cubicBezTo>
                  <a:cubicBezTo>
                    <a:pt x="526460" y="52256"/>
                    <a:pt x="532885" y="52898"/>
                    <a:pt x="538025" y="50971"/>
                  </a:cubicBezTo>
                  <a:cubicBezTo>
                    <a:pt x="543165" y="48401"/>
                    <a:pt x="546377" y="44546"/>
                    <a:pt x="553444" y="44546"/>
                  </a:cubicBezTo>
                  <a:cubicBezTo>
                    <a:pt x="559869" y="44546"/>
                    <a:pt x="574647" y="44546"/>
                    <a:pt x="575931" y="45188"/>
                  </a:cubicBezTo>
                  <a:cubicBezTo>
                    <a:pt x="577217" y="45831"/>
                    <a:pt x="580429" y="45831"/>
                    <a:pt x="583641" y="45831"/>
                  </a:cubicBezTo>
                  <a:cubicBezTo>
                    <a:pt x="586854" y="45831"/>
                    <a:pt x="595206" y="41333"/>
                    <a:pt x="599704" y="40048"/>
                  </a:cubicBezTo>
                  <a:cubicBezTo>
                    <a:pt x="604201" y="38763"/>
                    <a:pt x="613838" y="34908"/>
                    <a:pt x="620906" y="32981"/>
                  </a:cubicBezTo>
                  <a:cubicBezTo>
                    <a:pt x="628615" y="31696"/>
                    <a:pt x="636325" y="28484"/>
                    <a:pt x="638895" y="31054"/>
                  </a:cubicBezTo>
                  <a:cubicBezTo>
                    <a:pt x="641465" y="33624"/>
                    <a:pt x="645320" y="41333"/>
                    <a:pt x="645320" y="44546"/>
                  </a:cubicBezTo>
                  <a:cubicBezTo>
                    <a:pt x="645320" y="47758"/>
                    <a:pt x="646605" y="63820"/>
                    <a:pt x="654958" y="72815"/>
                  </a:cubicBezTo>
                  <a:cubicBezTo>
                    <a:pt x="663310" y="81810"/>
                    <a:pt x="669735" y="88877"/>
                    <a:pt x="678087" y="90162"/>
                  </a:cubicBezTo>
                  <a:cubicBezTo>
                    <a:pt x="686439" y="91447"/>
                    <a:pt x="690294" y="90805"/>
                    <a:pt x="693507" y="92732"/>
                  </a:cubicBezTo>
                  <a:cubicBezTo>
                    <a:pt x="696077" y="94660"/>
                    <a:pt x="701216" y="98515"/>
                    <a:pt x="706999" y="101085"/>
                  </a:cubicBezTo>
                  <a:cubicBezTo>
                    <a:pt x="706999" y="101085"/>
                    <a:pt x="714066" y="100442"/>
                    <a:pt x="717921" y="102370"/>
                  </a:cubicBezTo>
                  <a:cubicBezTo>
                    <a:pt x="722419" y="104297"/>
                    <a:pt x="728201" y="112649"/>
                    <a:pt x="731413" y="115862"/>
                  </a:cubicBezTo>
                  <a:cubicBezTo>
                    <a:pt x="734626" y="119074"/>
                    <a:pt x="745548" y="124857"/>
                    <a:pt x="743621" y="128712"/>
                  </a:cubicBezTo>
                  <a:cubicBezTo>
                    <a:pt x="741693" y="133209"/>
                    <a:pt x="735268" y="135779"/>
                    <a:pt x="736553" y="137706"/>
                  </a:cubicBezTo>
                  <a:cubicBezTo>
                    <a:pt x="737196" y="139634"/>
                    <a:pt x="742336" y="142846"/>
                    <a:pt x="745548" y="142846"/>
                  </a:cubicBezTo>
                  <a:cubicBezTo>
                    <a:pt x="748761" y="142846"/>
                    <a:pt x="756470" y="144131"/>
                    <a:pt x="757755" y="146701"/>
                  </a:cubicBezTo>
                  <a:cubicBezTo>
                    <a:pt x="759040" y="149271"/>
                    <a:pt x="759683" y="157624"/>
                    <a:pt x="762895" y="160194"/>
                  </a:cubicBezTo>
                  <a:cubicBezTo>
                    <a:pt x="766108" y="162763"/>
                    <a:pt x="773175" y="163406"/>
                    <a:pt x="773818" y="163406"/>
                  </a:cubicBezTo>
                  <a:cubicBezTo>
                    <a:pt x="774460" y="162763"/>
                    <a:pt x="776388" y="159551"/>
                    <a:pt x="774460" y="157624"/>
                  </a:cubicBezTo>
                  <a:cubicBezTo>
                    <a:pt x="772533" y="155054"/>
                    <a:pt x="769963" y="152484"/>
                    <a:pt x="768678" y="150556"/>
                  </a:cubicBezTo>
                  <a:cubicBezTo>
                    <a:pt x="767393" y="149271"/>
                    <a:pt x="763538" y="147986"/>
                    <a:pt x="766750" y="144774"/>
                  </a:cubicBezTo>
                  <a:cubicBezTo>
                    <a:pt x="770605" y="141561"/>
                    <a:pt x="779600" y="137064"/>
                    <a:pt x="779600" y="137064"/>
                  </a:cubicBezTo>
                  <a:cubicBezTo>
                    <a:pt x="779600" y="137064"/>
                    <a:pt x="798875" y="132567"/>
                    <a:pt x="804657" y="129354"/>
                  </a:cubicBezTo>
                  <a:cubicBezTo>
                    <a:pt x="810439" y="126142"/>
                    <a:pt x="814294" y="122287"/>
                    <a:pt x="817507" y="121644"/>
                  </a:cubicBezTo>
                  <a:cubicBezTo>
                    <a:pt x="821362" y="121002"/>
                    <a:pt x="828429" y="119074"/>
                    <a:pt x="829714" y="121644"/>
                  </a:cubicBezTo>
                  <a:cubicBezTo>
                    <a:pt x="830999" y="124214"/>
                    <a:pt x="836139" y="128069"/>
                    <a:pt x="838709" y="126784"/>
                  </a:cubicBezTo>
                  <a:cubicBezTo>
                    <a:pt x="841279" y="125499"/>
                    <a:pt x="846419" y="119717"/>
                    <a:pt x="848989" y="119717"/>
                  </a:cubicBezTo>
                  <a:cubicBezTo>
                    <a:pt x="850916" y="119074"/>
                    <a:pt x="859268" y="117789"/>
                    <a:pt x="859911" y="119074"/>
                  </a:cubicBezTo>
                  <a:cubicBezTo>
                    <a:pt x="860553" y="120359"/>
                    <a:pt x="863123" y="131924"/>
                    <a:pt x="863123" y="132567"/>
                  </a:cubicBezTo>
                  <a:cubicBezTo>
                    <a:pt x="863123" y="133209"/>
                    <a:pt x="876616" y="149271"/>
                    <a:pt x="880471" y="153769"/>
                  </a:cubicBezTo>
                  <a:cubicBezTo>
                    <a:pt x="884325" y="158266"/>
                    <a:pt x="889465" y="162763"/>
                    <a:pt x="891393" y="166618"/>
                  </a:cubicBezTo>
                  <a:cubicBezTo>
                    <a:pt x="893320" y="170473"/>
                    <a:pt x="900388" y="178826"/>
                    <a:pt x="897175" y="181396"/>
                  </a:cubicBezTo>
                  <a:cubicBezTo>
                    <a:pt x="894605" y="183966"/>
                    <a:pt x="892035" y="188463"/>
                    <a:pt x="885610" y="187820"/>
                  </a:cubicBezTo>
                  <a:cubicBezTo>
                    <a:pt x="878543" y="187820"/>
                    <a:pt x="874046" y="184608"/>
                    <a:pt x="870833" y="181396"/>
                  </a:cubicBezTo>
                  <a:cubicBezTo>
                    <a:pt x="867621" y="178183"/>
                    <a:pt x="865693" y="174328"/>
                    <a:pt x="863123" y="173043"/>
                  </a:cubicBezTo>
                  <a:cubicBezTo>
                    <a:pt x="860553" y="171758"/>
                    <a:pt x="856056" y="172401"/>
                    <a:pt x="855413" y="175613"/>
                  </a:cubicBezTo>
                  <a:cubicBezTo>
                    <a:pt x="854771" y="178183"/>
                    <a:pt x="855413" y="182681"/>
                    <a:pt x="858626" y="186536"/>
                  </a:cubicBezTo>
                  <a:cubicBezTo>
                    <a:pt x="861838" y="190390"/>
                    <a:pt x="866336" y="195530"/>
                    <a:pt x="866336" y="196815"/>
                  </a:cubicBezTo>
                  <a:cubicBezTo>
                    <a:pt x="866336" y="198100"/>
                    <a:pt x="865693" y="199385"/>
                    <a:pt x="867621" y="201955"/>
                  </a:cubicBezTo>
                  <a:cubicBezTo>
                    <a:pt x="870191" y="205168"/>
                    <a:pt x="874688" y="205168"/>
                    <a:pt x="875331" y="207095"/>
                  </a:cubicBezTo>
                  <a:cubicBezTo>
                    <a:pt x="875331" y="208380"/>
                    <a:pt x="874046" y="208380"/>
                    <a:pt x="875331" y="214805"/>
                  </a:cubicBezTo>
                  <a:cubicBezTo>
                    <a:pt x="876616" y="221230"/>
                    <a:pt x="875973" y="224442"/>
                    <a:pt x="875973" y="228297"/>
                  </a:cubicBezTo>
                  <a:cubicBezTo>
                    <a:pt x="875973" y="232152"/>
                    <a:pt x="877258" y="234722"/>
                    <a:pt x="880471" y="235365"/>
                  </a:cubicBezTo>
                  <a:cubicBezTo>
                    <a:pt x="883683" y="235365"/>
                    <a:pt x="890108" y="230867"/>
                    <a:pt x="892035" y="230225"/>
                  </a:cubicBezTo>
                  <a:cubicBezTo>
                    <a:pt x="893963" y="230225"/>
                    <a:pt x="898460" y="236007"/>
                    <a:pt x="902315" y="230867"/>
                  </a:cubicBezTo>
                  <a:cubicBezTo>
                    <a:pt x="906170" y="225085"/>
                    <a:pt x="908740" y="219945"/>
                    <a:pt x="908097" y="216732"/>
                  </a:cubicBezTo>
                  <a:cubicBezTo>
                    <a:pt x="908097" y="213520"/>
                    <a:pt x="906812" y="209023"/>
                    <a:pt x="908097" y="208380"/>
                  </a:cubicBezTo>
                  <a:cubicBezTo>
                    <a:pt x="910025" y="207738"/>
                    <a:pt x="915807" y="207738"/>
                    <a:pt x="917092" y="210308"/>
                  </a:cubicBezTo>
                  <a:cubicBezTo>
                    <a:pt x="917735" y="212877"/>
                    <a:pt x="919662" y="218017"/>
                    <a:pt x="922875" y="216090"/>
                  </a:cubicBezTo>
                  <a:cubicBezTo>
                    <a:pt x="926087" y="214162"/>
                    <a:pt x="928015" y="211593"/>
                    <a:pt x="928657" y="206453"/>
                  </a:cubicBezTo>
                  <a:cubicBezTo>
                    <a:pt x="929299" y="201313"/>
                    <a:pt x="929299" y="194245"/>
                    <a:pt x="925445" y="192318"/>
                  </a:cubicBezTo>
                  <a:cubicBezTo>
                    <a:pt x="920947" y="191033"/>
                    <a:pt x="913880" y="192318"/>
                    <a:pt x="911310" y="187178"/>
                  </a:cubicBezTo>
                  <a:cubicBezTo>
                    <a:pt x="909383" y="182038"/>
                    <a:pt x="900388" y="167261"/>
                    <a:pt x="899745" y="165976"/>
                  </a:cubicBezTo>
                  <a:cubicBezTo>
                    <a:pt x="899103" y="164691"/>
                    <a:pt x="893963" y="160836"/>
                    <a:pt x="896533" y="159551"/>
                  </a:cubicBezTo>
                  <a:cubicBezTo>
                    <a:pt x="899103" y="158266"/>
                    <a:pt x="904243" y="156981"/>
                    <a:pt x="909383" y="160194"/>
                  </a:cubicBezTo>
                  <a:cubicBezTo>
                    <a:pt x="914522" y="163406"/>
                    <a:pt x="924802" y="171116"/>
                    <a:pt x="926730" y="173686"/>
                  </a:cubicBezTo>
                  <a:cubicBezTo>
                    <a:pt x="928657" y="176256"/>
                    <a:pt x="940864" y="189748"/>
                    <a:pt x="944719" y="192318"/>
                  </a:cubicBezTo>
                  <a:cubicBezTo>
                    <a:pt x="947932" y="194888"/>
                    <a:pt x="953072" y="198743"/>
                    <a:pt x="954999" y="200670"/>
                  </a:cubicBezTo>
                  <a:cubicBezTo>
                    <a:pt x="956927" y="203240"/>
                    <a:pt x="966564" y="210950"/>
                    <a:pt x="969776" y="212877"/>
                  </a:cubicBezTo>
                  <a:cubicBezTo>
                    <a:pt x="972989" y="214805"/>
                    <a:pt x="974274" y="214805"/>
                    <a:pt x="976201" y="221230"/>
                  </a:cubicBezTo>
                  <a:cubicBezTo>
                    <a:pt x="978129" y="227655"/>
                    <a:pt x="983269" y="238577"/>
                    <a:pt x="980698" y="241789"/>
                  </a:cubicBezTo>
                  <a:cubicBezTo>
                    <a:pt x="978129" y="245644"/>
                    <a:pt x="974274" y="248857"/>
                    <a:pt x="965921" y="248214"/>
                  </a:cubicBezTo>
                  <a:cubicBezTo>
                    <a:pt x="956927" y="247572"/>
                    <a:pt x="939579" y="245002"/>
                    <a:pt x="933797" y="247572"/>
                  </a:cubicBezTo>
                  <a:cubicBezTo>
                    <a:pt x="928015" y="250142"/>
                    <a:pt x="928015" y="255924"/>
                    <a:pt x="919020" y="256567"/>
                  </a:cubicBezTo>
                  <a:cubicBezTo>
                    <a:pt x="910667" y="257209"/>
                    <a:pt x="908097" y="257209"/>
                    <a:pt x="905528" y="256567"/>
                  </a:cubicBezTo>
                  <a:cubicBezTo>
                    <a:pt x="902958" y="255924"/>
                    <a:pt x="899745" y="252712"/>
                    <a:pt x="894605" y="254639"/>
                  </a:cubicBezTo>
                  <a:cubicBezTo>
                    <a:pt x="889465" y="256567"/>
                    <a:pt x="886895" y="259137"/>
                    <a:pt x="882398" y="260422"/>
                  </a:cubicBezTo>
                  <a:cubicBezTo>
                    <a:pt x="877900" y="261706"/>
                    <a:pt x="871476" y="258494"/>
                    <a:pt x="870833" y="260422"/>
                  </a:cubicBezTo>
                  <a:cubicBezTo>
                    <a:pt x="870191" y="262349"/>
                    <a:pt x="879186" y="271986"/>
                    <a:pt x="881755" y="273271"/>
                  </a:cubicBezTo>
                  <a:cubicBezTo>
                    <a:pt x="883683" y="274556"/>
                    <a:pt x="895890" y="282909"/>
                    <a:pt x="917735" y="292546"/>
                  </a:cubicBezTo>
                  <a:cubicBezTo>
                    <a:pt x="939579" y="302183"/>
                    <a:pt x="941507" y="304753"/>
                    <a:pt x="949859" y="304753"/>
                  </a:cubicBezTo>
                  <a:cubicBezTo>
                    <a:pt x="958211" y="304753"/>
                    <a:pt x="970419" y="300898"/>
                    <a:pt x="970419" y="304753"/>
                  </a:cubicBezTo>
                  <a:cubicBezTo>
                    <a:pt x="970419" y="308608"/>
                    <a:pt x="963994" y="313105"/>
                    <a:pt x="971061" y="315033"/>
                  </a:cubicBezTo>
                  <a:cubicBezTo>
                    <a:pt x="978129" y="316960"/>
                    <a:pt x="984553" y="318888"/>
                    <a:pt x="990978" y="317603"/>
                  </a:cubicBezTo>
                  <a:cubicBezTo>
                    <a:pt x="997403" y="316318"/>
                    <a:pt x="1008326" y="318245"/>
                    <a:pt x="1008968" y="320173"/>
                  </a:cubicBezTo>
                  <a:cubicBezTo>
                    <a:pt x="1009610" y="322100"/>
                    <a:pt x="1006398" y="329168"/>
                    <a:pt x="1005756" y="332380"/>
                  </a:cubicBezTo>
                  <a:cubicBezTo>
                    <a:pt x="1005756" y="334950"/>
                    <a:pt x="1001258" y="332380"/>
                    <a:pt x="1009610" y="353582"/>
                  </a:cubicBezTo>
                  <a:cubicBezTo>
                    <a:pt x="1017963" y="374784"/>
                    <a:pt x="1019248" y="376712"/>
                    <a:pt x="1019890" y="387634"/>
                  </a:cubicBezTo>
                  <a:cubicBezTo>
                    <a:pt x="1020533" y="398556"/>
                    <a:pt x="1026315" y="409479"/>
                    <a:pt x="1027600" y="412691"/>
                  </a:cubicBezTo>
                  <a:cubicBezTo>
                    <a:pt x="1028885" y="415903"/>
                    <a:pt x="1034668" y="424898"/>
                    <a:pt x="1042377" y="442245"/>
                  </a:cubicBezTo>
                  <a:cubicBezTo>
                    <a:pt x="1044305" y="446100"/>
                    <a:pt x="1045590" y="449313"/>
                    <a:pt x="1046875" y="451883"/>
                  </a:cubicBezTo>
                  <a:lnTo>
                    <a:pt x="1046875" y="451883"/>
                  </a:lnTo>
                  <a:cubicBezTo>
                    <a:pt x="1048160" y="454453"/>
                    <a:pt x="1048802" y="455738"/>
                    <a:pt x="1049445" y="457665"/>
                  </a:cubicBezTo>
                  <a:cubicBezTo>
                    <a:pt x="1050087" y="458308"/>
                    <a:pt x="1050087" y="458950"/>
                    <a:pt x="1050730" y="459593"/>
                  </a:cubicBezTo>
                  <a:cubicBezTo>
                    <a:pt x="1051372" y="460878"/>
                    <a:pt x="1051372" y="461520"/>
                    <a:pt x="1052015" y="462163"/>
                  </a:cubicBezTo>
                  <a:cubicBezTo>
                    <a:pt x="1052657" y="462805"/>
                    <a:pt x="1052657" y="463448"/>
                    <a:pt x="1052657" y="464732"/>
                  </a:cubicBezTo>
                  <a:cubicBezTo>
                    <a:pt x="1052657" y="465375"/>
                    <a:pt x="1053300" y="466660"/>
                    <a:pt x="1053300" y="467302"/>
                  </a:cubicBezTo>
                  <a:cubicBezTo>
                    <a:pt x="1053300" y="467945"/>
                    <a:pt x="1053300" y="469230"/>
                    <a:pt x="1053942" y="469872"/>
                  </a:cubicBezTo>
                  <a:cubicBezTo>
                    <a:pt x="1054585" y="469872"/>
                    <a:pt x="1054585" y="471157"/>
                    <a:pt x="1054585" y="472442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 460">
              <a:extLst>
                <a:ext uri="{FF2B5EF4-FFF2-40B4-BE49-F238E27FC236}">
                  <a16:creationId xmlns:a16="http://schemas.microsoft.com/office/drawing/2014/main" id="{11881440-3664-6BFB-DB53-2CF27A7E1408}"/>
                </a:ext>
              </a:extLst>
            </p:cNvPr>
            <p:cNvSpPr/>
            <p:nvPr/>
          </p:nvSpPr>
          <p:spPr>
            <a:xfrm>
              <a:off x="3296699" y="2880067"/>
              <a:ext cx="1034404" cy="899102"/>
            </a:xfrm>
            <a:custGeom>
              <a:avLst/>
              <a:gdLst>
                <a:gd name="connsiteX0" fmla="*/ 700954 w 1034404"/>
                <a:gd name="connsiteY0" fmla="*/ 445507 h 899102"/>
                <a:gd name="connsiteX1" fmla="*/ 687461 w 1034404"/>
                <a:gd name="connsiteY1" fmla="*/ 468636 h 899102"/>
                <a:gd name="connsiteX2" fmla="*/ 681679 w 1034404"/>
                <a:gd name="connsiteY2" fmla="*/ 464139 h 899102"/>
                <a:gd name="connsiteX3" fmla="*/ 668829 w 1034404"/>
                <a:gd name="connsiteY3" fmla="*/ 451289 h 899102"/>
                <a:gd name="connsiteX4" fmla="*/ 642487 w 1034404"/>
                <a:gd name="connsiteY4" fmla="*/ 441652 h 899102"/>
                <a:gd name="connsiteX5" fmla="*/ 619358 w 1034404"/>
                <a:gd name="connsiteY5" fmla="*/ 458357 h 899102"/>
                <a:gd name="connsiteX6" fmla="*/ 579523 w 1034404"/>
                <a:gd name="connsiteY6" fmla="*/ 446149 h 899102"/>
                <a:gd name="connsiteX7" fmla="*/ 558321 w 1034404"/>
                <a:gd name="connsiteY7" fmla="*/ 439724 h 899102"/>
                <a:gd name="connsiteX8" fmla="*/ 532622 w 1034404"/>
                <a:gd name="connsiteY8" fmla="*/ 451289 h 899102"/>
                <a:gd name="connsiteX9" fmla="*/ 528767 w 1034404"/>
                <a:gd name="connsiteY9" fmla="*/ 433300 h 899102"/>
                <a:gd name="connsiteX10" fmla="*/ 535192 w 1034404"/>
                <a:gd name="connsiteY10" fmla="*/ 395393 h 899102"/>
                <a:gd name="connsiteX11" fmla="*/ 535192 w 1034404"/>
                <a:gd name="connsiteY11" fmla="*/ 363269 h 899102"/>
                <a:gd name="connsiteX12" fmla="*/ 578881 w 1034404"/>
                <a:gd name="connsiteY12" fmla="*/ 338211 h 899102"/>
                <a:gd name="connsiteX13" fmla="*/ 593016 w 1034404"/>
                <a:gd name="connsiteY13" fmla="*/ 334999 h 899102"/>
                <a:gd name="connsiteX14" fmla="*/ 600726 w 1034404"/>
                <a:gd name="connsiteY14" fmla="*/ 341424 h 899102"/>
                <a:gd name="connsiteX15" fmla="*/ 628353 w 1034404"/>
                <a:gd name="connsiteY15" fmla="*/ 342709 h 899102"/>
                <a:gd name="connsiteX16" fmla="*/ 636062 w 1034404"/>
                <a:gd name="connsiteY16" fmla="*/ 358129 h 899102"/>
                <a:gd name="connsiteX17" fmla="*/ 666902 w 1034404"/>
                <a:gd name="connsiteY17" fmla="*/ 380616 h 899102"/>
                <a:gd name="connsiteX18" fmla="*/ 681037 w 1034404"/>
                <a:gd name="connsiteY18" fmla="*/ 397963 h 899102"/>
                <a:gd name="connsiteX19" fmla="*/ 716373 w 1034404"/>
                <a:gd name="connsiteY19" fmla="*/ 412097 h 899102"/>
                <a:gd name="connsiteX20" fmla="*/ 700954 w 1034404"/>
                <a:gd name="connsiteY20" fmla="*/ 445507 h 899102"/>
                <a:gd name="connsiteX21" fmla="*/ 1024767 w 1034404"/>
                <a:gd name="connsiteY21" fmla="*/ 742978 h 899102"/>
                <a:gd name="connsiteX22" fmla="*/ 1011918 w 1034404"/>
                <a:gd name="connsiteY22" fmla="*/ 731414 h 899102"/>
                <a:gd name="connsiteX23" fmla="*/ 1003565 w 1034404"/>
                <a:gd name="connsiteY23" fmla="*/ 723061 h 899102"/>
                <a:gd name="connsiteX24" fmla="*/ 999710 w 1034404"/>
                <a:gd name="connsiteY24" fmla="*/ 713424 h 899102"/>
                <a:gd name="connsiteX25" fmla="*/ 984290 w 1034404"/>
                <a:gd name="connsiteY25" fmla="*/ 695434 h 899102"/>
                <a:gd name="connsiteX26" fmla="*/ 975296 w 1034404"/>
                <a:gd name="connsiteY26" fmla="*/ 672947 h 899102"/>
                <a:gd name="connsiteX27" fmla="*/ 987503 w 1034404"/>
                <a:gd name="connsiteY27" fmla="*/ 658813 h 899102"/>
                <a:gd name="connsiteX28" fmla="*/ 998425 w 1034404"/>
                <a:gd name="connsiteY28" fmla="*/ 643393 h 899102"/>
                <a:gd name="connsiteX29" fmla="*/ 1001638 w 1034404"/>
                <a:gd name="connsiteY29" fmla="*/ 633113 h 899102"/>
                <a:gd name="connsiteX30" fmla="*/ 1006778 w 1034404"/>
                <a:gd name="connsiteY30" fmla="*/ 609341 h 899102"/>
                <a:gd name="connsiteX31" fmla="*/ 1010632 w 1034404"/>
                <a:gd name="connsiteY31" fmla="*/ 590709 h 899102"/>
                <a:gd name="connsiteX32" fmla="*/ 1012560 w 1034404"/>
                <a:gd name="connsiteY32" fmla="*/ 563082 h 899102"/>
                <a:gd name="connsiteX33" fmla="*/ 1009347 w 1034404"/>
                <a:gd name="connsiteY33" fmla="*/ 547662 h 899102"/>
                <a:gd name="connsiteX34" fmla="*/ 1008063 w 1034404"/>
                <a:gd name="connsiteY34" fmla="*/ 536740 h 899102"/>
                <a:gd name="connsiteX35" fmla="*/ 1002280 w 1034404"/>
                <a:gd name="connsiteY35" fmla="*/ 525175 h 899102"/>
                <a:gd name="connsiteX36" fmla="*/ 1000995 w 1034404"/>
                <a:gd name="connsiteY36" fmla="*/ 503973 h 899102"/>
                <a:gd name="connsiteX37" fmla="*/ 992000 w 1034404"/>
                <a:gd name="connsiteY37" fmla="*/ 487268 h 899102"/>
                <a:gd name="connsiteX38" fmla="*/ 963731 w 1034404"/>
                <a:gd name="connsiteY38" fmla="*/ 480844 h 899102"/>
                <a:gd name="connsiteX39" fmla="*/ 950881 w 1034404"/>
                <a:gd name="connsiteY39" fmla="*/ 460284 h 899102"/>
                <a:gd name="connsiteX40" fmla="*/ 937389 w 1034404"/>
                <a:gd name="connsiteY40" fmla="*/ 433942 h 899102"/>
                <a:gd name="connsiteX41" fmla="*/ 944456 w 1034404"/>
                <a:gd name="connsiteY41" fmla="*/ 412097 h 899102"/>
                <a:gd name="connsiteX42" fmla="*/ 957948 w 1034404"/>
                <a:gd name="connsiteY42" fmla="*/ 399890 h 899102"/>
                <a:gd name="connsiteX43" fmla="*/ 966301 w 1034404"/>
                <a:gd name="connsiteY43" fmla="*/ 374191 h 899102"/>
                <a:gd name="connsiteX44" fmla="*/ 959233 w 1034404"/>
                <a:gd name="connsiteY44" fmla="*/ 357486 h 899102"/>
                <a:gd name="connsiteX45" fmla="*/ 954094 w 1034404"/>
                <a:gd name="connsiteY45" fmla="*/ 342709 h 899102"/>
                <a:gd name="connsiteX46" fmla="*/ 936104 w 1034404"/>
                <a:gd name="connsiteY46" fmla="*/ 327932 h 899102"/>
                <a:gd name="connsiteX47" fmla="*/ 908477 w 1034404"/>
                <a:gd name="connsiteY47" fmla="*/ 312512 h 899102"/>
                <a:gd name="connsiteX48" fmla="*/ 889202 w 1034404"/>
                <a:gd name="connsiteY48" fmla="*/ 290667 h 899102"/>
                <a:gd name="connsiteX49" fmla="*/ 857078 w 1034404"/>
                <a:gd name="connsiteY49" fmla="*/ 264968 h 899102"/>
                <a:gd name="connsiteX50" fmla="*/ 832021 w 1034404"/>
                <a:gd name="connsiteY50" fmla="*/ 250833 h 899102"/>
                <a:gd name="connsiteX51" fmla="*/ 819814 w 1034404"/>
                <a:gd name="connsiteY51" fmla="*/ 236698 h 899102"/>
                <a:gd name="connsiteX52" fmla="*/ 814674 w 1034404"/>
                <a:gd name="connsiteY52" fmla="*/ 216781 h 899102"/>
                <a:gd name="connsiteX53" fmla="*/ 808249 w 1034404"/>
                <a:gd name="connsiteY53" fmla="*/ 194294 h 899102"/>
                <a:gd name="connsiteX54" fmla="*/ 809534 w 1034404"/>
                <a:gd name="connsiteY54" fmla="*/ 183372 h 899102"/>
                <a:gd name="connsiteX55" fmla="*/ 837161 w 1034404"/>
                <a:gd name="connsiteY55" fmla="*/ 169880 h 899102"/>
                <a:gd name="connsiteX56" fmla="*/ 860290 w 1034404"/>
                <a:gd name="connsiteY56" fmla="*/ 150605 h 899102"/>
                <a:gd name="connsiteX57" fmla="*/ 873783 w 1034404"/>
                <a:gd name="connsiteY57" fmla="*/ 124263 h 899102"/>
                <a:gd name="connsiteX58" fmla="*/ 873783 w 1034404"/>
                <a:gd name="connsiteY58" fmla="*/ 23393 h 899102"/>
                <a:gd name="connsiteX59" fmla="*/ 873783 w 1034404"/>
                <a:gd name="connsiteY59" fmla="*/ 21465 h 899102"/>
                <a:gd name="connsiteX60" fmla="*/ 868000 w 1034404"/>
                <a:gd name="connsiteY60" fmla="*/ 21465 h 899102"/>
                <a:gd name="connsiteX61" fmla="*/ 853866 w 1034404"/>
                <a:gd name="connsiteY61" fmla="*/ 22108 h 899102"/>
                <a:gd name="connsiteX62" fmla="*/ 839731 w 1034404"/>
                <a:gd name="connsiteY62" fmla="*/ 34315 h 899102"/>
                <a:gd name="connsiteX63" fmla="*/ 818529 w 1034404"/>
                <a:gd name="connsiteY63" fmla="*/ 54875 h 899102"/>
                <a:gd name="connsiteX64" fmla="*/ 788332 w 1034404"/>
                <a:gd name="connsiteY64" fmla="*/ 54875 h 899102"/>
                <a:gd name="connsiteX65" fmla="*/ 770985 w 1034404"/>
                <a:gd name="connsiteY65" fmla="*/ 31745 h 899102"/>
                <a:gd name="connsiteX66" fmla="*/ 769700 w 1034404"/>
                <a:gd name="connsiteY66" fmla="*/ 20180 h 899102"/>
                <a:gd name="connsiteX67" fmla="*/ 739503 w 1034404"/>
                <a:gd name="connsiteY67" fmla="*/ 906 h 899102"/>
                <a:gd name="connsiteX68" fmla="*/ 708663 w 1034404"/>
                <a:gd name="connsiteY68" fmla="*/ 3476 h 899102"/>
                <a:gd name="connsiteX69" fmla="*/ 689389 w 1034404"/>
                <a:gd name="connsiteY69" fmla="*/ 11185 h 899102"/>
                <a:gd name="connsiteX70" fmla="*/ 668829 w 1034404"/>
                <a:gd name="connsiteY70" fmla="*/ 11828 h 899102"/>
                <a:gd name="connsiteX71" fmla="*/ 653409 w 1034404"/>
                <a:gd name="connsiteY71" fmla="*/ 4118 h 899102"/>
                <a:gd name="connsiteX72" fmla="*/ 623855 w 1034404"/>
                <a:gd name="connsiteY72" fmla="*/ 13755 h 899102"/>
                <a:gd name="connsiteX73" fmla="*/ 611648 w 1034404"/>
                <a:gd name="connsiteY73" fmla="*/ 42667 h 899102"/>
                <a:gd name="connsiteX74" fmla="*/ 602011 w 1034404"/>
                <a:gd name="connsiteY74" fmla="*/ 66439 h 899102"/>
                <a:gd name="connsiteX75" fmla="*/ 580809 w 1034404"/>
                <a:gd name="connsiteY75" fmla="*/ 74792 h 899102"/>
                <a:gd name="connsiteX76" fmla="*/ 558964 w 1034404"/>
                <a:gd name="connsiteY76" fmla="*/ 70294 h 899102"/>
                <a:gd name="connsiteX77" fmla="*/ 531979 w 1034404"/>
                <a:gd name="connsiteY77" fmla="*/ 75434 h 899102"/>
                <a:gd name="connsiteX78" fmla="*/ 508207 w 1034404"/>
                <a:gd name="connsiteY78" fmla="*/ 90854 h 899102"/>
                <a:gd name="connsiteX79" fmla="*/ 499213 w 1034404"/>
                <a:gd name="connsiteY79" fmla="*/ 106274 h 899102"/>
                <a:gd name="connsiteX80" fmla="*/ 486363 w 1034404"/>
                <a:gd name="connsiteY80" fmla="*/ 117196 h 899102"/>
                <a:gd name="connsiteX81" fmla="*/ 440746 w 1034404"/>
                <a:gd name="connsiteY81" fmla="*/ 113983 h 899102"/>
                <a:gd name="connsiteX82" fmla="*/ 413119 w 1034404"/>
                <a:gd name="connsiteY82" fmla="*/ 104989 h 899102"/>
                <a:gd name="connsiteX83" fmla="*/ 380995 w 1034404"/>
                <a:gd name="connsiteY83" fmla="*/ 93424 h 899102"/>
                <a:gd name="connsiteX84" fmla="*/ 358508 w 1034404"/>
                <a:gd name="connsiteY84" fmla="*/ 85071 h 899102"/>
                <a:gd name="connsiteX85" fmla="*/ 321244 w 1034404"/>
                <a:gd name="connsiteY85" fmla="*/ 82501 h 899102"/>
                <a:gd name="connsiteX86" fmla="*/ 295544 w 1034404"/>
                <a:gd name="connsiteY86" fmla="*/ 70294 h 899102"/>
                <a:gd name="connsiteX87" fmla="*/ 269845 w 1034404"/>
                <a:gd name="connsiteY87" fmla="*/ 54875 h 899102"/>
                <a:gd name="connsiteX88" fmla="*/ 248642 w 1034404"/>
                <a:gd name="connsiteY88" fmla="*/ 43952 h 899102"/>
                <a:gd name="connsiteX89" fmla="*/ 213948 w 1034404"/>
                <a:gd name="connsiteY89" fmla="*/ 43952 h 899102"/>
                <a:gd name="connsiteX90" fmla="*/ 203668 w 1034404"/>
                <a:gd name="connsiteY90" fmla="*/ 63869 h 899102"/>
                <a:gd name="connsiteX91" fmla="*/ 163192 w 1034404"/>
                <a:gd name="connsiteY91" fmla="*/ 99849 h 899102"/>
                <a:gd name="connsiteX92" fmla="*/ 113720 w 1034404"/>
                <a:gd name="connsiteY92" fmla="*/ 98564 h 899102"/>
                <a:gd name="connsiteX93" fmla="*/ 87378 w 1034404"/>
                <a:gd name="connsiteY93" fmla="*/ 117196 h 899102"/>
                <a:gd name="connsiteX94" fmla="*/ 83523 w 1034404"/>
                <a:gd name="connsiteY94" fmla="*/ 123621 h 899102"/>
                <a:gd name="connsiteX95" fmla="*/ 83523 w 1034404"/>
                <a:gd name="connsiteY95" fmla="*/ 142253 h 899102"/>
                <a:gd name="connsiteX96" fmla="*/ 66176 w 1034404"/>
                <a:gd name="connsiteY96" fmla="*/ 153818 h 899102"/>
                <a:gd name="connsiteX97" fmla="*/ 46259 w 1034404"/>
                <a:gd name="connsiteY97" fmla="*/ 148035 h 899102"/>
                <a:gd name="connsiteX98" fmla="*/ 34052 w 1034404"/>
                <a:gd name="connsiteY98" fmla="*/ 163455 h 899102"/>
                <a:gd name="connsiteX99" fmla="*/ 24414 w 1034404"/>
                <a:gd name="connsiteY99" fmla="*/ 163455 h 899102"/>
                <a:gd name="connsiteX100" fmla="*/ 0 w 1034404"/>
                <a:gd name="connsiteY100" fmla="*/ 153818 h 899102"/>
                <a:gd name="connsiteX101" fmla="*/ 5782 w 1034404"/>
                <a:gd name="connsiteY101" fmla="*/ 171807 h 899102"/>
                <a:gd name="connsiteX102" fmla="*/ 19917 w 1034404"/>
                <a:gd name="connsiteY102" fmla="*/ 185299 h 899102"/>
                <a:gd name="connsiteX103" fmla="*/ 52684 w 1034404"/>
                <a:gd name="connsiteY103" fmla="*/ 176305 h 899102"/>
                <a:gd name="connsiteX104" fmla="*/ 68746 w 1034404"/>
                <a:gd name="connsiteY104" fmla="*/ 182730 h 899102"/>
                <a:gd name="connsiteX105" fmla="*/ 86093 w 1034404"/>
                <a:gd name="connsiteY105" fmla="*/ 189154 h 899102"/>
                <a:gd name="connsiteX106" fmla="*/ 98943 w 1034404"/>
                <a:gd name="connsiteY106" fmla="*/ 187227 h 899102"/>
                <a:gd name="connsiteX107" fmla="*/ 104725 w 1034404"/>
                <a:gd name="connsiteY107" fmla="*/ 187869 h 899102"/>
                <a:gd name="connsiteX108" fmla="*/ 113720 w 1034404"/>
                <a:gd name="connsiteY108" fmla="*/ 198792 h 899102"/>
                <a:gd name="connsiteX109" fmla="*/ 138777 w 1034404"/>
                <a:gd name="connsiteY109" fmla="*/ 219351 h 899102"/>
                <a:gd name="connsiteX110" fmla="*/ 155482 w 1034404"/>
                <a:gd name="connsiteY110" fmla="*/ 218709 h 899102"/>
                <a:gd name="connsiteX111" fmla="*/ 166404 w 1034404"/>
                <a:gd name="connsiteY111" fmla="*/ 228346 h 899102"/>
                <a:gd name="connsiteX112" fmla="*/ 161264 w 1034404"/>
                <a:gd name="connsiteY112" fmla="*/ 239911 h 899102"/>
                <a:gd name="connsiteX113" fmla="*/ 169617 w 1034404"/>
                <a:gd name="connsiteY113" fmla="*/ 247621 h 899102"/>
                <a:gd name="connsiteX114" fmla="*/ 219088 w 1034404"/>
                <a:gd name="connsiteY114" fmla="*/ 252761 h 899102"/>
                <a:gd name="connsiteX115" fmla="*/ 228083 w 1034404"/>
                <a:gd name="connsiteY115" fmla="*/ 248906 h 899102"/>
                <a:gd name="connsiteX116" fmla="*/ 235793 w 1034404"/>
                <a:gd name="connsiteY116" fmla="*/ 249548 h 899102"/>
                <a:gd name="connsiteX117" fmla="*/ 260207 w 1034404"/>
                <a:gd name="connsiteY117" fmla="*/ 256616 h 899102"/>
                <a:gd name="connsiteX118" fmla="*/ 275627 w 1034404"/>
                <a:gd name="connsiteY118" fmla="*/ 276533 h 899102"/>
                <a:gd name="connsiteX119" fmla="*/ 276912 w 1034404"/>
                <a:gd name="connsiteY119" fmla="*/ 309942 h 899102"/>
                <a:gd name="connsiteX120" fmla="*/ 276270 w 1034404"/>
                <a:gd name="connsiteY120" fmla="*/ 326004 h 899102"/>
                <a:gd name="connsiteX121" fmla="*/ 271130 w 1034404"/>
                <a:gd name="connsiteY121" fmla="*/ 351061 h 899102"/>
                <a:gd name="connsiteX122" fmla="*/ 271772 w 1034404"/>
                <a:gd name="connsiteY122" fmla="*/ 367123 h 899102"/>
                <a:gd name="connsiteX123" fmla="*/ 254425 w 1034404"/>
                <a:gd name="connsiteY123" fmla="*/ 399890 h 899102"/>
                <a:gd name="connsiteX124" fmla="*/ 256352 w 1034404"/>
                <a:gd name="connsiteY124" fmla="*/ 406315 h 899102"/>
                <a:gd name="connsiteX125" fmla="*/ 266632 w 1034404"/>
                <a:gd name="connsiteY125" fmla="*/ 409528 h 899102"/>
                <a:gd name="connsiteX126" fmla="*/ 289762 w 1034404"/>
                <a:gd name="connsiteY126" fmla="*/ 409528 h 899102"/>
                <a:gd name="connsiteX127" fmla="*/ 303254 w 1034404"/>
                <a:gd name="connsiteY127" fmla="*/ 415952 h 899102"/>
                <a:gd name="connsiteX128" fmla="*/ 300041 w 1034404"/>
                <a:gd name="connsiteY128" fmla="*/ 423020 h 899102"/>
                <a:gd name="connsiteX129" fmla="*/ 290404 w 1034404"/>
                <a:gd name="connsiteY129" fmla="*/ 446792 h 899102"/>
                <a:gd name="connsiteX130" fmla="*/ 289762 w 1034404"/>
                <a:gd name="connsiteY130" fmla="*/ 471849 h 899102"/>
                <a:gd name="connsiteX131" fmla="*/ 285907 w 1034404"/>
                <a:gd name="connsiteY131" fmla="*/ 494336 h 899102"/>
                <a:gd name="connsiteX132" fmla="*/ 307751 w 1034404"/>
                <a:gd name="connsiteY132" fmla="*/ 595206 h 899102"/>
                <a:gd name="connsiteX133" fmla="*/ 392560 w 1034404"/>
                <a:gd name="connsiteY133" fmla="*/ 645320 h 899102"/>
                <a:gd name="connsiteX134" fmla="*/ 483150 w 1034404"/>
                <a:gd name="connsiteY134" fmla="*/ 665238 h 899102"/>
                <a:gd name="connsiteX135" fmla="*/ 536477 w 1034404"/>
                <a:gd name="connsiteY135" fmla="*/ 674875 h 899102"/>
                <a:gd name="connsiteX136" fmla="*/ 552539 w 1034404"/>
                <a:gd name="connsiteY136" fmla="*/ 726274 h 899102"/>
                <a:gd name="connsiteX137" fmla="*/ 558964 w 1034404"/>
                <a:gd name="connsiteY137" fmla="*/ 760968 h 899102"/>
                <a:gd name="connsiteX138" fmla="*/ 528767 w 1034404"/>
                <a:gd name="connsiteY138" fmla="*/ 786025 h 899102"/>
                <a:gd name="connsiteX139" fmla="*/ 527482 w 1034404"/>
                <a:gd name="connsiteY139" fmla="*/ 786668 h 899102"/>
                <a:gd name="connsiteX140" fmla="*/ 574384 w 1034404"/>
                <a:gd name="connsiteY140" fmla="*/ 811082 h 899102"/>
                <a:gd name="connsiteX141" fmla="*/ 589161 w 1034404"/>
                <a:gd name="connsiteY141" fmla="*/ 837424 h 899102"/>
                <a:gd name="connsiteX142" fmla="*/ 589803 w 1034404"/>
                <a:gd name="connsiteY142" fmla="*/ 847061 h 899102"/>
                <a:gd name="connsiteX143" fmla="*/ 577596 w 1034404"/>
                <a:gd name="connsiteY143" fmla="*/ 884326 h 899102"/>
                <a:gd name="connsiteX144" fmla="*/ 589803 w 1034404"/>
                <a:gd name="connsiteY144" fmla="*/ 895248 h 899102"/>
                <a:gd name="connsiteX145" fmla="*/ 628353 w 1034404"/>
                <a:gd name="connsiteY145" fmla="*/ 878543 h 899102"/>
                <a:gd name="connsiteX146" fmla="*/ 651482 w 1034404"/>
                <a:gd name="connsiteY146" fmla="*/ 875331 h 899102"/>
                <a:gd name="connsiteX147" fmla="*/ 666259 w 1034404"/>
                <a:gd name="connsiteY147" fmla="*/ 886896 h 899102"/>
                <a:gd name="connsiteX148" fmla="*/ 740788 w 1034404"/>
                <a:gd name="connsiteY148" fmla="*/ 899103 h 899102"/>
                <a:gd name="connsiteX149" fmla="*/ 828166 w 1034404"/>
                <a:gd name="connsiteY149" fmla="*/ 875331 h 899102"/>
                <a:gd name="connsiteX150" fmla="*/ 842943 w 1034404"/>
                <a:gd name="connsiteY150" fmla="*/ 848346 h 899102"/>
                <a:gd name="connsiteX151" fmla="*/ 864788 w 1034404"/>
                <a:gd name="connsiteY151" fmla="*/ 827787 h 899102"/>
                <a:gd name="connsiteX152" fmla="*/ 896270 w 1034404"/>
                <a:gd name="connsiteY152" fmla="*/ 827787 h 899102"/>
                <a:gd name="connsiteX153" fmla="*/ 927752 w 1034404"/>
                <a:gd name="connsiteY153" fmla="*/ 812367 h 899102"/>
                <a:gd name="connsiteX154" fmla="*/ 957306 w 1034404"/>
                <a:gd name="connsiteY154" fmla="*/ 796305 h 899102"/>
                <a:gd name="connsiteX155" fmla="*/ 967586 w 1034404"/>
                <a:gd name="connsiteY155" fmla="*/ 803372 h 899102"/>
                <a:gd name="connsiteX156" fmla="*/ 989430 w 1034404"/>
                <a:gd name="connsiteY156" fmla="*/ 803372 h 899102"/>
                <a:gd name="connsiteX157" fmla="*/ 1004208 w 1034404"/>
                <a:gd name="connsiteY157" fmla="*/ 784098 h 899102"/>
                <a:gd name="connsiteX158" fmla="*/ 1015130 w 1034404"/>
                <a:gd name="connsiteY158" fmla="*/ 780243 h 899102"/>
                <a:gd name="connsiteX159" fmla="*/ 1030550 w 1034404"/>
                <a:gd name="connsiteY159" fmla="*/ 773818 h 899102"/>
                <a:gd name="connsiteX160" fmla="*/ 1034405 w 1034404"/>
                <a:gd name="connsiteY160" fmla="*/ 761611 h 899102"/>
                <a:gd name="connsiteX161" fmla="*/ 1024767 w 1034404"/>
                <a:gd name="connsiteY161" fmla="*/ 742978 h 89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1034404" h="899102">
                  <a:moveTo>
                    <a:pt x="700954" y="445507"/>
                  </a:moveTo>
                  <a:cubicBezTo>
                    <a:pt x="691959" y="458999"/>
                    <a:pt x="690031" y="466066"/>
                    <a:pt x="687461" y="468636"/>
                  </a:cubicBezTo>
                  <a:cubicBezTo>
                    <a:pt x="684249" y="471206"/>
                    <a:pt x="681679" y="469921"/>
                    <a:pt x="681679" y="464139"/>
                  </a:cubicBezTo>
                  <a:cubicBezTo>
                    <a:pt x="681679" y="458357"/>
                    <a:pt x="675897" y="451932"/>
                    <a:pt x="668829" y="451289"/>
                  </a:cubicBezTo>
                  <a:cubicBezTo>
                    <a:pt x="661119" y="450647"/>
                    <a:pt x="654052" y="442294"/>
                    <a:pt x="642487" y="441652"/>
                  </a:cubicBezTo>
                  <a:cubicBezTo>
                    <a:pt x="630922" y="441009"/>
                    <a:pt x="629638" y="453859"/>
                    <a:pt x="619358" y="458357"/>
                  </a:cubicBezTo>
                  <a:cubicBezTo>
                    <a:pt x="608435" y="462854"/>
                    <a:pt x="586591" y="451289"/>
                    <a:pt x="579523" y="446149"/>
                  </a:cubicBezTo>
                  <a:cubicBezTo>
                    <a:pt x="572456" y="441009"/>
                    <a:pt x="567316" y="437797"/>
                    <a:pt x="558321" y="439724"/>
                  </a:cubicBezTo>
                  <a:cubicBezTo>
                    <a:pt x="549327" y="442294"/>
                    <a:pt x="543544" y="452574"/>
                    <a:pt x="532622" y="451289"/>
                  </a:cubicBezTo>
                  <a:cubicBezTo>
                    <a:pt x="522342" y="450004"/>
                    <a:pt x="526197" y="439724"/>
                    <a:pt x="528767" y="433300"/>
                  </a:cubicBezTo>
                  <a:cubicBezTo>
                    <a:pt x="531337" y="427517"/>
                    <a:pt x="531979" y="408243"/>
                    <a:pt x="535192" y="395393"/>
                  </a:cubicBezTo>
                  <a:cubicBezTo>
                    <a:pt x="539047" y="382543"/>
                    <a:pt x="533907" y="372906"/>
                    <a:pt x="535192" y="363269"/>
                  </a:cubicBezTo>
                  <a:cubicBezTo>
                    <a:pt x="536477" y="353631"/>
                    <a:pt x="578881" y="338211"/>
                    <a:pt x="578881" y="338211"/>
                  </a:cubicBezTo>
                  <a:cubicBezTo>
                    <a:pt x="578881" y="338211"/>
                    <a:pt x="591731" y="334999"/>
                    <a:pt x="593016" y="334999"/>
                  </a:cubicBezTo>
                  <a:cubicBezTo>
                    <a:pt x="594301" y="334999"/>
                    <a:pt x="598798" y="340139"/>
                    <a:pt x="600726" y="341424"/>
                  </a:cubicBezTo>
                  <a:cubicBezTo>
                    <a:pt x="602653" y="342709"/>
                    <a:pt x="623213" y="342709"/>
                    <a:pt x="628353" y="342709"/>
                  </a:cubicBezTo>
                  <a:cubicBezTo>
                    <a:pt x="633492" y="343351"/>
                    <a:pt x="634777" y="351704"/>
                    <a:pt x="636062" y="358129"/>
                  </a:cubicBezTo>
                  <a:cubicBezTo>
                    <a:pt x="636705" y="364553"/>
                    <a:pt x="652125" y="371621"/>
                    <a:pt x="666902" y="380616"/>
                  </a:cubicBezTo>
                  <a:cubicBezTo>
                    <a:pt x="681679" y="389610"/>
                    <a:pt x="679109" y="394750"/>
                    <a:pt x="681037" y="397963"/>
                  </a:cubicBezTo>
                  <a:cubicBezTo>
                    <a:pt x="682964" y="401175"/>
                    <a:pt x="713161" y="410170"/>
                    <a:pt x="716373" y="412097"/>
                  </a:cubicBezTo>
                  <a:cubicBezTo>
                    <a:pt x="717658" y="415952"/>
                    <a:pt x="709306" y="432015"/>
                    <a:pt x="700954" y="445507"/>
                  </a:cubicBezTo>
                  <a:moveTo>
                    <a:pt x="1024767" y="742978"/>
                  </a:moveTo>
                  <a:cubicBezTo>
                    <a:pt x="1020912" y="731414"/>
                    <a:pt x="1016415" y="734626"/>
                    <a:pt x="1011918" y="731414"/>
                  </a:cubicBezTo>
                  <a:cubicBezTo>
                    <a:pt x="1008705" y="729486"/>
                    <a:pt x="1006135" y="726916"/>
                    <a:pt x="1003565" y="723061"/>
                  </a:cubicBezTo>
                  <a:cubicBezTo>
                    <a:pt x="1002280" y="720491"/>
                    <a:pt x="1000995" y="717279"/>
                    <a:pt x="999710" y="713424"/>
                  </a:cubicBezTo>
                  <a:cubicBezTo>
                    <a:pt x="997140" y="702502"/>
                    <a:pt x="992000" y="703144"/>
                    <a:pt x="984290" y="695434"/>
                  </a:cubicBezTo>
                  <a:cubicBezTo>
                    <a:pt x="975938" y="688367"/>
                    <a:pt x="975938" y="679372"/>
                    <a:pt x="975296" y="672947"/>
                  </a:cubicBezTo>
                  <a:cubicBezTo>
                    <a:pt x="974653" y="666523"/>
                    <a:pt x="977866" y="665238"/>
                    <a:pt x="987503" y="658813"/>
                  </a:cubicBezTo>
                  <a:cubicBezTo>
                    <a:pt x="996498" y="652388"/>
                    <a:pt x="995855" y="648533"/>
                    <a:pt x="998425" y="643393"/>
                  </a:cubicBezTo>
                  <a:cubicBezTo>
                    <a:pt x="1000995" y="638253"/>
                    <a:pt x="1000353" y="636968"/>
                    <a:pt x="1001638" y="633113"/>
                  </a:cubicBezTo>
                  <a:cubicBezTo>
                    <a:pt x="1002923" y="628616"/>
                    <a:pt x="1006778" y="613196"/>
                    <a:pt x="1006778" y="609341"/>
                  </a:cubicBezTo>
                  <a:cubicBezTo>
                    <a:pt x="1006778" y="605486"/>
                    <a:pt x="1008063" y="593921"/>
                    <a:pt x="1010632" y="590709"/>
                  </a:cubicBezTo>
                  <a:cubicBezTo>
                    <a:pt x="1013202" y="587497"/>
                    <a:pt x="1012560" y="570792"/>
                    <a:pt x="1012560" y="563082"/>
                  </a:cubicBezTo>
                  <a:cubicBezTo>
                    <a:pt x="1012560" y="555372"/>
                    <a:pt x="1010632" y="552160"/>
                    <a:pt x="1009347" y="547662"/>
                  </a:cubicBezTo>
                  <a:cubicBezTo>
                    <a:pt x="1007420" y="543165"/>
                    <a:pt x="1008063" y="539953"/>
                    <a:pt x="1008063" y="536740"/>
                  </a:cubicBezTo>
                  <a:cubicBezTo>
                    <a:pt x="1008063" y="532885"/>
                    <a:pt x="1004208" y="527745"/>
                    <a:pt x="1002280" y="525175"/>
                  </a:cubicBezTo>
                  <a:cubicBezTo>
                    <a:pt x="1000353" y="522605"/>
                    <a:pt x="1001638" y="505901"/>
                    <a:pt x="1000995" y="503973"/>
                  </a:cubicBezTo>
                  <a:cubicBezTo>
                    <a:pt x="1000995" y="502046"/>
                    <a:pt x="995855" y="491123"/>
                    <a:pt x="992000" y="487268"/>
                  </a:cubicBezTo>
                  <a:cubicBezTo>
                    <a:pt x="988145" y="483414"/>
                    <a:pt x="979793" y="485984"/>
                    <a:pt x="963731" y="480844"/>
                  </a:cubicBezTo>
                  <a:cubicBezTo>
                    <a:pt x="947669" y="476346"/>
                    <a:pt x="957306" y="473776"/>
                    <a:pt x="950881" y="460284"/>
                  </a:cubicBezTo>
                  <a:cubicBezTo>
                    <a:pt x="944456" y="446792"/>
                    <a:pt x="937389" y="436512"/>
                    <a:pt x="937389" y="433942"/>
                  </a:cubicBezTo>
                  <a:cubicBezTo>
                    <a:pt x="936746" y="431372"/>
                    <a:pt x="936746" y="424947"/>
                    <a:pt x="944456" y="412097"/>
                  </a:cubicBezTo>
                  <a:cubicBezTo>
                    <a:pt x="951524" y="399248"/>
                    <a:pt x="956021" y="403103"/>
                    <a:pt x="957948" y="399890"/>
                  </a:cubicBezTo>
                  <a:cubicBezTo>
                    <a:pt x="959876" y="396678"/>
                    <a:pt x="966301" y="381258"/>
                    <a:pt x="966301" y="374191"/>
                  </a:cubicBezTo>
                  <a:cubicBezTo>
                    <a:pt x="966301" y="367766"/>
                    <a:pt x="961161" y="365196"/>
                    <a:pt x="959233" y="357486"/>
                  </a:cubicBezTo>
                  <a:cubicBezTo>
                    <a:pt x="956664" y="349776"/>
                    <a:pt x="954736" y="345279"/>
                    <a:pt x="954094" y="342709"/>
                  </a:cubicBezTo>
                  <a:cubicBezTo>
                    <a:pt x="952809" y="340139"/>
                    <a:pt x="942529" y="332429"/>
                    <a:pt x="936104" y="327932"/>
                  </a:cubicBezTo>
                  <a:cubicBezTo>
                    <a:pt x="929679" y="322792"/>
                    <a:pt x="918757" y="320222"/>
                    <a:pt x="908477" y="312512"/>
                  </a:cubicBezTo>
                  <a:cubicBezTo>
                    <a:pt x="898197" y="304160"/>
                    <a:pt x="893700" y="295807"/>
                    <a:pt x="889202" y="290667"/>
                  </a:cubicBezTo>
                  <a:cubicBezTo>
                    <a:pt x="884705" y="285528"/>
                    <a:pt x="857721" y="265610"/>
                    <a:pt x="857078" y="264968"/>
                  </a:cubicBezTo>
                  <a:cubicBezTo>
                    <a:pt x="856436" y="264325"/>
                    <a:pt x="839731" y="257258"/>
                    <a:pt x="832021" y="250833"/>
                  </a:cubicBezTo>
                  <a:cubicBezTo>
                    <a:pt x="823669" y="243766"/>
                    <a:pt x="823026" y="244408"/>
                    <a:pt x="819814" y="236698"/>
                  </a:cubicBezTo>
                  <a:cubicBezTo>
                    <a:pt x="816601" y="228989"/>
                    <a:pt x="817886" y="223849"/>
                    <a:pt x="814674" y="216781"/>
                  </a:cubicBezTo>
                  <a:cubicBezTo>
                    <a:pt x="811461" y="209714"/>
                    <a:pt x="808249" y="196864"/>
                    <a:pt x="808249" y="194294"/>
                  </a:cubicBezTo>
                  <a:cubicBezTo>
                    <a:pt x="808249" y="191724"/>
                    <a:pt x="808892" y="185299"/>
                    <a:pt x="809534" y="183372"/>
                  </a:cubicBezTo>
                  <a:cubicBezTo>
                    <a:pt x="810176" y="182087"/>
                    <a:pt x="827524" y="177590"/>
                    <a:pt x="837161" y="169880"/>
                  </a:cubicBezTo>
                  <a:cubicBezTo>
                    <a:pt x="846798" y="162170"/>
                    <a:pt x="854508" y="157673"/>
                    <a:pt x="860290" y="150605"/>
                  </a:cubicBezTo>
                  <a:cubicBezTo>
                    <a:pt x="866715" y="142253"/>
                    <a:pt x="865430" y="131973"/>
                    <a:pt x="873783" y="124263"/>
                  </a:cubicBezTo>
                  <a:cubicBezTo>
                    <a:pt x="874425" y="90854"/>
                    <a:pt x="873783" y="56802"/>
                    <a:pt x="873783" y="23393"/>
                  </a:cubicBezTo>
                  <a:cubicBezTo>
                    <a:pt x="873783" y="22750"/>
                    <a:pt x="873783" y="22108"/>
                    <a:pt x="873783" y="21465"/>
                  </a:cubicBezTo>
                  <a:cubicBezTo>
                    <a:pt x="871855" y="21465"/>
                    <a:pt x="869928" y="21465"/>
                    <a:pt x="868000" y="21465"/>
                  </a:cubicBezTo>
                  <a:cubicBezTo>
                    <a:pt x="863503" y="21465"/>
                    <a:pt x="858363" y="20823"/>
                    <a:pt x="853866" y="22108"/>
                  </a:cubicBezTo>
                  <a:cubicBezTo>
                    <a:pt x="847441" y="24035"/>
                    <a:pt x="843586" y="29175"/>
                    <a:pt x="839731" y="34315"/>
                  </a:cubicBezTo>
                  <a:cubicBezTo>
                    <a:pt x="833306" y="42025"/>
                    <a:pt x="827524" y="50377"/>
                    <a:pt x="818529" y="54875"/>
                  </a:cubicBezTo>
                  <a:cubicBezTo>
                    <a:pt x="809534" y="59372"/>
                    <a:pt x="797969" y="59372"/>
                    <a:pt x="788332" y="54875"/>
                  </a:cubicBezTo>
                  <a:cubicBezTo>
                    <a:pt x="778695" y="50377"/>
                    <a:pt x="772270" y="41382"/>
                    <a:pt x="770985" y="31745"/>
                  </a:cubicBezTo>
                  <a:cubicBezTo>
                    <a:pt x="770342" y="27890"/>
                    <a:pt x="770985" y="24035"/>
                    <a:pt x="769700" y="20180"/>
                  </a:cubicBezTo>
                  <a:cubicBezTo>
                    <a:pt x="765845" y="9258"/>
                    <a:pt x="750425" y="2833"/>
                    <a:pt x="739503" y="906"/>
                  </a:cubicBezTo>
                  <a:cubicBezTo>
                    <a:pt x="729223" y="-1022"/>
                    <a:pt x="718301" y="263"/>
                    <a:pt x="708663" y="3476"/>
                  </a:cubicBezTo>
                  <a:cubicBezTo>
                    <a:pt x="702239" y="6046"/>
                    <a:pt x="695814" y="9258"/>
                    <a:pt x="689389" y="11185"/>
                  </a:cubicBezTo>
                  <a:cubicBezTo>
                    <a:pt x="682964" y="13113"/>
                    <a:pt x="675254" y="14398"/>
                    <a:pt x="668829" y="11828"/>
                  </a:cubicBezTo>
                  <a:cubicBezTo>
                    <a:pt x="663689" y="9900"/>
                    <a:pt x="659192" y="6046"/>
                    <a:pt x="653409" y="4118"/>
                  </a:cubicBezTo>
                  <a:cubicBezTo>
                    <a:pt x="643130" y="263"/>
                    <a:pt x="630922" y="6046"/>
                    <a:pt x="623855" y="13755"/>
                  </a:cubicBezTo>
                  <a:cubicBezTo>
                    <a:pt x="616788" y="22108"/>
                    <a:pt x="614218" y="32388"/>
                    <a:pt x="611648" y="42667"/>
                  </a:cubicBezTo>
                  <a:cubicBezTo>
                    <a:pt x="609720" y="51020"/>
                    <a:pt x="607793" y="60014"/>
                    <a:pt x="602011" y="66439"/>
                  </a:cubicBezTo>
                  <a:cubicBezTo>
                    <a:pt x="596871" y="72222"/>
                    <a:pt x="588518" y="75434"/>
                    <a:pt x="580809" y="74792"/>
                  </a:cubicBezTo>
                  <a:cubicBezTo>
                    <a:pt x="573099" y="74149"/>
                    <a:pt x="566674" y="70937"/>
                    <a:pt x="558964" y="70294"/>
                  </a:cubicBezTo>
                  <a:cubicBezTo>
                    <a:pt x="549969" y="69009"/>
                    <a:pt x="540332" y="71579"/>
                    <a:pt x="531979" y="75434"/>
                  </a:cubicBezTo>
                  <a:cubicBezTo>
                    <a:pt x="522985" y="78647"/>
                    <a:pt x="513347" y="83787"/>
                    <a:pt x="508207" y="90854"/>
                  </a:cubicBezTo>
                  <a:cubicBezTo>
                    <a:pt x="504353" y="95351"/>
                    <a:pt x="502425" y="101134"/>
                    <a:pt x="499213" y="106274"/>
                  </a:cubicBezTo>
                  <a:cubicBezTo>
                    <a:pt x="496000" y="110771"/>
                    <a:pt x="491503" y="114626"/>
                    <a:pt x="486363" y="117196"/>
                  </a:cubicBezTo>
                  <a:cubicBezTo>
                    <a:pt x="472228" y="124263"/>
                    <a:pt x="455523" y="119123"/>
                    <a:pt x="440746" y="113983"/>
                  </a:cubicBezTo>
                  <a:cubicBezTo>
                    <a:pt x="431751" y="110771"/>
                    <a:pt x="422757" y="108201"/>
                    <a:pt x="413119" y="104989"/>
                  </a:cubicBezTo>
                  <a:cubicBezTo>
                    <a:pt x="402197" y="101134"/>
                    <a:pt x="391917" y="97921"/>
                    <a:pt x="380995" y="93424"/>
                  </a:cubicBezTo>
                  <a:cubicBezTo>
                    <a:pt x="373285" y="90211"/>
                    <a:pt x="366218" y="86999"/>
                    <a:pt x="358508" y="85071"/>
                  </a:cubicBezTo>
                  <a:cubicBezTo>
                    <a:pt x="346301" y="82501"/>
                    <a:pt x="333451" y="85071"/>
                    <a:pt x="321244" y="82501"/>
                  </a:cubicBezTo>
                  <a:cubicBezTo>
                    <a:pt x="312249" y="80574"/>
                    <a:pt x="303896" y="75434"/>
                    <a:pt x="295544" y="70294"/>
                  </a:cubicBezTo>
                  <a:cubicBezTo>
                    <a:pt x="287192" y="65154"/>
                    <a:pt x="278197" y="60014"/>
                    <a:pt x="269845" y="54875"/>
                  </a:cubicBezTo>
                  <a:cubicBezTo>
                    <a:pt x="263420" y="51020"/>
                    <a:pt x="256352" y="46522"/>
                    <a:pt x="248642" y="43952"/>
                  </a:cubicBezTo>
                  <a:cubicBezTo>
                    <a:pt x="237720" y="40097"/>
                    <a:pt x="224871" y="40097"/>
                    <a:pt x="213948" y="43952"/>
                  </a:cubicBezTo>
                  <a:cubicBezTo>
                    <a:pt x="204311" y="47165"/>
                    <a:pt x="199171" y="54232"/>
                    <a:pt x="203668" y="63869"/>
                  </a:cubicBezTo>
                  <a:cubicBezTo>
                    <a:pt x="208166" y="74149"/>
                    <a:pt x="176684" y="92781"/>
                    <a:pt x="163192" y="99849"/>
                  </a:cubicBezTo>
                  <a:cubicBezTo>
                    <a:pt x="149699" y="106274"/>
                    <a:pt x="131067" y="100491"/>
                    <a:pt x="113720" y="98564"/>
                  </a:cubicBezTo>
                  <a:cubicBezTo>
                    <a:pt x="102155" y="97279"/>
                    <a:pt x="92518" y="109486"/>
                    <a:pt x="87378" y="117196"/>
                  </a:cubicBezTo>
                  <a:cubicBezTo>
                    <a:pt x="84808" y="121051"/>
                    <a:pt x="83523" y="123621"/>
                    <a:pt x="83523" y="123621"/>
                  </a:cubicBezTo>
                  <a:lnTo>
                    <a:pt x="83523" y="142253"/>
                  </a:lnTo>
                  <a:cubicBezTo>
                    <a:pt x="83523" y="149963"/>
                    <a:pt x="77098" y="151890"/>
                    <a:pt x="66176" y="153818"/>
                  </a:cubicBezTo>
                  <a:cubicBezTo>
                    <a:pt x="55896" y="155745"/>
                    <a:pt x="50114" y="148678"/>
                    <a:pt x="46259" y="148035"/>
                  </a:cubicBezTo>
                  <a:cubicBezTo>
                    <a:pt x="42404" y="147393"/>
                    <a:pt x="35979" y="157673"/>
                    <a:pt x="34052" y="163455"/>
                  </a:cubicBezTo>
                  <a:cubicBezTo>
                    <a:pt x="31482" y="168595"/>
                    <a:pt x="27627" y="164097"/>
                    <a:pt x="24414" y="163455"/>
                  </a:cubicBezTo>
                  <a:cubicBezTo>
                    <a:pt x="21845" y="162812"/>
                    <a:pt x="10922" y="156388"/>
                    <a:pt x="0" y="153818"/>
                  </a:cubicBezTo>
                  <a:cubicBezTo>
                    <a:pt x="1285" y="160242"/>
                    <a:pt x="3212" y="166025"/>
                    <a:pt x="5782" y="171807"/>
                  </a:cubicBezTo>
                  <a:cubicBezTo>
                    <a:pt x="8352" y="177590"/>
                    <a:pt x="12850" y="184014"/>
                    <a:pt x="19917" y="185299"/>
                  </a:cubicBezTo>
                  <a:cubicBezTo>
                    <a:pt x="30839" y="187869"/>
                    <a:pt x="41119" y="176305"/>
                    <a:pt x="52684" y="176305"/>
                  </a:cubicBezTo>
                  <a:cubicBezTo>
                    <a:pt x="58466" y="176305"/>
                    <a:pt x="63606" y="179517"/>
                    <a:pt x="68746" y="182730"/>
                  </a:cubicBezTo>
                  <a:cubicBezTo>
                    <a:pt x="74528" y="185942"/>
                    <a:pt x="79668" y="189154"/>
                    <a:pt x="86093" y="189154"/>
                  </a:cubicBezTo>
                  <a:cubicBezTo>
                    <a:pt x="90591" y="189154"/>
                    <a:pt x="94446" y="187227"/>
                    <a:pt x="98943" y="187227"/>
                  </a:cubicBezTo>
                  <a:cubicBezTo>
                    <a:pt x="100870" y="187227"/>
                    <a:pt x="102798" y="187227"/>
                    <a:pt x="104725" y="187869"/>
                  </a:cubicBezTo>
                  <a:cubicBezTo>
                    <a:pt x="109223" y="189797"/>
                    <a:pt x="111793" y="194294"/>
                    <a:pt x="113720" y="198792"/>
                  </a:cubicBezTo>
                  <a:cubicBezTo>
                    <a:pt x="118860" y="208429"/>
                    <a:pt x="127212" y="218709"/>
                    <a:pt x="138777" y="219351"/>
                  </a:cubicBezTo>
                  <a:cubicBezTo>
                    <a:pt x="144560" y="219994"/>
                    <a:pt x="149699" y="218066"/>
                    <a:pt x="155482" y="218709"/>
                  </a:cubicBezTo>
                  <a:cubicBezTo>
                    <a:pt x="161264" y="219351"/>
                    <a:pt x="167047" y="223206"/>
                    <a:pt x="166404" y="228346"/>
                  </a:cubicBezTo>
                  <a:cubicBezTo>
                    <a:pt x="165762" y="232844"/>
                    <a:pt x="160622" y="235413"/>
                    <a:pt x="161264" y="239911"/>
                  </a:cubicBezTo>
                  <a:cubicBezTo>
                    <a:pt x="161907" y="243766"/>
                    <a:pt x="165762" y="245693"/>
                    <a:pt x="169617" y="247621"/>
                  </a:cubicBezTo>
                  <a:cubicBezTo>
                    <a:pt x="185679" y="254046"/>
                    <a:pt x="203668" y="260471"/>
                    <a:pt x="219088" y="252761"/>
                  </a:cubicBezTo>
                  <a:cubicBezTo>
                    <a:pt x="222300" y="251476"/>
                    <a:pt x="224871" y="249548"/>
                    <a:pt x="228083" y="248906"/>
                  </a:cubicBezTo>
                  <a:cubicBezTo>
                    <a:pt x="230653" y="248263"/>
                    <a:pt x="233223" y="248906"/>
                    <a:pt x="235793" y="249548"/>
                  </a:cubicBezTo>
                  <a:cubicBezTo>
                    <a:pt x="244145" y="251476"/>
                    <a:pt x="252497" y="253403"/>
                    <a:pt x="260207" y="256616"/>
                  </a:cubicBezTo>
                  <a:cubicBezTo>
                    <a:pt x="269845" y="261113"/>
                    <a:pt x="274985" y="266895"/>
                    <a:pt x="275627" y="276533"/>
                  </a:cubicBezTo>
                  <a:cubicBezTo>
                    <a:pt x="276270" y="287455"/>
                    <a:pt x="276912" y="299020"/>
                    <a:pt x="276912" y="309942"/>
                  </a:cubicBezTo>
                  <a:cubicBezTo>
                    <a:pt x="276912" y="315082"/>
                    <a:pt x="277554" y="320864"/>
                    <a:pt x="276270" y="326004"/>
                  </a:cubicBezTo>
                  <a:cubicBezTo>
                    <a:pt x="274985" y="334357"/>
                    <a:pt x="271130" y="342066"/>
                    <a:pt x="271130" y="351061"/>
                  </a:cubicBezTo>
                  <a:cubicBezTo>
                    <a:pt x="271130" y="356201"/>
                    <a:pt x="272415" y="361983"/>
                    <a:pt x="271772" y="367123"/>
                  </a:cubicBezTo>
                  <a:cubicBezTo>
                    <a:pt x="269845" y="379331"/>
                    <a:pt x="255067" y="387683"/>
                    <a:pt x="254425" y="399890"/>
                  </a:cubicBezTo>
                  <a:cubicBezTo>
                    <a:pt x="254425" y="402460"/>
                    <a:pt x="254425" y="405030"/>
                    <a:pt x="256352" y="406315"/>
                  </a:cubicBezTo>
                  <a:cubicBezTo>
                    <a:pt x="258922" y="408885"/>
                    <a:pt x="262777" y="409528"/>
                    <a:pt x="266632" y="409528"/>
                  </a:cubicBezTo>
                  <a:cubicBezTo>
                    <a:pt x="274342" y="409528"/>
                    <a:pt x="282052" y="410170"/>
                    <a:pt x="289762" y="409528"/>
                  </a:cubicBezTo>
                  <a:cubicBezTo>
                    <a:pt x="295544" y="409528"/>
                    <a:pt x="302611" y="410813"/>
                    <a:pt x="303254" y="415952"/>
                  </a:cubicBezTo>
                  <a:cubicBezTo>
                    <a:pt x="303254" y="418522"/>
                    <a:pt x="301969" y="421092"/>
                    <a:pt x="300041" y="423020"/>
                  </a:cubicBezTo>
                  <a:cubicBezTo>
                    <a:pt x="294902" y="430087"/>
                    <a:pt x="291689" y="438440"/>
                    <a:pt x="290404" y="446792"/>
                  </a:cubicBezTo>
                  <a:cubicBezTo>
                    <a:pt x="289119" y="455144"/>
                    <a:pt x="290404" y="463496"/>
                    <a:pt x="289762" y="471849"/>
                  </a:cubicBezTo>
                  <a:cubicBezTo>
                    <a:pt x="289119" y="479559"/>
                    <a:pt x="287192" y="486626"/>
                    <a:pt x="285907" y="494336"/>
                  </a:cubicBezTo>
                  <a:cubicBezTo>
                    <a:pt x="280124" y="529030"/>
                    <a:pt x="287834" y="565652"/>
                    <a:pt x="307751" y="595206"/>
                  </a:cubicBezTo>
                  <a:cubicBezTo>
                    <a:pt x="307751" y="595206"/>
                    <a:pt x="339876" y="645320"/>
                    <a:pt x="392560" y="645320"/>
                  </a:cubicBezTo>
                  <a:cubicBezTo>
                    <a:pt x="445244" y="645320"/>
                    <a:pt x="458093" y="660098"/>
                    <a:pt x="483150" y="665238"/>
                  </a:cubicBezTo>
                  <a:cubicBezTo>
                    <a:pt x="508207" y="670377"/>
                    <a:pt x="521700" y="663953"/>
                    <a:pt x="536477" y="674875"/>
                  </a:cubicBezTo>
                  <a:cubicBezTo>
                    <a:pt x="551254" y="685797"/>
                    <a:pt x="551897" y="717921"/>
                    <a:pt x="552539" y="726274"/>
                  </a:cubicBezTo>
                  <a:cubicBezTo>
                    <a:pt x="553181" y="735269"/>
                    <a:pt x="571814" y="746833"/>
                    <a:pt x="558964" y="760968"/>
                  </a:cubicBezTo>
                  <a:cubicBezTo>
                    <a:pt x="548042" y="772533"/>
                    <a:pt x="533264" y="783455"/>
                    <a:pt x="528767" y="786025"/>
                  </a:cubicBezTo>
                  <a:cubicBezTo>
                    <a:pt x="528124" y="786668"/>
                    <a:pt x="527482" y="786668"/>
                    <a:pt x="527482" y="786668"/>
                  </a:cubicBezTo>
                  <a:cubicBezTo>
                    <a:pt x="527482" y="786668"/>
                    <a:pt x="567959" y="807870"/>
                    <a:pt x="574384" y="811082"/>
                  </a:cubicBezTo>
                  <a:cubicBezTo>
                    <a:pt x="579523" y="813652"/>
                    <a:pt x="586591" y="824574"/>
                    <a:pt x="589161" y="837424"/>
                  </a:cubicBezTo>
                  <a:cubicBezTo>
                    <a:pt x="589803" y="840637"/>
                    <a:pt x="589803" y="843849"/>
                    <a:pt x="589803" y="847061"/>
                  </a:cubicBezTo>
                  <a:cubicBezTo>
                    <a:pt x="588518" y="863124"/>
                    <a:pt x="577596" y="881113"/>
                    <a:pt x="577596" y="884326"/>
                  </a:cubicBezTo>
                  <a:cubicBezTo>
                    <a:pt x="577596" y="887538"/>
                    <a:pt x="576311" y="899745"/>
                    <a:pt x="589803" y="895248"/>
                  </a:cubicBezTo>
                  <a:cubicBezTo>
                    <a:pt x="603938" y="890751"/>
                    <a:pt x="621928" y="880471"/>
                    <a:pt x="628353" y="878543"/>
                  </a:cubicBezTo>
                  <a:cubicBezTo>
                    <a:pt x="634777" y="876616"/>
                    <a:pt x="643130" y="868906"/>
                    <a:pt x="651482" y="875331"/>
                  </a:cubicBezTo>
                  <a:cubicBezTo>
                    <a:pt x="659834" y="881756"/>
                    <a:pt x="650840" y="880471"/>
                    <a:pt x="666259" y="886896"/>
                  </a:cubicBezTo>
                  <a:cubicBezTo>
                    <a:pt x="681679" y="893321"/>
                    <a:pt x="729865" y="899103"/>
                    <a:pt x="740788" y="899103"/>
                  </a:cubicBezTo>
                  <a:cubicBezTo>
                    <a:pt x="751710" y="899103"/>
                    <a:pt x="819171" y="886896"/>
                    <a:pt x="828166" y="875331"/>
                  </a:cubicBezTo>
                  <a:cubicBezTo>
                    <a:pt x="837161" y="864409"/>
                    <a:pt x="838446" y="861196"/>
                    <a:pt x="842943" y="848346"/>
                  </a:cubicBezTo>
                  <a:cubicBezTo>
                    <a:pt x="847441" y="835497"/>
                    <a:pt x="857078" y="827787"/>
                    <a:pt x="864788" y="827787"/>
                  </a:cubicBezTo>
                  <a:cubicBezTo>
                    <a:pt x="871855" y="827787"/>
                    <a:pt x="881492" y="830999"/>
                    <a:pt x="896270" y="827787"/>
                  </a:cubicBezTo>
                  <a:cubicBezTo>
                    <a:pt x="911047" y="824574"/>
                    <a:pt x="916187" y="822004"/>
                    <a:pt x="927752" y="812367"/>
                  </a:cubicBezTo>
                  <a:cubicBezTo>
                    <a:pt x="939316" y="802730"/>
                    <a:pt x="954736" y="796305"/>
                    <a:pt x="957306" y="796305"/>
                  </a:cubicBezTo>
                  <a:cubicBezTo>
                    <a:pt x="959876" y="796305"/>
                    <a:pt x="959876" y="803372"/>
                    <a:pt x="967586" y="803372"/>
                  </a:cubicBezTo>
                  <a:cubicBezTo>
                    <a:pt x="975296" y="804015"/>
                    <a:pt x="983006" y="811082"/>
                    <a:pt x="989430" y="803372"/>
                  </a:cubicBezTo>
                  <a:cubicBezTo>
                    <a:pt x="995855" y="795662"/>
                    <a:pt x="999710" y="786668"/>
                    <a:pt x="1004208" y="784098"/>
                  </a:cubicBezTo>
                  <a:cubicBezTo>
                    <a:pt x="1008705" y="781528"/>
                    <a:pt x="1009347" y="780243"/>
                    <a:pt x="1015130" y="780243"/>
                  </a:cubicBezTo>
                  <a:cubicBezTo>
                    <a:pt x="1017700" y="780243"/>
                    <a:pt x="1024125" y="777673"/>
                    <a:pt x="1030550" y="773818"/>
                  </a:cubicBezTo>
                  <a:cubicBezTo>
                    <a:pt x="1032477" y="769963"/>
                    <a:pt x="1033762" y="765466"/>
                    <a:pt x="1034405" y="761611"/>
                  </a:cubicBezTo>
                  <a:cubicBezTo>
                    <a:pt x="1029907" y="753901"/>
                    <a:pt x="1027980" y="754543"/>
                    <a:pt x="1024767" y="742978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 461">
              <a:extLst>
                <a:ext uri="{FF2B5EF4-FFF2-40B4-BE49-F238E27FC236}">
                  <a16:creationId xmlns:a16="http://schemas.microsoft.com/office/drawing/2014/main" id="{52CAF0F0-6E1F-B4B3-B3A5-74372F99A54E}"/>
                </a:ext>
              </a:extLst>
            </p:cNvPr>
            <p:cNvSpPr/>
            <p:nvPr/>
          </p:nvSpPr>
          <p:spPr>
            <a:xfrm>
              <a:off x="3296699" y="2880067"/>
              <a:ext cx="1034404" cy="899102"/>
            </a:xfrm>
            <a:custGeom>
              <a:avLst/>
              <a:gdLst>
                <a:gd name="connsiteX0" fmla="*/ 700954 w 1034404"/>
                <a:gd name="connsiteY0" fmla="*/ 445507 h 899102"/>
                <a:gd name="connsiteX1" fmla="*/ 687461 w 1034404"/>
                <a:gd name="connsiteY1" fmla="*/ 468636 h 899102"/>
                <a:gd name="connsiteX2" fmla="*/ 681679 w 1034404"/>
                <a:gd name="connsiteY2" fmla="*/ 464139 h 899102"/>
                <a:gd name="connsiteX3" fmla="*/ 668829 w 1034404"/>
                <a:gd name="connsiteY3" fmla="*/ 451289 h 899102"/>
                <a:gd name="connsiteX4" fmla="*/ 642487 w 1034404"/>
                <a:gd name="connsiteY4" fmla="*/ 441652 h 899102"/>
                <a:gd name="connsiteX5" fmla="*/ 619358 w 1034404"/>
                <a:gd name="connsiteY5" fmla="*/ 458357 h 899102"/>
                <a:gd name="connsiteX6" fmla="*/ 579523 w 1034404"/>
                <a:gd name="connsiteY6" fmla="*/ 446149 h 899102"/>
                <a:gd name="connsiteX7" fmla="*/ 558321 w 1034404"/>
                <a:gd name="connsiteY7" fmla="*/ 439724 h 899102"/>
                <a:gd name="connsiteX8" fmla="*/ 532622 w 1034404"/>
                <a:gd name="connsiteY8" fmla="*/ 451289 h 899102"/>
                <a:gd name="connsiteX9" fmla="*/ 528767 w 1034404"/>
                <a:gd name="connsiteY9" fmla="*/ 433300 h 899102"/>
                <a:gd name="connsiteX10" fmla="*/ 535192 w 1034404"/>
                <a:gd name="connsiteY10" fmla="*/ 395393 h 899102"/>
                <a:gd name="connsiteX11" fmla="*/ 535192 w 1034404"/>
                <a:gd name="connsiteY11" fmla="*/ 363269 h 899102"/>
                <a:gd name="connsiteX12" fmla="*/ 578881 w 1034404"/>
                <a:gd name="connsiteY12" fmla="*/ 338211 h 899102"/>
                <a:gd name="connsiteX13" fmla="*/ 593016 w 1034404"/>
                <a:gd name="connsiteY13" fmla="*/ 334999 h 899102"/>
                <a:gd name="connsiteX14" fmla="*/ 600726 w 1034404"/>
                <a:gd name="connsiteY14" fmla="*/ 341424 h 899102"/>
                <a:gd name="connsiteX15" fmla="*/ 628353 w 1034404"/>
                <a:gd name="connsiteY15" fmla="*/ 342709 h 899102"/>
                <a:gd name="connsiteX16" fmla="*/ 636062 w 1034404"/>
                <a:gd name="connsiteY16" fmla="*/ 358129 h 899102"/>
                <a:gd name="connsiteX17" fmla="*/ 666902 w 1034404"/>
                <a:gd name="connsiteY17" fmla="*/ 380616 h 899102"/>
                <a:gd name="connsiteX18" fmla="*/ 681037 w 1034404"/>
                <a:gd name="connsiteY18" fmla="*/ 397963 h 899102"/>
                <a:gd name="connsiteX19" fmla="*/ 716373 w 1034404"/>
                <a:gd name="connsiteY19" fmla="*/ 412097 h 899102"/>
                <a:gd name="connsiteX20" fmla="*/ 700954 w 1034404"/>
                <a:gd name="connsiteY20" fmla="*/ 445507 h 899102"/>
                <a:gd name="connsiteX21" fmla="*/ 1024767 w 1034404"/>
                <a:gd name="connsiteY21" fmla="*/ 742978 h 899102"/>
                <a:gd name="connsiteX22" fmla="*/ 1011918 w 1034404"/>
                <a:gd name="connsiteY22" fmla="*/ 731414 h 899102"/>
                <a:gd name="connsiteX23" fmla="*/ 1003565 w 1034404"/>
                <a:gd name="connsiteY23" fmla="*/ 723061 h 899102"/>
                <a:gd name="connsiteX24" fmla="*/ 999710 w 1034404"/>
                <a:gd name="connsiteY24" fmla="*/ 713424 h 899102"/>
                <a:gd name="connsiteX25" fmla="*/ 984290 w 1034404"/>
                <a:gd name="connsiteY25" fmla="*/ 695434 h 899102"/>
                <a:gd name="connsiteX26" fmla="*/ 975296 w 1034404"/>
                <a:gd name="connsiteY26" fmla="*/ 672947 h 899102"/>
                <a:gd name="connsiteX27" fmla="*/ 987503 w 1034404"/>
                <a:gd name="connsiteY27" fmla="*/ 658813 h 899102"/>
                <a:gd name="connsiteX28" fmla="*/ 998425 w 1034404"/>
                <a:gd name="connsiteY28" fmla="*/ 643393 h 899102"/>
                <a:gd name="connsiteX29" fmla="*/ 1001638 w 1034404"/>
                <a:gd name="connsiteY29" fmla="*/ 633113 h 899102"/>
                <a:gd name="connsiteX30" fmla="*/ 1006778 w 1034404"/>
                <a:gd name="connsiteY30" fmla="*/ 609341 h 899102"/>
                <a:gd name="connsiteX31" fmla="*/ 1010632 w 1034404"/>
                <a:gd name="connsiteY31" fmla="*/ 590709 h 899102"/>
                <a:gd name="connsiteX32" fmla="*/ 1012560 w 1034404"/>
                <a:gd name="connsiteY32" fmla="*/ 563082 h 899102"/>
                <a:gd name="connsiteX33" fmla="*/ 1009347 w 1034404"/>
                <a:gd name="connsiteY33" fmla="*/ 547662 h 899102"/>
                <a:gd name="connsiteX34" fmla="*/ 1008063 w 1034404"/>
                <a:gd name="connsiteY34" fmla="*/ 536740 h 899102"/>
                <a:gd name="connsiteX35" fmla="*/ 1002280 w 1034404"/>
                <a:gd name="connsiteY35" fmla="*/ 525175 h 899102"/>
                <a:gd name="connsiteX36" fmla="*/ 1000995 w 1034404"/>
                <a:gd name="connsiteY36" fmla="*/ 503973 h 899102"/>
                <a:gd name="connsiteX37" fmla="*/ 992000 w 1034404"/>
                <a:gd name="connsiteY37" fmla="*/ 487268 h 899102"/>
                <a:gd name="connsiteX38" fmla="*/ 963731 w 1034404"/>
                <a:gd name="connsiteY38" fmla="*/ 480844 h 899102"/>
                <a:gd name="connsiteX39" fmla="*/ 950881 w 1034404"/>
                <a:gd name="connsiteY39" fmla="*/ 460284 h 899102"/>
                <a:gd name="connsiteX40" fmla="*/ 937389 w 1034404"/>
                <a:gd name="connsiteY40" fmla="*/ 433942 h 899102"/>
                <a:gd name="connsiteX41" fmla="*/ 944456 w 1034404"/>
                <a:gd name="connsiteY41" fmla="*/ 412097 h 899102"/>
                <a:gd name="connsiteX42" fmla="*/ 957948 w 1034404"/>
                <a:gd name="connsiteY42" fmla="*/ 399890 h 899102"/>
                <a:gd name="connsiteX43" fmla="*/ 966301 w 1034404"/>
                <a:gd name="connsiteY43" fmla="*/ 374191 h 899102"/>
                <a:gd name="connsiteX44" fmla="*/ 959233 w 1034404"/>
                <a:gd name="connsiteY44" fmla="*/ 357486 h 899102"/>
                <a:gd name="connsiteX45" fmla="*/ 954094 w 1034404"/>
                <a:gd name="connsiteY45" fmla="*/ 342709 h 899102"/>
                <a:gd name="connsiteX46" fmla="*/ 936104 w 1034404"/>
                <a:gd name="connsiteY46" fmla="*/ 327932 h 899102"/>
                <a:gd name="connsiteX47" fmla="*/ 908477 w 1034404"/>
                <a:gd name="connsiteY47" fmla="*/ 312512 h 899102"/>
                <a:gd name="connsiteX48" fmla="*/ 889202 w 1034404"/>
                <a:gd name="connsiteY48" fmla="*/ 290667 h 899102"/>
                <a:gd name="connsiteX49" fmla="*/ 857078 w 1034404"/>
                <a:gd name="connsiteY49" fmla="*/ 264968 h 899102"/>
                <a:gd name="connsiteX50" fmla="*/ 832021 w 1034404"/>
                <a:gd name="connsiteY50" fmla="*/ 250833 h 899102"/>
                <a:gd name="connsiteX51" fmla="*/ 819814 w 1034404"/>
                <a:gd name="connsiteY51" fmla="*/ 236698 h 899102"/>
                <a:gd name="connsiteX52" fmla="*/ 814674 w 1034404"/>
                <a:gd name="connsiteY52" fmla="*/ 216781 h 899102"/>
                <a:gd name="connsiteX53" fmla="*/ 808249 w 1034404"/>
                <a:gd name="connsiteY53" fmla="*/ 194294 h 899102"/>
                <a:gd name="connsiteX54" fmla="*/ 809534 w 1034404"/>
                <a:gd name="connsiteY54" fmla="*/ 183372 h 899102"/>
                <a:gd name="connsiteX55" fmla="*/ 837161 w 1034404"/>
                <a:gd name="connsiteY55" fmla="*/ 169880 h 899102"/>
                <a:gd name="connsiteX56" fmla="*/ 860290 w 1034404"/>
                <a:gd name="connsiteY56" fmla="*/ 150605 h 899102"/>
                <a:gd name="connsiteX57" fmla="*/ 873783 w 1034404"/>
                <a:gd name="connsiteY57" fmla="*/ 124263 h 899102"/>
                <a:gd name="connsiteX58" fmla="*/ 873783 w 1034404"/>
                <a:gd name="connsiteY58" fmla="*/ 23393 h 899102"/>
                <a:gd name="connsiteX59" fmla="*/ 873783 w 1034404"/>
                <a:gd name="connsiteY59" fmla="*/ 21465 h 899102"/>
                <a:gd name="connsiteX60" fmla="*/ 868000 w 1034404"/>
                <a:gd name="connsiteY60" fmla="*/ 21465 h 899102"/>
                <a:gd name="connsiteX61" fmla="*/ 853866 w 1034404"/>
                <a:gd name="connsiteY61" fmla="*/ 22108 h 899102"/>
                <a:gd name="connsiteX62" fmla="*/ 839731 w 1034404"/>
                <a:gd name="connsiteY62" fmla="*/ 34315 h 899102"/>
                <a:gd name="connsiteX63" fmla="*/ 818529 w 1034404"/>
                <a:gd name="connsiteY63" fmla="*/ 54875 h 899102"/>
                <a:gd name="connsiteX64" fmla="*/ 788332 w 1034404"/>
                <a:gd name="connsiteY64" fmla="*/ 54875 h 899102"/>
                <a:gd name="connsiteX65" fmla="*/ 770985 w 1034404"/>
                <a:gd name="connsiteY65" fmla="*/ 31745 h 899102"/>
                <a:gd name="connsiteX66" fmla="*/ 769700 w 1034404"/>
                <a:gd name="connsiteY66" fmla="*/ 20180 h 899102"/>
                <a:gd name="connsiteX67" fmla="*/ 739503 w 1034404"/>
                <a:gd name="connsiteY67" fmla="*/ 906 h 899102"/>
                <a:gd name="connsiteX68" fmla="*/ 708663 w 1034404"/>
                <a:gd name="connsiteY68" fmla="*/ 3476 h 899102"/>
                <a:gd name="connsiteX69" fmla="*/ 689389 w 1034404"/>
                <a:gd name="connsiteY69" fmla="*/ 11185 h 899102"/>
                <a:gd name="connsiteX70" fmla="*/ 668829 w 1034404"/>
                <a:gd name="connsiteY70" fmla="*/ 11828 h 899102"/>
                <a:gd name="connsiteX71" fmla="*/ 653409 w 1034404"/>
                <a:gd name="connsiteY71" fmla="*/ 4118 h 899102"/>
                <a:gd name="connsiteX72" fmla="*/ 623855 w 1034404"/>
                <a:gd name="connsiteY72" fmla="*/ 13755 h 899102"/>
                <a:gd name="connsiteX73" fmla="*/ 611648 w 1034404"/>
                <a:gd name="connsiteY73" fmla="*/ 42667 h 899102"/>
                <a:gd name="connsiteX74" fmla="*/ 602011 w 1034404"/>
                <a:gd name="connsiteY74" fmla="*/ 66439 h 899102"/>
                <a:gd name="connsiteX75" fmla="*/ 580809 w 1034404"/>
                <a:gd name="connsiteY75" fmla="*/ 74792 h 899102"/>
                <a:gd name="connsiteX76" fmla="*/ 558964 w 1034404"/>
                <a:gd name="connsiteY76" fmla="*/ 70294 h 899102"/>
                <a:gd name="connsiteX77" fmla="*/ 531979 w 1034404"/>
                <a:gd name="connsiteY77" fmla="*/ 75434 h 899102"/>
                <a:gd name="connsiteX78" fmla="*/ 508207 w 1034404"/>
                <a:gd name="connsiteY78" fmla="*/ 90854 h 899102"/>
                <a:gd name="connsiteX79" fmla="*/ 499213 w 1034404"/>
                <a:gd name="connsiteY79" fmla="*/ 106274 h 899102"/>
                <a:gd name="connsiteX80" fmla="*/ 486363 w 1034404"/>
                <a:gd name="connsiteY80" fmla="*/ 117196 h 899102"/>
                <a:gd name="connsiteX81" fmla="*/ 440746 w 1034404"/>
                <a:gd name="connsiteY81" fmla="*/ 113983 h 899102"/>
                <a:gd name="connsiteX82" fmla="*/ 413119 w 1034404"/>
                <a:gd name="connsiteY82" fmla="*/ 104989 h 899102"/>
                <a:gd name="connsiteX83" fmla="*/ 380995 w 1034404"/>
                <a:gd name="connsiteY83" fmla="*/ 93424 h 899102"/>
                <a:gd name="connsiteX84" fmla="*/ 358508 w 1034404"/>
                <a:gd name="connsiteY84" fmla="*/ 85071 h 899102"/>
                <a:gd name="connsiteX85" fmla="*/ 321244 w 1034404"/>
                <a:gd name="connsiteY85" fmla="*/ 82501 h 899102"/>
                <a:gd name="connsiteX86" fmla="*/ 295544 w 1034404"/>
                <a:gd name="connsiteY86" fmla="*/ 70294 h 899102"/>
                <a:gd name="connsiteX87" fmla="*/ 269845 w 1034404"/>
                <a:gd name="connsiteY87" fmla="*/ 54875 h 899102"/>
                <a:gd name="connsiteX88" fmla="*/ 248642 w 1034404"/>
                <a:gd name="connsiteY88" fmla="*/ 43952 h 899102"/>
                <a:gd name="connsiteX89" fmla="*/ 213948 w 1034404"/>
                <a:gd name="connsiteY89" fmla="*/ 43952 h 899102"/>
                <a:gd name="connsiteX90" fmla="*/ 203668 w 1034404"/>
                <a:gd name="connsiteY90" fmla="*/ 63869 h 899102"/>
                <a:gd name="connsiteX91" fmla="*/ 163192 w 1034404"/>
                <a:gd name="connsiteY91" fmla="*/ 99849 h 899102"/>
                <a:gd name="connsiteX92" fmla="*/ 113720 w 1034404"/>
                <a:gd name="connsiteY92" fmla="*/ 98564 h 899102"/>
                <a:gd name="connsiteX93" fmla="*/ 87378 w 1034404"/>
                <a:gd name="connsiteY93" fmla="*/ 117196 h 899102"/>
                <a:gd name="connsiteX94" fmla="*/ 83523 w 1034404"/>
                <a:gd name="connsiteY94" fmla="*/ 123621 h 899102"/>
                <a:gd name="connsiteX95" fmla="*/ 83523 w 1034404"/>
                <a:gd name="connsiteY95" fmla="*/ 142253 h 899102"/>
                <a:gd name="connsiteX96" fmla="*/ 66176 w 1034404"/>
                <a:gd name="connsiteY96" fmla="*/ 153818 h 899102"/>
                <a:gd name="connsiteX97" fmla="*/ 46259 w 1034404"/>
                <a:gd name="connsiteY97" fmla="*/ 148035 h 899102"/>
                <a:gd name="connsiteX98" fmla="*/ 34052 w 1034404"/>
                <a:gd name="connsiteY98" fmla="*/ 163455 h 899102"/>
                <a:gd name="connsiteX99" fmla="*/ 24414 w 1034404"/>
                <a:gd name="connsiteY99" fmla="*/ 163455 h 899102"/>
                <a:gd name="connsiteX100" fmla="*/ 0 w 1034404"/>
                <a:gd name="connsiteY100" fmla="*/ 153818 h 899102"/>
                <a:gd name="connsiteX101" fmla="*/ 5782 w 1034404"/>
                <a:gd name="connsiteY101" fmla="*/ 171807 h 899102"/>
                <a:gd name="connsiteX102" fmla="*/ 19917 w 1034404"/>
                <a:gd name="connsiteY102" fmla="*/ 185299 h 899102"/>
                <a:gd name="connsiteX103" fmla="*/ 52684 w 1034404"/>
                <a:gd name="connsiteY103" fmla="*/ 176305 h 899102"/>
                <a:gd name="connsiteX104" fmla="*/ 68746 w 1034404"/>
                <a:gd name="connsiteY104" fmla="*/ 182730 h 899102"/>
                <a:gd name="connsiteX105" fmla="*/ 86093 w 1034404"/>
                <a:gd name="connsiteY105" fmla="*/ 189154 h 899102"/>
                <a:gd name="connsiteX106" fmla="*/ 98943 w 1034404"/>
                <a:gd name="connsiteY106" fmla="*/ 187227 h 899102"/>
                <a:gd name="connsiteX107" fmla="*/ 104725 w 1034404"/>
                <a:gd name="connsiteY107" fmla="*/ 187869 h 899102"/>
                <a:gd name="connsiteX108" fmla="*/ 113720 w 1034404"/>
                <a:gd name="connsiteY108" fmla="*/ 198792 h 899102"/>
                <a:gd name="connsiteX109" fmla="*/ 138777 w 1034404"/>
                <a:gd name="connsiteY109" fmla="*/ 219351 h 899102"/>
                <a:gd name="connsiteX110" fmla="*/ 155482 w 1034404"/>
                <a:gd name="connsiteY110" fmla="*/ 218709 h 899102"/>
                <a:gd name="connsiteX111" fmla="*/ 166404 w 1034404"/>
                <a:gd name="connsiteY111" fmla="*/ 228346 h 899102"/>
                <a:gd name="connsiteX112" fmla="*/ 161264 w 1034404"/>
                <a:gd name="connsiteY112" fmla="*/ 239911 h 899102"/>
                <a:gd name="connsiteX113" fmla="*/ 169617 w 1034404"/>
                <a:gd name="connsiteY113" fmla="*/ 247621 h 899102"/>
                <a:gd name="connsiteX114" fmla="*/ 219088 w 1034404"/>
                <a:gd name="connsiteY114" fmla="*/ 252761 h 899102"/>
                <a:gd name="connsiteX115" fmla="*/ 228083 w 1034404"/>
                <a:gd name="connsiteY115" fmla="*/ 248906 h 899102"/>
                <a:gd name="connsiteX116" fmla="*/ 235793 w 1034404"/>
                <a:gd name="connsiteY116" fmla="*/ 249548 h 899102"/>
                <a:gd name="connsiteX117" fmla="*/ 260207 w 1034404"/>
                <a:gd name="connsiteY117" fmla="*/ 256616 h 899102"/>
                <a:gd name="connsiteX118" fmla="*/ 275627 w 1034404"/>
                <a:gd name="connsiteY118" fmla="*/ 276533 h 899102"/>
                <a:gd name="connsiteX119" fmla="*/ 276912 w 1034404"/>
                <a:gd name="connsiteY119" fmla="*/ 309942 h 899102"/>
                <a:gd name="connsiteX120" fmla="*/ 276270 w 1034404"/>
                <a:gd name="connsiteY120" fmla="*/ 326004 h 899102"/>
                <a:gd name="connsiteX121" fmla="*/ 271130 w 1034404"/>
                <a:gd name="connsiteY121" fmla="*/ 351061 h 899102"/>
                <a:gd name="connsiteX122" fmla="*/ 271772 w 1034404"/>
                <a:gd name="connsiteY122" fmla="*/ 367123 h 899102"/>
                <a:gd name="connsiteX123" fmla="*/ 254425 w 1034404"/>
                <a:gd name="connsiteY123" fmla="*/ 399890 h 899102"/>
                <a:gd name="connsiteX124" fmla="*/ 256352 w 1034404"/>
                <a:gd name="connsiteY124" fmla="*/ 406315 h 899102"/>
                <a:gd name="connsiteX125" fmla="*/ 266632 w 1034404"/>
                <a:gd name="connsiteY125" fmla="*/ 409528 h 899102"/>
                <a:gd name="connsiteX126" fmla="*/ 289762 w 1034404"/>
                <a:gd name="connsiteY126" fmla="*/ 409528 h 899102"/>
                <a:gd name="connsiteX127" fmla="*/ 303254 w 1034404"/>
                <a:gd name="connsiteY127" fmla="*/ 415952 h 899102"/>
                <a:gd name="connsiteX128" fmla="*/ 300041 w 1034404"/>
                <a:gd name="connsiteY128" fmla="*/ 423020 h 899102"/>
                <a:gd name="connsiteX129" fmla="*/ 290404 w 1034404"/>
                <a:gd name="connsiteY129" fmla="*/ 446792 h 899102"/>
                <a:gd name="connsiteX130" fmla="*/ 289762 w 1034404"/>
                <a:gd name="connsiteY130" fmla="*/ 471849 h 899102"/>
                <a:gd name="connsiteX131" fmla="*/ 285907 w 1034404"/>
                <a:gd name="connsiteY131" fmla="*/ 494336 h 899102"/>
                <a:gd name="connsiteX132" fmla="*/ 307751 w 1034404"/>
                <a:gd name="connsiteY132" fmla="*/ 595206 h 899102"/>
                <a:gd name="connsiteX133" fmla="*/ 392560 w 1034404"/>
                <a:gd name="connsiteY133" fmla="*/ 645320 h 899102"/>
                <a:gd name="connsiteX134" fmla="*/ 483150 w 1034404"/>
                <a:gd name="connsiteY134" fmla="*/ 665238 h 899102"/>
                <a:gd name="connsiteX135" fmla="*/ 536477 w 1034404"/>
                <a:gd name="connsiteY135" fmla="*/ 674875 h 899102"/>
                <a:gd name="connsiteX136" fmla="*/ 552539 w 1034404"/>
                <a:gd name="connsiteY136" fmla="*/ 726274 h 899102"/>
                <a:gd name="connsiteX137" fmla="*/ 558964 w 1034404"/>
                <a:gd name="connsiteY137" fmla="*/ 760968 h 899102"/>
                <a:gd name="connsiteX138" fmla="*/ 528767 w 1034404"/>
                <a:gd name="connsiteY138" fmla="*/ 786025 h 899102"/>
                <a:gd name="connsiteX139" fmla="*/ 527482 w 1034404"/>
                <a:gd name="connsiteY139" fmla="*/ 786668 h 899102"/>
                <a:gd name="connsiteX140" fmla="*/ 574384 w 1034404"/>
                <a:gd name="connsiteY140" fmla="*/ 811082 h 899102"/>
                <a:gd name="connsiteX141" fmla="*/ 589161 w 1034404"/>
                <a:gd name="connsiteY141" fmla="*/ 837424 h 899102"/>
                <a:gd name="connsiteX142" fmla="*/ 589803 w 1034404"/>
                <a:gd name="connsiteY142" fmla="*/ 847061 h 899102"/>
                <a:gd name="connsiteX143" fmla="*/ 577596 w 1034404"/>
                <a:gd name="connsiteY143" fmla="*/ 884326 h 899102"/>
                <a:gd name="connsiteX144" fmla="*/ 589803 w 1034404"/>
                <a:gd name="connsiteY144" fmla="*/ 895248 h 899102"/>
                <a:gd name="connsiteX145" fmla="*/ 628353 w 1034404"/>
                <a:gd name="connsiteY145" fmla="*/ 878543 h 899102"/>
                <a:gd name="connsiteX146" fmla="*/ 651482 w 1034404"/>
                <a:gd name="connsiteY146" fmla="*/ 875331 h 899102"/>
                <a:gd name="connsiteX147" fmla="*/ 666259 w 1034404"/>
                <a:gd name="connsiteY147" fmla="*/ 886896 h 899102"/>
                <a:gd name="connsiteX148" fmla="*/ 740788 w 1034404"/>
                <a:gd name="connsiteY148" fmla="*/ 899103 h 899102"/>
                <a:gd name="connsiteX149" fmla="*/ 828166 w 1034404"/>
                <a:gd name="connsiteY149" fmla="*/ 875331 h 899102"/>
                <a:gd name="connsiteX150" fmla="*/ 842943 w 1034404"/>
                <a:gd name="connsiteY150" fmla="*/ 848346 h 899102"/>
                <a:gd name="connsiteX151" fmla="*/ 864788 w 1034404"/>
                <a:gd name="connsiteY151" fmla="*/ 827787 h 899102"/>
                <a:gd name="connsiteX152" fmla="*/ 896270 w 1034404"/>
                <a:gd name="connsiteY152" fmla="*/ 827787 h 899102"/>
                <a:gd name="connsiteX153" fmla="*/ 927752 w 1034404"/>
                <a:gd name="connsiteY153" fmla="*/ 812367 h 899102"/>
                <a:gd name="connsiteX154" fmla="*/ 957306 w 1034404"/>
                <a:gd name="connsiteY154" fmla="*/ 796305 h 899102"/>
                <a:gd name="connsiteX155" fmla="*/ 967586 w 1034404"/>
                <a:gd name="connsiteY155" fmla="*/ 803372 h 899102"/>
                <a:gd name="connsiteX156" fmla="*/ 989430 w 1034404"/>
                <a:gd name="connsiteY156" fmla="*/ 803372 h 899102"/>
                <a:gd name="connsiteX157" fmla="*/ 1004208 w 1034404"/>
                <a:gd name="connsiteY157" fmla="*/ 784098 h 899102"/>
                <a:gd name="connsiteX158" fmla="*/ 1015130 w 1034404"/>
                <a:gd name="connsiteY158" fmla="*/ 780243 h 899102"/>
                <a:gd name="connsiteX159" fmla="*/ 1030550 w 1034404"/>
                <a:gd name="connsiteY159" fmla="*/ 773818 h 899102"/>
                <a:gd name="connsiteX160" fmla="*/ 1034405 w 1034404"/>
                <a:gd name="connsiteY160" fmla="*/ 761611 h 899102"/>
                <a:gd name="connsiteX161" fmla="*/ 1024767 w 1034404"/>
                <a:gd name="connsiteY161" fmla="*/ 742978 h 89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1034404" h="899102">
                  <a:moveTo>
                    <a:pt x="700954" y="445507"/>
                  </a:moveTo>
                  <a:cubicBezTo>
                    <a:pt x="691959" y="458999"/>
                    <a:pt x="690031" y="466066"/>
                    <a:pt x="687461" y="468636"/>
                  </a:cubicBezTo>
                  <a:cubicBezTo>
                    <a:pt x="684249" y="471206"/>
                    <a:pt x="681679" y="469921"/>
                    <a:pt x="681679" y="464139"/>
                  </a:cubicBezTo>
                  <a:cubicBezTo>
                    <a:pt x="681679" y="458357"/>
                    <a:pt x="675897" y="451932"/>
                    <a:pt x="668829" y="451289"/>
                  </a:cubicBezTo>
                  <a:cubicBezTo>
                    <a:pt x="661119" y="450647"/>
                    <a:pt x="654052" y="442294"/>
                    <a:pt x="642487" y="441652"/>
                  </a:cubicBezTo>
                  <a:cubicBezTo>
                    <a:pt x="630922" y="441009"/>
                    <a:pt x="629638" y="453859"/>
                    <a:pt x="619358" y="458357"/>
                  </a:cubicBezTo>
                  <a:cubicBezTo>
                    <a:pt x="608435" y="462854"/>
                    <a:pt x="586591" y="451289"/>
                    <a:pt x="579523" y="446149"/>
                  </a:cubicBezTo>
                  <a:cubicBezTo>
                    <a:pt x="572456" y="441009"/>
                    <a:pt x="567316" y="437797"/>
                    <a:pt x="558321" y="439724"/>
                  </a:cubicBezTo>
                  <a:cubicBezTo>
                    <a:pt x="549327" y="442294"/>
                    <a:pt x="543544" y="452574"/>
                    <a:pt x="532622" y="451289"/>
                  </a:cubicBezTo>
                  <a:cubicBezTo>
                    <a:pt x="522342" y="450004"/>
                    <a:pt x="526197" y="439724"/>
                    <a:pt x="528767" y="433300"/>
                  </a:cubicBezTo>
                  <a:cubicBezTo>
                    <a:pt x="531337" y="427517"/>
                    <a:pt x="531979" y="408243"/>
                    <a:pt x="535192" y="395393"/>
                  </a:cubicBezTo>
                  <a:cubicBezTo>
                    <a:pt x="539047" y="382543"/>
                    <a:pt x="533907" y="372906"/>
                    <a:pt x="535192" y="363269"/>
                  </a:cubicBezTo>
                  <a:cubicBezTo>
                    <a:pt x="536477" y="353631"/>
                    <a:pt x="578881" y="338211"/>
                    <a:pt x="578881" y="338211"/>
                  </a:cubicBezTo>
                  <a:cubicBezTo>
                    <a:pt x="578881" y="338211"/>
                    <a:pt x="591731" y="334999"/>
                    <a:pt x="593016" y="334999"/>
                  </a:cubicBezTo>
                  <a:cubicBezTo>
                    <a:pt x="594301" y="334999"/>
                    <a:pt x="598798" y="340139"/>
                    <a:pt x="600726" y="341424"/>
                  </a:cubicBezTo>
                  <a:cubicBezTo>
                    <a:pt x="602653" y="342709"/>
                    <a:pt x="623213" y="342709"/>
                    <a:pt x="628353" y="342709"/>
                  </a:cubicBezTo>
                  <a:cubicBezTo>
                    <a:pt x="633492" y="343351"/>
                    <a:pt x="634777" y="351704"/>
                    <a:pt x="636062" y="358129"/>
                  </a:cubicBezTo>
                  <a:cubicBezTo>
                    <a:pt x="636705" y="364553"/>
                    <a:pt x="652125" y="371621"/>
                    <a:pt x="666902" y="380616"/>
                  </a:cubicBezTo>
                  <a:cubicBezTo>
                    <a:pt x="681679" y="389610"/>
                    <a:pt x="679109" y="394750"/>
                    <a:pt x="681037" y="397963"/>
                  </a:cubicBezTo>
                  <a:cubicBezTo>
                    <a:pt x="682964" y="401175"/>
                    <a:pt x="713161" y="410170"/>
                    <a:pt x="716373" y="412097"/>
                  </a:cubicBezTo>
                  <a:cubicBezTo>
                    <a:pt x="717658" y="415952"/>
                    <a:pt x="709306" y="432015"/>
                    <a:pt x="700954" y="445507"/>
                  </a:cubicBezTo>
                  <a:close/>
                  <a:moveTo>
                    <a:pt x="1024767" y="742978"/>
                  </a:moveTo>
                  <a:cubicBezTo>
                    <a:pt x="1020912" y="731414"/>
                    <a:pt x="1016415" y="734626"/>
                    <a:pt x="1011918" y="731414"/>
                  </a:cubicBezTo>
                  <a:cubicBezTo>
                    <a:pt x="1008705" y="729486"/>
                    <a:pt x="1006135" y="726916"/>
                    <a:pt x="1003565" y="723061"/>
                  </a:cubicBezTo>
                  <a:cubicBezTo>
                    <a:pt x="1002280" y="720491"/>
                    <a:pt x="1000995" y="717279"/>
                    <a:pt x="999710" y="713424"/>
                  </a:cubicBezTo>
                  <a:cubicBezTo>
                    <a:pt x="997140" y="702502"/>
                    <a:pt x="992000" y="703144"/>
                    <a:pt x="984290" y="695434"/>
                  </a:cubicBezTo>
                  <a:cubicBezTo>
                    <a:pt x="975938" y="688367"/>
                    <a:pt x="975938" y="679372"/>
                    <a:pt x="975296" y="672947"/>
                  </a:cubicBezTo>
                  <a:cubicBezTo>
                    <a:pt x="974653" y="666523"/>
                    <a:pt x="977866" y="665238"/>
                    <a:pt x="987503" y="658813"/>
                  </a:cubicBezTo>
                  <a:cubicBezTo>
                    <a:pt x="996498" y="652388"/>
                    <a:pt x="995855" y="648533"/>
                    <a:pt x="998425" y="643393"/>
                  </a:cubicBezTo>
                  <a:cubicBezTo>
                    <a:pt x="1000995" y="638253"/>
                    <a:pt x="1000353" y="636968"/>
                    <a:pt x="1001638" y="633113"/>
                  </a:cubicBezTo>
                  <a:cubicBezTo>
                    <a:pt x="1002923" y="628616"/>
                    <a:pt x="1006778" y="613196"/>
                    <a:pt x="1006778" y="609341"/>
                  </a:cubicBezTo>
                  <a:cubicBezTo>
                    <a:pt x="1006778" y="605486"/>
                    <a:pt x="1008063" y="593921"/>
                    <a:pt x="1010632" y="590709"/>
                  </a:cubicBezTo>
                  <a:cubicBezTo>
                    <a:pt x="1013202" y="587497"/>
                    <a:pt x="1012560" y="570792"/>
                    <a:pt x="1012560" y="563082"/>
                  </a:cubicBezTo>
                  <a:cubicBezTo>
                    <a:pt x="1012560" y="555372"/>
                    <a:pt x="1010632" y="552160"/>
                    <a:pt x="1009347" y="547662"/>
                  </a:cubicBezTo>
                  <a:cubicBezTo>
                    <a:pt x="1007420" y="543165"/>
                    <a:pt x="1008063" y="539953"/>
                    <a:pt x="1008063" y="536740"/>
                  </a:cubicBezTo>
                  <a:cubicBezTo>
                    <a:pt x="1008063" y="532885"/>
                    <a:pt x="1004208" y="527745"/>
                    <a:pt x="1002280" y="525175"/>
                  </a:cubicBezTo>
                  <a:cubicBezTo>
                    <a:pt x="1000353" y="522605"/>
                    <a:pt x="1001638" y="505901"/>
                    <a:pt x="1000995" y="503973"/>
                  </a:cubicBezTo>
                  <a:cubicBezTo>
                    <a:pt x="1000995" y="502046"/>
                    <a:pt x="995855" y="491123"/>
                    <a:pt x="992000" y="487268"/>
                  </a:cubicBezTo>
                  <a:cubicBezTo>
                    <a:pt x="988145" y="483414"/>
                    <a:pt x="979793" y="485984"/>
                    <a:pt x="963731" y="480844"/>
                  </a:cubicBezTo>
                  <a:cubicBezTo>
                    <a:pt x="947669" y="476346"/>
                    <a:pt x="957306" y="473776"/>
                    <a:pt x="950881" y="460284"/>
                  </a:cubicBezTo>
                  <a:cubicBezTo>
                    <a:pt x="944456" y="446792"/>
                    <a:pt x="937389" y="436512"/>
                    <a:pt x="937389" y="433942"/>
                  </a:cubicBezTo>
                  <a:cubicBezTo>
                    <a:pt x="936746" y="431372"/>
                    <a:pt x="936746" y="424947"/>
                    <a:pt x="944456" y="412097"/>
                  </a:cubicBezTo>
                  <a:cubicBezTo>
                    <a:pt x="951524" y="399248"/>
                    <a:pt x="956021" y="403103"/>
                    <a:pt x="957948" y="399890"/>
                  </a:cubicBezTo>
                  <a:cubicBezTo>
                    <a:pt x="959876" y="396678"/>
                    <a:pt x="966301" y="381258"/>
                    <a:pt x="966301" y="374191"/>
                  </a:cubicBezTo>
                  <a:cubicBezTo>
                    <a:pt x="966301" y="367766"/>
                    <a:pt x="961161" y="365196"/>
                    <a:pt x="959233" y="357486"/>
                  </a:cubicBezTo>
                  <a:cubicBezTo>
                    <a:pt x="956664" y="349776"/>
                    <a:pt x="954736" y="345279"/>
                    <a:pt x="954094" y="342709"/>
                  </a:cubicBezTo>
                  <a:cubicBezTo>
                    <a:pt x="952809" y="340139"/>
                    <a:pt x="942529" y="332429"/>
                    <a:pt x="936104" y="327932"/>
                  </a:cubicBezTo>
                  <a:cubicBezTo>
                    <a:pt x="929679" y="322792"/>
                    <a:pt x="918757" y="320222"/>
                    <a:pt x="908477" y="312512"/>
                  </a:cubicBezTo>
                  <a:cubicBezTo>
                    <a:pt x="898197" y="304160"/>
                    <a:pt x="893700" y="295807"/>
                    <a:pt x="889202" y="290667"/>
                  </a:cubicBezTo>
                  <a:cubicBezTo>
                    <a:pt x="884705" y="285528"/>
                    <a:pt x="857721" y="265610"/>
                    <a:pt x="857078" y="264968"/>
                  </a:cubicBezTo>
                  <a:cubicBezTo>
                    <a:pt x="856436" y="264325"/>
                    <a:pt x="839731" y="257258"/>
                    <a:pt x="832021" y="250833"/>
                  </a:cubicBezTo>
                  <a:cubicBezTo>
                    <a:pt x="823669" y="243766"/>
                    <a:pt x="823026" y="244408"/>
                    <a:pt x="819814" y="236698"/>
                  </a:cubicBezTo>
                  <a:cubicBezTo>
                    <a:pt x="816601" y="228989"/>
                    <a:pt x="817886" y="223849"/>
                    <a:pt x="814674" y="216781"/>
                  </a:cubicBezTo>
                  <a:cubicBezTo>
                    <a:pt x="811461" y="209714"/>
                    <a:pt x="808249" y="196864"/>
                    <a:pt x="808249" y="194294"/>
                  </a:cubicBezTo>
                  <a:cubicBezTo>
                    <a:pt x="808249" y="191724"/>
                    <a:pt x="808892" y="185299"/>
                    <a:pt x="809534" y="183372"/>
                  </a:cubicBezTo>
                  <a:cubicBezTo>
                    <a:pt x="810176" y="182087"/>
                    <a:pt x="827524" y="177590"/>
                    <a:pt x="837161" y="169880"/>
                  </a:cubicBezTo>
                  <a:cubicBezTo>
                    <a:pt x="846798" y="162170"/>
                    <a:pt x="854508" y="157673"/>
                    <a:pt x="860290" y="150605"/>
                  </a:cubicBezTo>
                  <a:cubicBezTo>
                    <a:pt x="866715" y="142253"/>
                    <a:pt x="865430" y="131973"/>
                    <a:pt x="873783" y="124263"/>
                  </a:cubicBezTo>
                  <a:cubicBezTo>
                    <a:pt x="874425" y="90854"/>
                    <a:pt x="873783" y="56802"/>
                    <a:pt x="873783" y="23393"/>
                  </a:cubicBezTo>
                  <a:cubicBezTo>
                    <a:pt x="873783" y="22750"/>
                    <a:pt x="873783" y="22108"/>
                    <a:pt x="873783" y="21465"/>
                  </a:cubicBezTo>
                  <a:cubicBezTo>
                    <a:pt x="871855" y="21465"/>
                    <a:pt x="869928" y="21465"/>
                    <a:pt x="868000" y="21465"/>
                  </a:cubicBezTo>
                  <a:cubicBezTo>
                    <a:pt x="863503" y="21465"/>
                    <a:pt x="858363" y="20823"/>
                    <a:pt x="853866" y="22108"/>
                  </a:cubicBezTo>
                  <a:cubicBezTo>
                    <a:pt x="847441" y="24035"/>
                    <a:pt x="843586" y="29175"/>
                    <a:pt x="839731" y="34315"/>
                  </a:cubicBezTo>
                  <a:cubicBezTo>
                    <a:pt x="833306" y="42025"/>
                    <a:pt x="827524" y="50377"/>
                    <a:pt x="818529" y="54875"/>
                  </a:cubicBezTo>
                  <a:cubicBezTo>
                    <a:pt x="809534" y="59372"/>
                    <a:pt x="797969" y="59372"/>
                    <a:pt x="788332" y="54875"/>
                  </a:cubicBezTo>
                  <a:cubicBezTo>
                    <a:pt x="778695" y="50377"/>
                    <a:pt x="772270" y="41382"/>
                    <a:pt x="770985" y="31745"/>
                  </a:cubicBezTo>
                  <a:cubicBezTo>
                    <a:pt x="770342" y="27890"/>
                    <a:pt x="770985" y="24035"/>
                    <a:pt x="769700" y="20180"/>
                  </a:cubicBezTo>
                  <a:cubicBezTo>
                    <a:pt x="765845" y="9258"/>
                    <a:pt x="750425" y="2833"/>
                    <a:pt x="739503" y="906"/>
                  </a:cubicBezTo>
                  <a:cubicBezTo>
                    <a:pt x="729223" y="-1022"/>
                    <a:pt x="718301" y="263"/>
                    <a:pt x="708663" y="3476"/>
                  </a:cubicBezTo>
                  <a:cubicBezTo>
                    <a:pt x="702239" y="6046"/>
                    <a:pt x="695814" y="9258"/>
                    <a:pt x="689389" y="11185"/>
                  </a:cubicBezTo>
                  <a:cubicBezTo>
                    <a:pt x="682964" y="13113"/>
                    <a:pt x="675254" y="14398"/>
                    <a:pt x="668829" y="11828"/>
                  </a:cubicBezTo>
                  <a:cubicBezTo>
                    <a:pt x="663689" y="9900"/>
                    <a:pt x="659192" y="6046"/>
                    <a:pt x="653409" y="4118"/>
                  </a:cubicBezTo>
                  <a:cubicBezTo>
                    <a:pt x="643130" y="263"/>
                    <a:pt x="630922" y="6046"/>
                    <a:pt x="623855" y="13755"/>
                  </a:cubicBezTo>
                  <a:cubicBezTo>
                    <a:pt x="616788" y="22108"/>
                    <a:pt x="614218" y="32388"/>
                    <a:pt x="611648" y="42667"/>
                  </a:cubicBezTo>
                  <a:cubicBezTo>
                    <a:pt x="609720" y="51020"/>
                    <a:pt x="607793" y="60014"/>
                    <a:pt x="602011" y="66439"/>
                  </a:cubicBezTo>
                  <a:cubicBezTo>
                    <a:pt x="596871" y="72222"/>
                    <a:pt x="588518" y="75434"/>
                    <a:pt x="580809" y="74792"/>
                  </a:cubicBezTo>
                  <a:cubicBezTo>
                    <a:pt x="573099" y="74149"/>
                    <a:pt x="566674" y="70937"/>
                    <a:pt x="558964" y="70294"/>
                  </a:cubicBezTo>
                  <a:cubicBezTo>
                    <a:pt x="549969" y="69009"/>
                    <a:pt x="540332" y="71579"/>
                    <a:pt x="531979" y="75434"/>
                  </a:cubicBezTo>
                  <a:cubicBezTo>
                    <a:pt x="522985" y="78647"/>
                    <a:pt x="513347" y="83787"/>
                    <a:pt x="508207" y="90854"/>
                  </a:cubicBezTo>
                  <a:cubicBezTo>
                    <a:pt x="504353" y="95351"/>
                    <a:pt x="502425" y="101134"/>
                    <a:pt x="499213" y="106274"/>
                  </a:cubicBezTo>
                  <a:cubicBezTo>
                    <a:pt x="496000" y="110771"/>
                    <a:pt x="491503" y="114626"/>
                    <a:pt x="486363" y="117196"/>
                  </a:cubicBezTo>
                  <a:cubicBezTo>
                    <a:pt x="472228" y="124263"/>
                    <a:pt x="455523" y="119123"/>
                    <a:pt x="440746" y="113983"/>
                  </a:cubicBezTo>
                  <a:cubicBezTo>
                    <a:pt x="431751" y="110771"/>
                    <a:pt x="422757" y="108201"/>
                    <a:pt x="413119" y="104989"/>
                  </a:cubicBezTo>
                  <a:cubicBezTo>
                    <a:pt x="402197" y="101134"/>
                    <a:pt x="391917" y="97921"/>
                    <a:pt x="380995" y="93424"/>
                  </a:cubicBezTo>
                  <a:cubicBezTo>
                    <a:pt x="373285" y="90211"/>
                    <a:pt x="366218" y="86999"/>
                    <a:pt x="358508" y="85071"/>
                  </a:cubicBezTo>
                  <a:cubicBezTo>
                    <a:pt x="346301" y="82501"/>
                    <a:pt x="333451" y="85071"/>
                    <a:pt x="321244" y="82501"/>
                  </a:cubicBezTo>
                  <a:cubicBezTo>
                    <a:pt x="312249" y="80574"/>
                    <a:pt x="303896" y="75434"/>
                    <a:pt x="295544" y="70294"/>
                  </a:cubicBezTo>
                  <a:cubicBezTo>
                    <a:pt x="287192" y="65154"/>
                    <a:pt x="278197" y="60014"/>
                    <a:pt x="269845" y="54875"/>
                  </a:cubicBezTo>
                  <a:cubicBezTo>
                    <a:pt x="263420" y="51020"/>
                    <a:pt x="256352" y="46522"/>
                    <a:pt x="248642" y="43952"/>
                  </a:cubicBezTo>
                  <a:cubicBezTo>
                    <a:pt x="237720" y="40097"/>
                    <a:pt x="224871" y="40097"/>
                    <a:pt x="213948" y="43952"/>
                  </a:cubicBezTo>
                  <a:cubicBezTo>
                    <a:pt x="204311" y="47165"/>
                    <a:pt x="199171" y="54232"/>
                    <a:pt x="203668" y="63869"/>
                  </a:cubicBezTo>
                  <a:cubicBezTo>
                    <a:pt x="208166" y="74149"/>
                    <a:pt x="176684" y="92781"/>
                    <a:pt x="163192" y="99849"/>
                  </a:cubicBezTo>
                  <a:cubicBezTo>
                    <a:pt x="149699" y="106274"/>
                    <a:pt x="131067" y="100491"/>
                    <a:pt x="113720" y="98564"/>
                  </a:cubicBezTo>
                  <a:cubicBezTo>
                    <a:pt x="102155" y="97279"/>
                    <a:pt x="92518" y="109486"/>
                    <a:pt x="87378" y="117196"/>
                  </a:cubicBezTo>
                  <a:cubicBezTo>
                    <a:pt x="84808" y="121051"/>
                    <a:pt x="83523" y="123621"/>
                    <a:pt x="83523" y="123621"/>
                  </a:cubicBezTo>
                  <a:lnTo>
                    <a:pt x="83523" y="142253"/>
                  </a:lnTo>
                  <a:cubicBezTo>
                    <a:pt x="83523" y="149963"/>
                    <a:pt x="77098" y="151890"/>
                    <a:pt x="66176" y="153818"/>
                  </a:cubicBezTo>
                  <a:cubicBezTo>
                    <a:pt x="55896" y="155745"/>
                    <a:pt x="50114" y="148678"/>
                    <a:pt x="46259" y="148035"/>
                  </a:cubicBezTo>
                  <a:cubicBezTo>
                    <a:pt x="42404" y="147393"/>
                    <a:pt x="35979" y="157673"/>
                    <a:pt x="34052" y="163455"/>
                  </a:cubicBezTo>
                  <a:cubicBezTo>
                    <a:pt x="31482" y="168595"/>
                    <a:pt x="27627" y="164097"/>
                    <a:pt x="24414" y="163455"/>
                  </a:cubicBezTo>
                  <a:cubicBezTo>
                    <a:pt x="21845" y="162812"/>
                    <a:pt x="10922" y="156388"/>
                    <a:pt x="0" y="153818"/>
                  </a:cubicBezTo>
                  <a:cubicBezTo>
                    <a:pt x="1285" y="160242"/>
                    <a:pt x="3212" y="166025"/>
                    <a:pt x="5782" y="171807"/>
                  </a:cubicBezTo>
                  <a:cubicBezTo>
                    <a:pt x="8352" y="177590"/>
                    <a:pt x="12850" y="184014"/>
                    <a:pt x="19917" y="185299"/>
                  </a:cubicBezTo>
                  <a:cubicBezTo>
                    <a:pt x="30839" y="187869"/>
                    <a:pt x="41119" y="176305"/>
                    <a:pt x="52684" y="176305"/>
                  </a:cubicBezTo>
                  <a:cubicBezTo>
                    <a:pt x="58466" y="176305"/>
                    <a:pt x="63606" y="179517"/>
                    <a:pt x="68746" y="182730"/>
                  </a:cubicBezTo>
                  <a:cubicBezTo>
                    <a:pt x="74528" y="185942"/>
                    <a:pt x="79668" y="189154"/>
                    <a:pt x="86093" y="189154"/>
                  </a:cubicBezTo>
                  <a:cubicBezTo>
                    <a:pt x="90591" y="189154"/>
                    <a:pt x="94446" y="187227"/>
                    <a:pt x="98943" y="187227"/>
                  </a:cubicBezTo>
                  <a:cubicBezTo>
                    <a:pt x="100870" y="187227"/>
                    <a:pt x="102798" y="187227"/>
                    <a:pt x="104725" y="187869"/>
                  </a:cubicBezTo>
                  <a:cubicBezTo>
                    <a:pt x="109223" y="189797"/>
                    <a:pt x="111793" y="194294"/>
                    <a:pt x="113720" y="198792"/>
                  </a:cubicBezTo>
                  <a:cubicBezTo>
                    <a:pt x="118860" y="208429"/>
                    <a:pt x="127212" y="218709"/>
                    <a:pt x="138777" y="219351"/>
                  </a:cubicBezTo>
                  <a:cubicBezTo>
                    <a:pt x="144560" y="219994"/>
                    <a:pt x="149699" y="218066"/>
                    <a:pt x="155482" y="218709"/>
                  </a:cubicBezTo>
                  <a:cubicBezTo>
                    <a:pt x="161264" y="219351"/>
                    <a:pt x="167047" y="223206"/>
                    <a:pt x="166404" y="228346"/>
                  </a:cubicBezTo>
                  <a:cubicBezTo>
                    <a:pt x="165762" y="232844"/>
                    <a:pt x="160622" y="235413"/>
                    <a:pt x="161264" y="239911"/>
                  </a:cubicBezTo>
                  <a:cubicBezTo>
                    <a:pt x="161907" y="243766"/>
                    <a:pt x="165762" y="245693"/>
                    <a:pt x="169617" y="247621"/>
                  </a:cubicBezTo>
                  <a:cubicBezTo>
                    <a:pt x="185679" y="254046"/>
                    <a:pt x="203668" y="260471"/>
                    <a:pt x="219088" y="252761"/>
                  </a:cubicBezTo>
                  <a:cubicBezTo>
                    <a:pt x="222300" y="251476"/>
                    <a:pt x="224871" y="249548"/>
                    <a:pt x="228083" y="248906"/>
                  </a:cubicBezTo>
                  <a:cubicBezTo>
                    <a:pt x="230653" y="248263"/>
                    <a:pt x="233223" y="248906"/>
                    <a:pt x="235793" y="249548"/>
                  </a:cubicBezTo>
                  <a:cubicBezTo>
                    <a:pt x="244145" y="251476"/>
                    <a:pt x="252497" y="253403"/>
                    <a:pt x="260207" y="256616"/>
                  </a:cubicBezTo>
                  <a:cubicBezTo>
                    <a:pt x="269845" y="261113"/>
                    <a:pt x="274985" y="266895"/>
                    <a:pt x="275627" y="276533"/>
                  </a:cubicBezTo>
                  <a:cubicBezTo>
                    <a:pt x="276270" y="287455"/>
                    <a:pt x="276912" y="299020"/>
                    <a:pt x="276912" y="309942"/>
                  </a:cubicBezTo>
                  <a:cubicBezTo>
                    <a:pt x="276912" y="315082"/>
                    <a:pt x="277554" y="320864"/>
                    <a:pt x="276270" y="326004"/>
                  </a:cubicBezTo>
                  <a:cubicBezTo>
                    <a:pt x="274985" y="334357"/>
                    <a:pt x="271130" y="342066"/>
                    <a:pt x="271130" y="351061"/>
                  </a:cubicBezTo>
                  <a:cubicBezTo>
                    <a:pt x="271130" y="356201"/>
                    <a:pt x="272415" y="361983"/>
                    <a:pt x="271772" y="367123"/>
                  </a:cubicBezTo>
                  <a:cubicBezTo>
                    <a:pt x="269845" y="379331"/>
                    <a:pt x="255067" y="387683"/>
                    <a:pt x="254425" y="399890"/>
                  </a:cubicBezTo>
                  <a:cubicBezTo>
                    <a:pt x="254425" y="402460"/>
                    <a:pt x="254425" y="405030"/>
                    <a:pt x="256352" y="406315"/>
                  </a:cubicBezTo>
                  <a:cubicBezTo>
                    <a:pt x="258922" y="408885"/>
                    <a:pt x="262777" y="409528"/>
                    <a:pt x="266632" y="409528"/>
                  </a:cubicBezTo>
                  <a:cubicBezTo>
                    <a:pt x="274342" y="409528"/>
                    <a:pt x="282052" y="410170"/>
                    <a:pt x="289762" y="409528"/>
                  </a:cubicBezTo>
                  <a:cubicBezTo>
                    <a:pt x="295544" y="409528"/>
                    <a:pt x="302611" y="410813"/>
                    <a:pt x="303254" y="415952"/>
                  </a:cubicBezTo>
                  <a:cubicBezTo>
                    <a:pt x="303254" y="418522"/>
                    <a:pt x="301969" y="421092"/>
                    <a:pt x="300041" y="423020"/>
                  </a:cubicBezTo>
                  <a:cubicBezTo>
                    <a:pt x="294902" y="430087"/>
                    <a:pt x="291689" y="438440"/>
                    <a:pt x="290404" y="446792"/>
                  </a:cubicBezTo>
                  <a:cubicBezTo>
                    <a:pt x="289119" y="455144"/>
                    <a:pt x="290404" y="463496"/>
                    <a:pt x="289762" y="471849"/>
                  </a:cubicBezTo>
                  <a:cubicBezTo>
                    <a:pt x="289119" y="479559"/>
                    <a:pt x="287192" y="486626"/>
                    <a:pt x="285907" y="494336"/>
                  </a:cubicBezTo>
                  <a:cubicBezTo>
                    <a:pt x="280124" y="529030"/>
                    <a:pt x="287834" y="565652"/>
                    <a:pt x="307751" y="595206"/>
                  </a:cubicBezTo>
                  <a:cubicBezTo>
                    <a:pt x="307751" y="595206"/>
                    <a:pt x="339876" y="645320"/>
                    <a:pt x="392560" y="645320"/>
                  </a:cubicBezTo>
                  <a:cubicBezTo>
                    <a:pt x="445244" y="645320"/>
                    <a:pt x="458093" y="660098"/>
                    <a:pt x="483150" y="665238"/>
                  </a:cubicBezTo>
                  <a:cubicBezTo>
                    <a:pt x="508207" y="670377"/>
                    <a:pt x="521700" y="663953"/>
                    <a:pt x="536477" y="674875"/>
                  </a:cubicBezTo>
                  <a:cubicBezTo>
                    <a:pt x="551254" y="685797"/>
                    <a:pt x="551897" y="717921"/>
                    <a:pt x="552539" y="726274"/>
                  </a:cubicBezTo>
                  <a:cubicBezTo>
                    <a:pt x="553181" y="735269"/>
                    <a:pt x="571814" y="746833"/>
                    <a:pt x="558964" y="760968"/>
                  </a:cubicBezTo>
                  <a:cubicBezTo>
                    <a:pt x="548042" y="772533"/>
                    <a:pt x="533264" y="783455"/>
                    <a:pt x="528767" y="786025"/>
                  </a:cubicBezTo>
                  <a:cubicBezTo>
                    <a:pt x="528124" y="786668"/>
                    <a:pt x="527482" y="786668"/>
                    <a:pt x="527482" y="786668"/>
                  </a:cubicBezTo>
                  <a:cubicBezTo>
                    <a:pt x="527482" y="786668"/>
                    <a:pt x="567959" y="807870"/>
                    <a:pt x="574384" y="811082"/>
                  </a:cubicBezTo>
                  <a:cubicBezTo>
                    <a:pt x="579523" y="813652"/>
                    <a:pt x="586591" y="824574"/>
                    <a:pt x="589161" y="837424"/>
                  </a:cubicBezTo>
                  <a:cubicBezTo>
                    <a:pt x="589803" y="840637"/>
                    <a:pt x="589803" y="843849"/>
                    <a:pt x="589803" y="847061"/>
                  </a:cubicBezTo>
                  <a:cubicBezTo>
                    <a:pt x="588518" y="863124"/>
                    <a:pt x="577596" y="881113"/>
                    <a:pt x="577596" y="884326"/>
                  </a:cubicBezTo>
                  <a:cubicBezTo>
                    <a:pt x="577596" y="887538"/>
                    <a:pt x="576311" y="899745"/>
                    <a:pt x="589803" y="895248"/>
                  </a:cubicBezTo>
                  <a:cubicBezTo>
                    <a:pt x="603938" y="890751"/>
                    <a:pt x="621928" y="880471"/>
                    <a:pt x="628353" y="878543"/>
                  </a:cubicBezTo>
                  <a:cubicBezTo>
                    <a:pt x="634777" y="876616"/>
                    <a:pt x="643130" y="868906"/>
                    <a:pt x="651482" y="875331"/>
                  </a:cubicBezTo>
                  <a:cubicBezTo>
                    <a:pt x="659834" y="881756"/>
                    <a:pt x="650840" y="880471"/>
                    <a:pt x="666259" y="886896"/>
                  </a:cubicBezTo>
                  <a:cubicBezTo>
                    <a:pt x="681679" y="893321"/>
                    <a:pt x="729865" y="899103"/>
                    <a:pt x="740788" y="899103"/>
                  </a:cubicBezTo>
                  <a:cubicBezTo>
                    <a:pt x="751710" y="899103"/>
                    <a:pt x="819171" y="886896"/>
                    <a:pt x="828166" y="875331"/>
                  </a:cubicBezTo>
                  <a:cubicBezTo>
                    <a:pt x="837161" y="864409"/>
                    <a:pt x="838446" y="861196"/>
                    <a:pt x="842943" y="848346"/>
                  </a:cubicBezTo>
                  <a:cubicBezTo>
                    <a:pt x="847441" y="835497"/>
                    <a:pt x="857078" y="827787"/>
                    <a:pt x="864788" y="827787"/>
                  </a:cubicBezTo>
                  <a:cubicBezTo>
                    <a:pt x="871855" y="827787"/>
                    <a:pt x="881492" y="830999"/>
                    <a:pt x="896270" y="827787"/>
                  </a:cubicBezTo>
                  <a:cubicBezTo>
                    <a:pt x="911047" y="824574"/>
                    <a:pt x="916187" y="822004"/>
                    <a:pt x="927752" y="812367"/>
                  </a:cubicBezTo>
                  <a:cubicBezTo>
                    <a:pt x="939316" y="802730"/>
                    <a:pt x="954736" y="796305"/>
                    <a:pt x="957306" y="796305"/>
                  </a:cubicBezTo>
                  <a:cubicBezTo>
                    <a:pt x="959876" y="796305"/>
                    <a:pt x="959876" y="803372"/>
                    <a:pt x="967586" y="803372"/>
                  </a:cubicBezTo>
                  <a:cubicBezTo>
                    <a:pt x="975296" y="804015"/>
                    <a:pt x="983006" y="811082"/>
                    <a:pt x="989430" y="803372"/>
                  </a:cubicBezTo>
                  <a:cubicBezTo>
                    <a:pt x="995855" y="795662"/>
                    <a:pt x="999710" y="786668"/>
                    <a:pt x="1004208" y="784098"/>
                  </a:cubicBezTo>
                  <a:cubicBezTo>
                    <a:pt x="1008705" y="781528"/>
                    <a:pt x="1009347" y="780243"/>
                    <a:pt x="1015130" y="780243"/>
                  </a:cubicBezTo>
                  <a:cubicBezTo>
                    <a:pt x="1017700" y="780243"/>
                    <a:pt x="1024125" y="777673"/>
                    <a:pt x="1030550" y="773818"/>
                  </a:cubicBezTo>
                  <a:cubicBezTo>
                    <a:pt x="1032477" y="769963"/>
                    <a:pt x="1033762" y="765466"/>
                    <a:pt x="1034405" y="761611"/>
                  </a:cubicBezTo>
                  <a:cubicBezTo>
                    <a:pt x="1029907" y="753901"/>
                    <a:pt x="1027980" y="754543"/>
                    <a:pt x="1024767" y="742978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 462">
              <a:extLst>
                <a:ext uri="{FF2B5EF4-FFF2-40B4-BE49-F238E27FC236}">
                  <a16:creationId xmlns:a16="http://schemas.microsoft.com/office/drawing/2014/main" id="{18E42F73-2955-EBA3-A7FF-AC8EEA0432B1}"/>
                </a:ext>
              </a:extLst>
            </p:cNvPr>
            <p:cNvSpPr/>
            <p:nvPr/>
          </p:nvSpPr>
          <p:spPr>
            <a:xfrm>
              <a:off x="3515083" y="3650672"/>
              <a:ext cx="913036" cy="655533"/>
            </a:xfrm>
            <a:custGeom>
              <a:avLst/>
              <a:gdLst>
                <a:gd name="connsiteX0" fmla="*/ 908539 w 913036"/>
                <a:gd name="connsiteY0" fmla="*/ 149699 h 655533"/>
                <a:gd name="connsiteX1" fmla="*/ 902114 w 913036"/>
                <a:gd name="connsiteY1" fmla="*/ 160622 h 655533"/>
                <a:gd name="connsiteX2" fmla="*/ 898259 w 913036"/>
                <a:gd name="connsiteY2" fmla="*/ 192104 h 655533"/>
                <a:gd name="connsiteX3" fmla="*/ 894404 w 913036"/>
                <a:gd name="connsiteY3" fmla="*/ 221658 h 655533"/>
                <a:gd name="connsiteX4" fmla="*/ 885409 w 913036"/>
                <a:gd name="connsiteY4" fmla="*/ 246073 h 655533"/>
                <a:gd name="connsiteX5" fmla="*/ 869990 w 913036"/>
                <a:gd name="connsiteY5" fmla="*/ 282052 h 655533"/>
                <a:gd name="connsiteX6" fmla="*/ 858425 w 913036"/>
                <a:gd name="connsiteY6" fmla="*/ 306467 h 655533"/>
                <a:gd name="connsiteX7" fmla="*/ 857782 w 913036"/>
                <a:gd name="connsiteY7" fmla="*/ 319959 h 655533"/>
                <a:gd name="connsiteX8" fmla="*/ 848788 w 913036"/>
                <a:gd name="connsiteY8" fmla="*/ 334736 h 655533"/>
                <a:gd name="connsiteX9" fmla="*/ 824373 w 913036"/>
                <a:gd name="connsiteY9" fmla="*/ 336021 h 655533"/>
                <a:gd name="connsiteX10" fmla="*/ 810238 w 913036"/>
                <a:gd name="connsiteY10" fmla="*/ 328311 h 655533"/>
                <a:gd name="connsiteX11" fmla="*/ 790964 w 913036"/>
                <a:gd name="connsiteY11" fmla="*/ 323171 h 655533"/>
                <a:gd name="connsiteX12" fmla="*/ 794176 w 913036"/>
                <a:gd name="connsiteY12" fmla="*/ 305181 h 655533"/>
                <a:gd name="connsiteX13" fmla="*/ 791606 w 913036"/>
                <a:gd name="connsiteY13" fmla="*/ 289119 h 655533"/>
                <a:gd name="connsiteX14" fmla="*/ 782611 w 913036"/>
                <a:gd name="connsiteY14" fmla="*/ 276270 h 655533"/>
                <a:gd name="connsiteX15" fmla="*/ 765264 w 913036"/>
                <a:gd name="connsiteY15" fmla="*/ 257637 h 655533"/>
                <a:gd name="connsiteX16" fmla="*/ 744705 w 913036"/>
                <a:gd name="connsiteY16" fmla="*/ 249928 h 655533"/>
                <a:gd name="connsiteX17" fmla="*/ 724145 w 913036"/>
                <a:gd name="connsiteY17" fmla="*/ 251855 h 655533"/>
                <a:gd name="connsiteX18" fmla="*/ 714508 w 913036"/>
                <a:gd name="connsiteY18" fmla="*/ 245430 h 655533"/>
                <a:gd name="connsiteX19" fmla="*/ 699088 w 913036"/>
                <a:gd name="connsiteY19" fmla="*/ 242860 h 655533"/>
                <a:gd name="connsiteX20" fmla="*/ 687523 w 913036"/>
                <a:gd name="connsiteY20" fmla="*/ 252497 h 655533"/>
                <a:gd name="connsiteX21" fmla="*/ 689451 w 913036"/>
                <a:gd name="connsiteY21" fmla="*/ 263420 h 655533"/>
                <a:gd name="connsiteX22" fmla="*/ 688166 w 913036"/>
                <a:gd name="connsiteY22" fmla="*/ 273057 h 655533"/>
                <a:gd name="connsiteX23" fmla="*/ 699731 w 913036"/>
                <a:gd name="connsiteY23" fmla="*/ 281409 h 655533"/>
                <a:gd name="connsiteX24" fmla="*/ 711295 w 913036"/>
                <a:gd name="connsiteY24" fmla="*/ 291689 h 655533"/>
                <a:gd name="connsiteX25" fmla="*/ 718363 w 913036"/>
                <a:gd name="connsiteY25" fmla="*/ 296187 h 655533"/>
                <a:gd name="connsiteX26" fmla="*/ 713865 w 913036"/>
                <a:gd name="connsiteY26" fmla="*/ 310321 h 655533"/>
                <a:gd name="connsiteX27" fmla="*/ 705513 w 913036"/>
                <a:gd name="connsiteY27" fmla="*/ 319316 h 655533"/>
                <a:gd name="connsiteX28" fmla="*/ 689451 w 913036"/>
                <a:gd name="connsiteY28" fmla="*/ 326383 h 655533"/>
                <a:gd name="connsiteX29" fmla="*/ 674031 w 913036"/>
                <a:gd name="connsiteY29" fmla="*/ 332808 h 655533"/>
                <a:gd name="connsiteX30" fmla="*/ 643192 w 913036"/>
                <a:gd name="connsiteY30" fmla="*/ 348871 h 655533"/>
                <a:gd name="connsiteX31" fmla="*/ 615565 w 913036"/>
                <a:gd name="connsiteY31" fmla="*/ 357866 h 655533"/>
                <a:gd name="connsiteX32" fmla="*/ 602715 w 913036"/>
                <a:gd name="connsiteY32" fmla="*/ 359793 h 655533"/>
                <a:gd name="connsiteX33" fmla="*/ 586653 w 913036"/>
                <a:gd name="connsiteY33" fmla="*/ 370715 h 655533"/>
                <a:gd name="connsiteX34" fmla="*/ 577015 w 913036"/>
                <a:gd name="connsiteY34" fmla="*/ 379710 h 655533"/>
                <a:gd name="connsiteX35" fmla="*/ 566093 w 913036"/>
                <a:gd name="connsiteY35" fmla="*/ 379068 h 655533"/>
                <a:gd name="connsiteX36" fmla="*/ 542964 w 913036"/>
                <a:gd name="connsiteY36" fmla="*/ 393202 h 655533"/>
                <a:gd name="connsiteX37" fmla="*/ 529471 w 913036"/>
                <a:gd name="connsiteY37" fmla="*/ 400270 h 655533"/>
                <a:gd name="connsiteX38" fmla="*/ 508269 w 913036"/>
                <a:gd name="connsiteY38" fmla="*/ 400270 h 655533"/>
                <a:gd name="connsiteX39" fmla="*/ 487710 w 913036"/>
                <a:gd name="connsiteY39" fmla="*/ 410549 h 655533"/>
                <a:gd name="connsiteX40" fmla="*/ 478072 w 913036"/>
                <a:gd name="connsiteY40" fmla="*/ 429181 h 655533"/>
                <a:gd name="connsiteX41" fmla="*/ 466508 w 913036"/>
                <a:gd name="connsiteY41" fmla="*/ 455523 h 655533"/>
                <a:gd name="connsiteX42" fmla="*/ 447875 w 913036"/>
                <a:gd name="connsiteY42" fmla="*/ 455523 h 655533"/>
                <a:gd name="connsiteX43" fmla="*/ 437596 w 913036"/>
                <a:gd name="connsiteY43" fmla="*/ 450384 h 655533"/>
                <a:gd name="connsiteX44" fmla="*/ 423461 w 913036"/>
                <a:gd name="connsiteY44" fmla="*/ 453596 h 655533"/>
                <a:gd name="connsiteX45" fmla="*/ 415109 w 913036"/>
                <a:gd name="connsiteY45" fmla="*/ 458736 h 655533"/>
                <a:gd name="connsiteX46" fmla="*/ 410611 w 913036"/>
                <a:gd name="connsiteY46" fmla="*/ 467088 h 655533"/>
                <a:gd name="connsiteX47" fmla="*/ 395834 w 913036"/>
                <a:gd name="connsiteY47" fmla="*/ 472228 h 655533"/>
                <a:gd name="connsiteX48" fmla="*/ 393907 w 913036"/>
                <a:gd name="connsiteY48" fmla="*/ 487648 h 655533"/>
                <a:gd name="connsiteX49" fmla="*/ 381699 w 913036"/>
                <a:gd name="connsiteY49" fmla="*/ 506922 h 655533"/>
                <a:gd name="connsiteX50" fmla="*/ 355357 w 913036"/>
                <a:gd name="connsiteY50" fmla="*/ 506922 h 655533"/>
                <a:gd name="connsiteX51" fmla="*/ 350860 w 913036"/>
                <a:gd name="connsiteY51" fmla="*/ 510777 h 655533"/>
                <a:gd name="connsiteX52" fmla="*/ 345720 w 913036"/>
                <a:gd name="connsiteY52" fmla="*/ 521700 h 655533"/>
                <a:gd name="connsiteX53" fmla="*/ 334155 w 913036"/>
                <a:gd name="connsiteY53" fmla="*/ 540332 h 655533"/>
                <a:gd name="connsiteX54" fmla="*/ 320021 w 913036"/>
                <a:gd name="connsiteY54" fmla="*/ 548684 h 655533"/>
                <a:gd name="connsiteX55" fmla="*/ 301388 w 913036"/>
                <a:gd name="connsiteY55" fmla="*/ 542259 h 655533"/>
                <a:gd name="connsiteX56" fmla="*/ 289824 w 913036"/>
                <a:gd name="connsiteY56" fmla="*/ 537119 h 655533"/>
                <a:gd name="connsiteX57" fmla="*/ 278901 w 913036"/>
                <a:gd name="connsiteY57" fmla="*/ 530052 h 655533"/>
                <a:gd name="connsiteX58" fmla="*/ 273119 w 913036"/>
                <a:gd name="connsiteY58" fmla="*/ 535192 h 655533"/>
                <a:gd name="connsiteX59" fmla="*/ 267979 w 913036"/>
                <a:gd name="connsiteY59" fmla="*/ 538404 h 655533"/>
                <a:gd name="connsiteX60" fmla="*/ 254487 w 913036"/>
                <a:gd name="connsiteY60" fmla="*/ 542902 h 655533"/>
                <a:gd name="connsiteX61" fmla="*/ 236497 w 913036"/>
                <a:gd name="connsiteY61" fmla="*/ 551254 h 655533"/>
                <a:gd name="connsiteX62" fmla="*/ 219150 w 913036"/>
                <a:gd name="connsiteY62" fmla="*/ 551254 h 655533"/>
                <a:gd name="connsiteX63" fmla="*/ 197948 w 913036"/>
                <a:gd name="connsiteY63" fmla="*/ 558964 h 655533"/>
                <a:gd name="connsiteX64" fmla="*/ 183171 w 913036"/>
                <a:gd name="connsiteY64" fmla="*/ 565389 h 655533"/>
                <a:gd name="connsiteX65" fmla="*/ 165824 w 913036"/>
                <a:gd name="connsiteY65" fmla="*/ 582094 h 655533"/>
                <a:gd name="connsiteX66" fmla="*/ 158756 w 913036"/>
                <a:gd name="connsiteY66" fmla="*/ 594301 h 655533"/>
                <a:gd name="connsiteX67" fmla="*/ 151046 w 913036"/>
                <a:gd name="connsiteY67" fmla="*/ 603938 h 655533"/>
                <a:gd name="connsiteX68" fmla="*/ 147191 w 913036"/>
                <a:gd name="connsiteY68" fmla="*/ 608436 h 655533"/>
                <a:gd name="connsiteX69" fmla="*/ 144622 w 913036"/>
                <a:gd name="connsiteY69" fmla="*/ 612290 h 655533"/>
                <a:gd name="connsiteX70" fmla="*/ 143337 w 913036"/>
                <a:gd name="connsiteY70" fmla="*/ 614218 h 655533"/>
                <a:gd name="connsiteX71" fmla="*/ 142694 w 913036"/>
                <a:gd name="connsiteY71" fmla="*/ 616145 h 655533"/>
                <a:gd name="connsiteX72" fmla="*/ 142694 w 913036"/>
                <a:gd name="connsiteY72" fmla="*/ 616788 h 655533"/>
                <a:gd name="connsiteX73" fmla="*/ 142051 w 913036"/>
                <a:gd name="connsiteY73" fmla="*/ 618715 h 655533"/>
                <a:gd name="connsiteX74" fmla="*/ 143337 w 913036"/>
                <a:gd name="connsiteY74" fmla="*/ 628995 h 655533"/>
                <a:gd name="connsiteX75" fmla="*/ 139482 w 913036"/>
                <a:gd name="connsiteY75" fmla="*/ 648912 h 655533"/>
                <a:gd name="connsiteX76" fmla="*/ 125347 w 913036"/>
                <a:gd name="connsiteY76" fmla="*/ 655337 h 655533"/>
                <a:gd name="connsiteX77" fmla="*/ 124062 w 913036"/>
                <a:gd name="connsiteY77" fmla="*/ 644415 h 655533"/>
                <a:gd name="connsiteX78" fmla="*/ 115710 w 913036"/>
                <a:gd name="connsiteY78" fmla="*/ 630923 h 655533"/>
                <a:gd name="connsiteX79" fmla="*/ 109285 w 913036"/>
                <a:gd name="connsiteY79" fmla="*/ 620000 h 655533"/>
                <a:gd name="connsiteX80" fmla="*/ 104145 w 913036"/>
                <a:gd name="connsiteY80" fmla="*/ 611648 h 655533"/>
                <a:gd name="connsiteX81" fmla="*/ 99005 w 913036"/>
                <a:gd name="connsiteY81" fmla="*/ 602011 h 655533"/>
                <a:gd name="connsiteX82" fmla="*/ 88083 w 913036"/>
                <a:gd name="connsiteY82" fmla="*/ 596871 h 655533"/>
                <a:gd name="connsiteX83" fmla="*/ 77160 w 913036"/>
                <a:gd name="connsiteY83" fmla="*/ 598798 h 655533"/>
                <a:gd name="connsiteX84" fmla="*/ 76518 w 913036"/>
                <a:gd name="connsiteY84" fmla="*/ 600083 h 655533"/>
                <a:gd name="connsiteX85" fmla="*/ 39253 w 913036"/>
                <a:gd name="connsiteY85" fmla="*/ 589161 h 655533"/>
                <a:gd name="connsiteX86" fmla="*/ 31544 w 913036"/>
                <a:gd name="connsiteY86" fmla="*/ 582094 h 655533"/>
                <a:gd name="connsiteX87" fmla="*/ 32829 w 913036"/>
                <a:gd name="connsiteY87" fmla="*/ 575026 h 655533"/>
                <a:gd name="connsiteX88" fmla="*/ 27689 w 913036"/>
                <a:gd name="connsiteY88" fmla="*/ 561534 h 655533"/>
                <a:gd name="connsiteX89" fmla="*/ 12269 w 913036"/>
                <a:gd name="connsiteY89" fmla="*/ 557679 h 655533"/>
                <a:gd name="connsiteX90" fmla="*/ 5202 w 913036"/>
                <a:gd name="connsiteY90" fmla="*/ 557679 h 655533"/>
                <a:gd name="connsiteX91" fmla="*/ 62 w 913036"/>
                <a:gd name="connsiteY91" fmla="*/ 553182 h 655533"/>
                <a:gd name="connsiteX92" fmla="*/ 7129 w 913036"/>
                <a:gd name="connsiteY92" fmla="*/ 545472 h 655533"/>
                <a:gd name="connsiteX93" fmla="*/ 11627 w 913036"/>
                <a:gd name="connsiteY93" fmla="*/ 531979 h 655533"/>
                <a:gd name="connsiteX94" fmla="*/ 16766 w 913036"/>
                <a:gd name="connsiteY94" fmla="*/ 510777 h 655533"/>
                <a:gd name="connsiteX95" fmla="*/ 36041 w 913036"/>
                <a:gd name="connsiteY95" fmla="*/ 501140 h 655533"/>
                <a:gd name="connsiteX96" fmla="*/ 47606 w 913036"/>
                <a:gd name="connsiteY96" fmla="*/ 504995 h 655533"/>
                <a:gd name="connsiteX97" fmla="*/ 58528 w 913036"/>
                <a:gd name="connsiteY97" fmla="*/ 502425 h 655533"/>
                <a:gd name="connsiteX98" fmla="*/ 65596 w 913036"/>
                <a:gd name="connsiteY98" fmla="*/ 497928 h 655533"/>
                <a:gd name="connsiteX99" fmla="*/ 85513 w 913036"/>
                <a:gd name="connsiteY99" fmla="*/ 482508 h 655533"/>
                <a:gd name="connsiteX100" fmla="*/ 130487 w 913036"/>
                <a:gd name="connsiteY100" fmla="*/ 439461 h 655533"/>
                <a:gd name="connsiteX101" fmla="*/ 109285 w 913036"/>
                <a:gd name="connsiteY101" fmla="*/ 434321 h 655533"/>
                <a:gd name="connsiteX102" fmla="*/ 107357 w 913036"/>
                <a:gd name="connsiteY102" fmla="*/ 427254 h 655533"/>
                <a:gd name="connsiteX103" fmla="*/ 105430 w 913036"/>
                <a:gd name="connsiteY103" fmla="*/ 407979 h 655533"/>
                <a:gd name="connsiteX104" fmla="*/ 106715 w 913036"/>
                <a:gd name="connsiteY104" fmla="*/ 392560 h 655533"/>
                <a:gd name="connsiteX105" fmla="*/ 118280 w 913036"/>
                <a:gd name="connsiteY105" fmla="*/ 384207 h 655533"/>
                <a:gd name="connsiteX106" fmla="*/ 142694 w 913036"/>
                <a:gd name="connsiteY106" fmla="*/ 373285 h 655533"/>
                <a:gd name="connsiteX107" fmla="*/ 170963 w 913036"/>
                <a:gd name="connsiteY107" fmla="*/ 357223 h 655533"/>
                <a:gd name="connsiteX108" fmla="*/ 189596 w 913036"/>
                <a:gd name="connsiteY108" fmla="*/ 336663 h 655533"/>
                <a:gd name="connsiteX109" fmla="*/ 176746 w 913036"/>
                <a:gd name="connsiteY109" fmla="*/ 311606 h 655533"/>
                <a:gd name="connsiteX110" fmla="*/ 130487 w 913036"/>
                <a:gd name="connsiteY110" fmla="*/ 271130 h 655533"/>
                <a:gd name="connsiteX111" fmla="*/ 99647 w 913036"/>
                <a:gd name="connsiteY111" fmla="*/ 265347 h 655533"/>
                <a:gd name="connsiteX112" fmla="*/ 79730 w 913036"/>
                <a:gd name="connsiteY112" fmla="*/ 253140 h 655533"/>
                <a:gd name="connsiteX113" fmla="*/ 64953 w 913036"/>
                <a:gd name="connsiteY113" fmla="*/ 182466 h 655533"/>
                <a:gd name="connsiteX114" fmla="*/ 57886 w 913036"/>
                <a:gd name="connsiteY114" fmla="*/ 164477 h 655533"/>
                <a:gd name="connsiteX115" fmla="*/ 58528 w 913036"/>
                <a:gd name="connsiteY115" fmla="*/ 147130 h 655533"/>
                <a:gd name="connsiteX116" fmla="*/ 64953 w 913036"/>
                <a:gd name="connsiteY116" fmla="*/ 107295 h 655533"/>
                <a:gd name="connsiteX117" fmla="*/ 78445 w 913036"/>
                <a:gd name="connsiteY117" fmla="*/ 55896 h 655533"/>
                <a:gd name="connsiteX118" fmla="*/ 102217 w 913036"/>
                <a:gd name="connsiteY118" fmla="*/ 55896 h 655533"/>
                <a:gd name="connsiteX119" fmla="*/ 135627 w 913036"/>
                <a:gd name="connsiteY119" fmla="*/ 46902 h 655533"/>
                <a:gd name="connsiteX120" fmla="*/ 153616 w 913036"/>
                <a:gd name="connsiteY120" fmla="*/ 29554 h 655533"/>
                <a:gd name="connsiteX121" fmla="*/ 183171 w 913036"/>
                <a:gd name="connsiteY121" fmla="*/ 32767 h 655533"/>
                <a:gd name="connsiteX122" fmla="*/ 201803 w 913036"/>
                <a:gd name="connsiteY122" fmla="*/ 29554 h 655533"/>
                <a:gd name="connsiteX123" fmla="*/ 252559 w 913036"/>
                <a:gd name="connsiteY123" fmla="*/ 3855 h 655533"/>
                <a:gd name="connsiteX124" fmla="*/ 278901 w 913036"/>
                <a:gd name="connsiteY124" fmla="*/ 3855 h 655533"/>
                <a:gd name="connsiteX125" fmla="*/ 309741 w 913036"/>
                <a:gd name="connsiteY125" fmla="*/ 12207 h 655533"/>
                <a:gd name="connsiteX126" fmla="*/ 308456 w 913036"/>
                <a:gd name="connsiteY126" fmla="*/ 12850 h 655533"/>
                <a:gd name="connsiteX127" fmla="*/ 355357 w 913036"/>
                <a:gd name="connsiteY127" fmla="*/ 37264 h 655533"/>
                <a:gd name="connsiteX128" fmla="*/ 370134 w 913036"/>
                <a:gd name="connsiteY128" fmla="*/ 63606 h 655533"/>
                <a:gd name="connsiteX129" fmla="*/ 370777 w 913036"/>
                <a:gd name="connsiteY129" fmla="*/ 73244 h 655533"/>
                <a:gd name="connsiteX130" fmla="*/ 358570 w 913036"/>
                <a:gd name="connsiteY130" fmla="*/ 110508 h 655533"/>
                <a:gd name="connsiteX131" fmla="*/ 370777 w 913036"/>
                <a:gd name="connsiteY131" fmla="*/ 121430 h 655533"/>
                <a:gd name="connsiteX132" fmla="*/ 409326 w 913036"/>
                <a:gd name="connsiteY132" fmla="*/ 104725 h 655533"/>
                <a:gd name="connsiteX133" fmla="*/ 432456 w 913036"/>
                <a:gd name="connsiteY133" fmla="*/ 101513 h 655533"/>
                <a:gd name="connsiteX134" fmla="*/ 447233 w 913036"/>
                <a:gd name="connsiteY134" fmla="*/ 113078 h 655533"/>
                <a:gd name="connsiteX135" fmla="*/ 521761 w 913036"/>
                <a:gd name="connsiteY135" fmla="*/ 125285 h 655533"/>
                <a:gd name="connsiteX136" fmla="*/ 609140 w 913036"/>
                <a:gd name="connsiteY136" fmla="*/ 101513 h 655533"/>
                <a:gd name="connsiteX137" fmla="*/ 623917 w 913036"/>
                <a:gd name="connsiteY137" fmla="*/ 74529 h 655533"/>
                <a:gd name="connsiteX138" fmla="*/ 645762 w 913036"/>
                <a:gd name="connsiteY138" fmla="*/ 53969 h 655533"/>
                <a:gd name="connsiteX139" fmla="*/ 677244 w 913036"/>
                <a:gd name="connsiteY139" fmla="*/ 53969 h 655533"/>
                <a:gd name="connsiteX140" fmla="*/ 708725 w 913036"/>
                <a:gd name="connsiteY140" fmla="*/ 38549 h 655533"/>
                <a:gd name="connsiteX141" fmla="*/ 738280 w 913036"/>
                <a:gd name="connsiteY141" fmla="*/ 22487 h 655533"/>
                <a:gd name="connsiteX142" fmla="*/ 748560 w 913036"/>
                <a:gd name="connsiteY142" fmla="*/ 29554 h 655533"/>
                <a:gd name="connsiteX143" fmla="*/ 770404 w 913036"/>
                <a:gd name="connsiteY143" fmla="*/ 29554 h 655533"/>
                <a:gd name="connsiteX144" fmla="*/ 785181 w 913036"/>
                <a:gd name="connsiteY144" fmla="*/ 10280 h 655533"/>
                <a:gd name="connsiteX145" fmla="*/ 796104 w 913036"/>
                <a:gd name="connsiteY145" fmla="*/ 6425 h 655533"/>
                <a:gd name="connsiteX146" fmla="*/ 811523 w 913036"/>
                <a:gd name="connsiteY146" fmla="*/ 0 h 655533"/>
                <a:gd name="connsiteX147" fmla="*/ 807026 w 913036"/>
                <a:gd name="connsiteY147" fmla="*/ 13492 h 655533"/>
                <a:gd name="connsiteX148" fmla="*/ 815378 w 913036"/>
                <a:gd name="connsiteY148" fmla="*/ 24415 h 655533"/>
                <a:gd name="connsiteX149" fmla="*/ 850715 w 913036"/>
                <a:gd name="connsiteY149" fmla="*/ 39192 h 655533"/>
                <a:gd name="connsiteX150" fmla="*/ 878984 w 913036"/>
                <a:gd name="connsiteY150" fmla="*/ 49472 h 655533"/>
                <a:gd name="connsiteX151" fmla="*/ 891192 w 913036"/>
                <a:gd name="connsiteY151" fmla="*/ 70031 h 655533"/>
                <a:gd name="connsiteX152" fmla="*/ 887979 w 913036"/>
                <a:gd name="connsiteY152" fmla="*/ 86736 h 655533"/>
                <a:gd name="connsiteX153" fmla="*/ 889907 w 913036"/>
                <a:gd name="connsiteY153" fmla="*/ 104725 h 655533"/>
                <a:gd name="connsiteX154" fmla="*/ 913036 w 913036"/>
                <a:gd name="connsiteY154" fmla="*/ 127212 h 655533"/>
                <a:gd name="connsiteX155" fmla="*/ 908539 w 913036"/>
                <a:gd name="connsiteY155" fmla="*/ 149699 h 65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913036" h="655533">
                  <a:moveTo>
                    <a:pt x="908539" y="149699"/>
                  </a:moveTo>
                  <a:cubicBezTo>
                    <a:pt x="908539" y="152270"/>
                    <a:pt x="905969" y="150342"/>
                    <a:pt x="902114" y="160622"/>
                  </a:cubicBezTo>
                  <a:cubicBezTo>
                    <a:pt x="898259" y="170902"/>
                    <a:pt x="898259" y="190176"/>
                    <a:pt x="898259" y="192104"/>
                  </a:cubicBezTo>
                  <a:cubicBezTo>
                    <a:pt x="898259" y="193389"/>
                    <a:pt x="898259" y="211378"/>
                    <a:pt x="894404" y="221658"/>
                  </a:cubicBezTo>
                  <a:cubicBezTo>
                    <a:pt x="890549" y="231938"/>
                    <a:pt x="887337" y="236435"/>
                    <a:pt x="885409" y="246073"/>
                  </a:cubicBezTo>
                  <a:cubicBezTo>
                    <a:pt x="884124" y="255710"/>
                    <a:pt x="875130" y="271772"/>
                    <a:pt x="869990" y="282052"/>
                  </a:cubicBezTo>
                  <a:cubicBezTo>
                    <a:pt x="864850" y="292974"/>
                    <a:pt x="858425" y="301969"/>
                    <a:pt x="858425" y="306467"/>
                  </a:cubicBezTo>
                  <a:cubicBezTo>
                    <a:pt x="858425" y="310964"/>
                    <a:pt x="860352" y="310321"/>
                    <a:pt x="857782" y="319959"/>
                  </a:cubicBezTo>
                  <a:cubicBezTo>
                    <a:pt x="855212" y="329596"/>
                    <a:pt x="853928" y="333451"/>
                    <a:pt x="848788" y="334736"/>
                  </a:cubicBezTo>
                  <a:cubicBezTo>
                    <a:pt x="843648" y="336663"/>
                    <a:pt x="828228" y="337948"/>
                    <a:pt x="824373" y="336021"/>
                  </a:cubicBezTo>
                  <a:cubicBezTo>
                    <a:pt x="820518" y="334093"/>
                    <a:pt x="814736" y="328954"/>
                    <a:pt x="810238" y="328311"/>
                  </a:cubicBezTo>
                  <a:cubicBezTo>
                    <a:pt x="805098" y="327669"/>
                    <a:pt x="791606" y="330238"/>
                    <a:pt x="790964" y="323171"/>
                  </a:cubicBezTo>
                  <a:cubicBezTo>
                    <a:pt x="790964" y="316104"/>
                    <a:pt x="793534" y="312249"/>
                    <a:pt x="794176" y="305181"/>
                  </a:cubicBezTo>
                  <a:cubicBezTo>
                    <a:pt x="795461" y="298757"/>
                    <a:pt x="794819" y="294259"/>
                    <a:pt x="791606" y="289119"/>
                  </a:cubicBezTo>
                  <a:cubicBezTo>
                    <a:pt x="788394" y="283979"/>
                    <a:pt x="782611" y="276270"/>
                    <a:pt x="782611" y="276270"/>
                  </a:cubicBezTo>
                  <a:cubicBezTo>
                    <a:pt x="782611" y="276270"/>
                    <a:pt x="776187" y="262135"/>
                    <a:pt x="765264" y="257637"/>
                  </a:cubicBezTo>
                  <a:cubicBezTo>
                    <a:pt x="754342" y="253140"/>
                    <a:pt x="753699" y="249285"/>
                    <a:pt x="744705" y="249928"/>
                  </a:cubicBezTo>
                  <a:cubicBezTo>
                    <a:pt x="735710" y="251213"/>
                    <a:pt x="727357" y="251855"/>
                    <a:pt x="724145" y="251855"/>
                  </a:cubicBezTo>
                  <a:cubicBezTo>
                    <a:pt x="720290" y="251855"/>
                    <a:pt x="718363" y="248000"/>
                    <a:pt x="714508" y="245430"/>
                  </a:cubicBezTo>
                  <a:cubicBezTo>
                    <a:pt x="711295" y="242860"/>
                    <a:pt x="704228" y="241575"/>
                    <a:pt x="699088" y="242860"/>
                  </a:cubicBezTo>
                  <a:cubicBezTo>
                    <a:pt x="693948" y="244145"/>
                    <a:pt x="686238" y="245430"/>
                    <a:pt x="687523" y="252497"/>
                  </a:cubicBezTo>
                  <a:cubicBezTo>
                    <a:pt x="689451" y="259565"/>
                    <a:pt x="692021" y="260207"/>
                    <a:pt x="689451" y="263420"/>
                  </a:cubicBezTo>
                  <a:cubicBezTo>
                    <a:pt x="686881" y="266632"/>
                    <a:pt x="685596" y="269845"/>
                    <a:pt x="688166" y="273057"/>
                  </a:cubicBezTo>
                  <a:cubicBezTo>
                    <a:pt x="690736" y="276270"/>
                    <a:pt x="696518" y="276270"/>
                    <a:pt x="699731" y="281409"/>
                  </a:cubicBezTo>
                  <a:cubicBezTo>
                    <a:pt x="702943" y="286549"/>
                    <a:pt x="708725" y="291689"/>
                    <a:pt x="711295" y="291689"/>
                  </a:cubicBezTo>
                  <a:cubicBezTo>
                    <a:pt x="713865" y="291689"/>
                    <a:pt x="718363" y="292974"/>
                    <a:pt x="718363" y="296187"/>
                  </a:cubicBezTo>
                  <a:cubicBezTo>
                    <a:pt x="718363" y="299399"/>
                    <a:pt x="716435" y="307109"/>
                    <a:pt x="713865" y="310321"/>
                  </a:cubicBezTo>
                  <a:cubicBezTo>
                    <a:pt x="711295" y="313534"/>
                    <a:pt x="710653" y="316104"/>
                    <a:pt x="705513" y="319316"/>
                  </a:cubicBezTo>
                  <a:cubicBezTo>
                    <a:pt x="699731" y="322529"/>
                    <a:pt x="690736" y="325741"/>
                    <a:pt x="689451" y="326383"/>
                  </a:cubicBezTo>
                  <a:cubicBezTo>
                    <a:pt x="688166" y="327026"/>
                    <a:pt x="684311" y="328311"/>
                    <a:pt x="674031" y="332808"/>
                  </a:cubicBezTo>
                  <a:cubicBezTo>
                    <a:pt x="663751" y="337306"/>
                    <a:pt x="651544" y="343088"/>
                    <a:pt x="643192" y="348871"/>
                  </a:cubicBezTo>
                  <a:cubicBezTo>
                    <a:pt x="634839" y="355295"/>
                    <a:pt x="623275" y="357223"/>
                    <a:pt x="615565" y="357866"/>
                  </a:cubicBezTo>
                  <a:cubicBezTo>
                    <a:pt x="607855" y="358508"/>
                    <a:pt x="609140" y="356580"/>
                    <a:pt x="602715" y="359793"/>
                  </a:cubicBezTo>
                  <a:cubicBezTo>
                    <a:pt x="596290" y="363005"/>
                    <a:pt x="588580" y="366218"/>
                    <a:pt x="586653" y="370715"/>
                  </a:cubicBezTo>
                  <a:cubicBezTo>
                    <a:pt x="584725" y="374570"/>
                    <a:pt x="580228" y="379710"/>
                    <a:pt x="577015" y="379710"/>
                  </a:cubicBezTo>
                  <a:cubicBezTo>
                    <a:pt x="573803" y="379710"/>
                    <a:pt x="569948" y="377782"/>
                    <a:pt x="566093" y="379068"/>
                  </a:cubicBezTo>
                  <a:cubicBezTo>
                    <a:pt x="562238" y="380353"/>
                    <a:pt x="550673" y="387420"/>
                    <a:pt x="542964" y="393202"/>
                  </a:cubicBezTo>
                  <a:cubicBezTo>
                    <a:pt x="534611" y="398985"/>
                    <a:pt x="533969" y="400270"/>
                    <a:pt x="529471" y="400270"/>
                  </a:cubicBezTo>
                  <a:cubicBezTo>
                    <a:pt x="524974" y="400270"/>
                    <a:pt x="512124" y="398985"/>
                    <a:pt x="508269" y="400270"/>
                  </a:cubicBezTo>
                  <a:cubicBezTo>
                    <a:pt x="503772" y="401555"/>
                    <a:pt x="492207" y="404767"/>
                    <a:pt x="487710" y="410549"/>
                  </a:cubicBezTo>
                  <a:cubicBezTo>
                    <a:pt x="483212" y="416332"/>
                    <a:pt x="479357" y="418902"/>
                    <a:pt x="478072" y="429181"/>
                  </a:cubicBezTo>
                  <a:cubicBezTo>
                    <a:pt x="476787" y="439461"/>
                    <a:pt x="472290" y="453596"/>
                    <a:pt x="466508" y="455523"/>
                  </a:cubicBezTo>
                  <a:cubicBezTo>
                    <a:pt x="460725" y="457451"/>
                    <a:pt x="451730" y="456809"/>
                    <a:pt x="447875" y="455523"/>
                  </a:cubicBezTo>
                  <a:cubicBezTo>
                    <a:pt x="444663" y="454239"/>
                    <a:pt x="442093" y="450384"/>
                    <a:pt x="437596" y="450384"/>
                  </a:cubicBezTo>
                  <a:cubicBezTo>
                    <a:pt x="433098" y="450384"/>
                    <a:pt x="425388" y="451669"/>
                    <a:pt x="423461" y="453596"/>
                  </a:cubicBezTo>
                  <a:cubicBezTo>
                    <a:pt x="421533" y="454881"/>
                    <a:pt x="416394" y="456809"/>
                    <a:pt x="415109" y="458736"/>
                  </a:cubicBezTo>
                  <a:cubicBezTo>
                    <a:pt x="413824" y="460663"/>
                    <a:pt x="412539" y="465803"/>
                    <a:pt x="410611" y="467088"/>
                  </a:cubicBezTo>
                  <a:cubicBezTo>
                    <a:pt x="408684" y="468373"/>
                    <a:pt x="397119" y="470943"/>
                    <a:pt x="395834" y="472228"/>
                  </a:cubicBezTo>
                  <a:cubicBezTo>
                    <a:pt x="394549" y="473513"/>
                    <a:pt x="393907" y="479296"/>
                    <a:pt x="393907" y="487648"/>
                  </a:cubicBezTo>
                  <a:cubicBezTo>
                    <a:pt x="393907" y="496000"/>
                    <a:pt x="390052" y="506280"/>
                    <a:pt x="381699" y="506922"/>
                  </a:cubicBezTo>
                  <a:cubicBezTo>
                    <a:pt x="372705" y="507565"/>
                    <a:pt x="358570" y="506922"/>
                    <a:pt x="355357" y="506922"/>
                  </a:cubicBezTo>
                  <a:cubicBezTo>
                    <a:pt x="352145" y="506922"/>
                    <a:pt x="352145" y="506280"/>
                    <a:pt x="350860" y="510777"/>
                  </a:cubicBezTo>
                  <a:cubicBezTo>
                    <a:pt x="349575" y="515275"/>
                    <a:pt x="350218" y="516560"/>
                    <a:pt x="345720" y="521700"/>
                  </a:cubicBezTo>
                  <a:cubicBezTo>
                    <a:pt x="341223" y="526840"/>
                    <a:pt x="338010" y="534550"/>
                    <a:pt x="334155" y="540332"/>
                  </a:cubicBezTo>
                  <a:cubicBezTo>
                    <a:pt x="330300" y="546114"/>
                    <a:pt x="325803" y="549969"/>
                    <a:pt x="320021" y="548684"/>
                  </a:cubicBezTo>
                  <a:cubicBezTo>
                    <a:pt x="313596" y="548042"/>
                    <a:pt x="305886" y="544187"/>
                    <a:pt x="301388" y="542259"/>
                  </a:cubicBezTo>
                  <a:cubicBezTo>
                    <a:pt x="296891" y="540332"/>
                    <a:pt x="292394" y="537762"/>
                    <a:pt x="289824" y="537119"/>
                  </a:cubicBezTo>
                  <a:cubicBezTo>
                    <a:pt x="287254" y="536477"/>
                    <a:pt x="280829" y="530052"/>
                    <a:pt x="278901" y="530052"/>
                  </a:cubicBezTo>
                  <a:cubicBezTo>
                    <a:pt x="276974" y="530695"/>
                    <a:pt x="273761" y="531979"/>
                    <a:pt x="273119" y="535192"/>
                  </a:cubicBezTo>
                  <a:cubicBezTo>
                    <a:pt x="271834" y="537762"/>
                    <a:pt x="269264" y="537762"/>
                    <a:pt x="267979" y="538404"/>
                  </a:cubicBezTo>
                  <a:cubicBezTo>
                    <a:pt x="266694" y="539047"/>
                    <a:pt x="257699" y="540974"/>
                    <a:pt x="254487" y="542902"/>
                  </a:cubicBezTo>
                  <a:cubicBezTo>
                    <a:pt x="250632" y="544829"/>
                    <a:pt x="244207" y="549969"/>
                    <a:pt x="236497" y="551254"/>
                  </a:cubicBezTo>
                  <a:cubicBezTo>
                    <a:pt x="228787" y="552539"/>
                    <a:pt x="223005" y="549969"/>
                    <a:pt x="219150" y="551254"/>
                  </a:cubicBezTo>
                  <a:cubicBezTo>
                    <a:pt x="215295" y="552539"/>
                    <a:pt x="199875" y="557679"/>
                    <a:pt x="197948" y="558964"/>
                  </a:cubicBezTo>
                  <a:cubicBezTo>
                    <a:pt x="196021" y="560249"/>
                    <a:pt x="192166" y="558321"/>
                    <a:pt x="183171" y="565389"/>
                  </a:cubicBezTo>
                  <a:cubicBezTo>
                    <a:pt x="174176" y="572456"/>
                    <a:pt x="167751" y="577596"/>
                    <a:pt x="165824" y="582094"/>
                  </a:cubicBezTo>
                  <a:cubicBezTo>
                    <a:pt x="163896" y="587233"/>
                    <a:pt x="162611" y="589161"/>
                    <a:pt x="158756" y="594301"/>
                  </a:cubicBezTo>
                  <a:cubicBezTo>
                    <a:pt x="154259" y="599441"/>
                    <a:pt x="152974" y="602011"/>
                    <a:pt x="151046" y="603938"/>
                  </a:cubicBezTo>
                  <a:cubicBezTo>
                    <a:pt x="150404" y="604581"/>
                    <a:pt x="148476" y="606508"/>
                    <a:pt x="147191" y="608436"/>
                  </a:cubicBezTo>
                  <a:cubicBezTo>
                    <a:pt x="146549" y="609720"/>
                    <a:pt x="145264" y="611005"/>
                    <a:pt x="144622" y="612290"/>
                  </a:cubicBezTo>
                  <a:cubicBezTo>
                    <a:pt x="143979" y="612933"/>
                    <a:pt x="143979" y="613575"/>
                    <a:pt x="143337" y="614218"/>
                  </a:cubicBezTo>
                  <a:cubicBezTo>
                    <a:pt x="142694" y="614860"/>
                    <a:pt x="142694" y="615503"/>
                    <a:pt x="142694" y="616145"/>
                  </a:cubicBezTo>
                  <a:cubicBezTo>
                    <a:pt x="142694" y="616145"/>
                    <a:pt x="142694" y="616788"/>
                    <a:pt x="142694" y="616788"/>
                  </a:cubicBezTo>
                  <a:cubicBezTo>
                    <a:pt x="142694" y="617430"/>
                    <a:pt x="142051" y="618073"/>
                    <a:pt x="142051" y="618715"/>
                  </a:cubicBezTo>
                  <a:cubicBezTo>
                    <a:pt x="141409" y="624498"/>
                    <a:pt x="143337" y="623213"/>
                    <a:pt x="143337" y="628995"/>
                  </a:cubicBezTo>
                  <a:cubicBezTo>
                    <a:pt x="143337" y="634777"/>
                    <a:pt x="144622" y="643130"/>
                    <a:pt x="139482" y="648912"/>
                  </a:cubicBezTo>
                  <a:cubicBezTo>
                    <a:pt x="134342" y="655337"/>
                    <a:pt x="125989" y="655980"/>
                    <a:pt x="125347" y="655337"/>
                  </a:cubicBezTo>
                  <a:cubicBezTo>
                    <a:pt x="124704" y="654052"/>
                    <a:pt x="125347" y="649555"/>
                    <a:pt x="124062" y="644415"/>
                  </a:cubicBezTo>
                  <a:cubicBezTo>
                    <a:pt x="122135" y="639275"/>
                    <a:pt x="120207" y="635420"/>
                    <a:pt x="115710" y="630923"/>
                  </a:cubicBezTo>
                  <a:cubicBezTo>
                    <a:pt x="111212" y="626425"/>
                    <a:pt x="109927" y="623855"/>
                    <a:pt x="109285" y="620000"/>
                  </a:cubicBezTo>
                  <a:cubicBezTo>
                    <a:pt x="108642" y="616145"/>
                    <a:pt x="106715" y="614218"/>
                    <a:pt x="104145" y="611648"/>
                  </a:cubicBezTo>
                  <a:cubicBezTo>
                    <a:pt x="101575" y="609078"/>
                    <a:pt x="101575" y="606508"/>
                    <a:pt x="99005" y="602011"/>
                  </a:cubicBezTo>
                  <a:cubicBezTo>
                    <a:pt x="96435" y="597513"/>
                    <a:pt x="96435" y="594943"/>
                    <a:pt x="88083" y="596871"/>
                  </a:cubicBezTo>
                  <a:cubicBezTo>
                    <a:pt x="82300" y="598156"/>
                    <a:pt x="78445" y="596871"/>
                    <a:pt x="77160" y="598798"/>
                  </a:cubicBezTo>
                  <a:cubicBezTo>
                    <a:pt x="77160" y="598798"/>
                    <a:pt x="76518" y="599441"/>
                    <a:pt x="76518" y="600083"/>
                  </a:cubicBezTo>
                  <a:cubicBezTo>
                    <a:pt x="65596" y="594301"/>
                    <a:pt x="51461" y="594301"/>
                    <a:pt x="39253" y="589161"/>
                  </a:cubicBezTo>
                  <a:cubicBezTo>
                    <a:pt x="36041" y="587876"/>
                    <a:pt x="32186" y="585306"/>
                    <a:pt x="31544" y="582094"/>
                  </a:cubicBezTo>
                  <a:cubicBezTo>
                    <a:pt x="30901" y="579524"/>
                    <a:pt x="32186" y="577596"/>
                    <a:pt x="32829" y="575026"/>
                  </a:cubicBezTo>
                  <a:cubicBezTo>
                    <a:pt x="34114" y="569886"/>
                    <a:pt x="31544" y="564746"/>
                    <a:pt x="27689" y="561534"/>
                  </a:cubicBezTo>
                  <a:cubicBezTo>
                    <a:pt x="23834" y="558321"/>
                    <a:pt x="18051" y="557037"/>
                    <a:pt x="12269" y="557679"/>
                  </a:cubicBezTo>
                  <a:cubicBezTo>
                    <a:pt x="9699" y="557679"/>
                    <a:pt x="7129" y="558321"/>
                    <a:pt x="5202" y="557679"/>
                  </a:cubicBezTo>
                  <a:cubicBezTo>
                    <a:pt x="2632" y="557037"/>
                    <a:pt x="62" y="555752"/>
                    <a:pt x="62" y="553182"/>
                  </a:cubicBezTo>
                  <a:cubicBezTo>
                    <a:pt x="-581" y="549969"/>
                    <a:pt x="3917" y="548042"/>
                    <a:pt x="7129" y="545472"/>
                  </a:cubicBezTo>
                  <a:cubicBezTo>
                    <a:pt x="10342" y="542259"/>
                    <a:pt x="10984" y="537119"/>
                    <a:pt x="11627" y="531979"/>
                  </a:cubicBezTo>
                  <a:cubicBezTo>
                    <a:pt x="12269" y="524912"/>
                    <a:pt x="12912" y="517202"/>
                    <a:pt x="16766" y="510777"/>
                  </a:cubicBezTo>
                  <a:cubicBezTo>
                    <a:pt x="20621" y="504353"/>
                    <a:pt x="28331" y="499855"/>
                    <a:pt x="36041" y="501140"/>
                  </a:cubicBezTo>
                  <a:cubicBezTo>
                    <a:pt x="39896" y="501783"/>
                    <a:pt x="43108" y="504353"/>
                    <a:pt x="47606" y="504995"/>
                  </a:cubicBezTo>
                  <a:cubicBezTo>
                    <a:pt x="51461" y="505638"/>
                    <a:pt x="55316" y="504353"/>
                    <a:pt x="58528" y="502425"/>
                  </a:cubicBezTo>
                  <a:cubicBezTo>
                    <a:pt x="61098" y="501140"/>
                    <a:pt x="63026" y="499213"/>
                    <a:pt x="65596" y="497928"/>
                  </a:cubicBezTo>
                  <a:cubicBezTo>
                    <a:pt x="72020" y="492788"/>
                    <a:pt x="78445" y="487648"/>
                    <a:pt x="85513" y="482508"/>
                  </a:cubicBezTo>
                  <a:cubicBezTo>
                    <a:pt x="102217" y="469658"/>
                    <a:pt x="118922" y="456166"/>
                    <a:pt x="130487" y="439461"/>
                  </a:cubicBezTo>
                  <a:cubicBezTo>
                    <a:pt x="124062" y="435606"/>
                    <a:pt x="113782" y="440104"/>
                    <a:pt x="109285" y="434321"/>
                  </a:cubicBezTo>
                  <a:cubicBezTo>
                    <a:pt x="108000" y="432394"/>
                    <a:pt x="107357" y="429824"/>
                    <a:pt x="107357" y="427254"/>
                  </a:cubicBezTo>
                  <a:cubicBezTo>
                    <a:pt x="106715" y="420829"/>
                    <a:pt x="106072" y="414404"/>
                    <a:pt x="105430" y="407979"/>
                  </a:cubicBezTo>
                  <a:cubicBezTo>
                    <a:pt x="104787" y="402840"/>
                    <a:pt x="104145" y="397700"/>
                    <a:pt x="106715" y="392560"/>
                  </a:cubicBezTo>
                  <a:cubicBezTo>
                    <a:pt x="109285" y="388062"/>
                    <a:pt x="113782" y="386135"/>
                    <a:pt x="118280" y="384207"/>
                  </a:cubicBezTo>
                  <a:cubicBezTo>
                    <a:pt x="118280" y="384207"/>
                    <a:pt x="135627" y="377782"/>
                    <a:pt x="142694" y="373285"/>
                  </a:cubicBezTo>
                  <a:cubicBezTo>
                    <a:pt x="150404" y="369430"/>
                    <a:pt x="168393" y="363005"/>
                    <a:pt x="170963" y="357223"/>
                  </a:cubicBezTo>
                  <a:cubicBezTo>
                    <a:pt x="174176" y="352083"/>
                    <a:pt x="191523" y="347586"/>
                    <a:pt x="189596" y="336663"/>
                  </a:cubicBezTo>
                  <a:cubicBezTo>
                    <a:pt x="187668" y="325099"/>
                    <a:pt x="193450" y="328311"/>
                    <a:pt x="176746" y="311606"/>
                  </a:cubicBezTo>
                  <a:cubicBezTo>
                    <a:pt x="160041" y="294902"/>
                    <a:pt x="151046" y="277555"/>
                    <a:pt x="130487" y="271130"/>
                  </a:cubicBezTo>
                  <a:cubicBezTo>
                    <a:pt x="120207" y="267917"/>
                    <a:pt x="109285" y="267275"/>
                    <a:pt x="99647" y="265347"/>
                  </a:cubicBezTo>
                  <a:cubicBezTo>
                    <a:pt x="90010" y="263420"/>
                    <a:pt x="82300" y="260850"/>
                    <a:pt x="79730" y="253140"/>
                  </a:cubicBezTo>
                  <a:cubicBezTo>
                    <a:pt x="74590" y="238363"/>
                    <a:pt x="70736" y="197244"/>
                    <a:pt x="64953" y="182466"/>
                  </a:cubicBezTo>
                  <a:cubicBezTo>
                    <a:pt x="62383" y="175399"/>
                    <a:pt x="59171" y="169617"/>
                    <a:pt x="57886" y="164477"/>
                  </a:cubicBezTo>
                  <a:cubicBezTo>
                    <a:pt x="55958" y="158694"/>
                    <a:pt x="55958" y="153554"/>
                    <a:pt x="58528" y="147130"/>
                  </a:cubicBezTo>
                  <a:cubicBezTo>
                    <a:pt x="63668" y="135565"/>
                    <a:pt x="64953" y="122715"/>
                    <a:pt x="64953" y="107295"/>
                  </a:cubicBezTo>
                  <a:cubicBezTo>
                    <a:pt x="64953" y="92518"/>
                    <a:pt x="69450" y="61679"/>
                    <a:pt x="78445" y="55896"/>
                  </a:cubicBezTo>
                  <a:cubicBezTo>
                    <a:pt x="87440" y="49472"/>
                    <a:pt x="87440" y="57181"/>
                    <a:pt x="102217" y="55896"/>
                  </a:cubicBezTo>
                  <a:cubicBezTo>
                    <a:pt x="116994" y="54611"/>
                    <a:pt x="129202" y="55254"/>
                    <a:pt x="135627" y="46902"/>
                  </a:cubicBezTo>
                  <a:cubicBezTo>
                    <a:pt x="142051" y="38549"/>
                    <a:pt x="143337" y="29554"/>
                    <a:pt x="153616" y="29554"/>
                  </a:cubicBezTo>
                  <a:cubicBezTo>
                    <a:pt x="163896" y="29554"/>
                    <a:pt x="176103" y="32767"/>
                    <a:pt x="183171" y="32767"/>
                  </a:cubicBezTo>
                  <a:cubicBezTo>
                    <a:pt x="189596" y="32767"/>
                    <a:pt x="200518" y="28269"/>
                    <a:pt x="201803" y="29554"/>
                  </a:cubicBezTo>
                  <a:cubicBezTo>
                    <a:pt x="203088" y="30839"/>
                    <a:pt x="238425" y="3855"/>
                    <a:pt x="252559" y="3855"/>
                  </a:cubicBezTo>
                  <a:cubicBezTo>
                    <a:pt x="266694" y="3855"/>
                    <a:pt x="266052" y="643"/>
                    <a:pt x="278901" y="3855"/>
                  </a:cubicBezTo>
                  <a:cubicBezTo>
                    <a:pt x="289181" y="6425"/>
                    <a:pt x="299461" y="10280"/>
                    <a:pt x="309741" y="12207"/>
                  </a:cubicBezTo>
                  <a:cubicBezTo>
                    <a:pt x="309098" y="12850"/>
                    <a:pt x="308456" y="12850"/>
                    <a:pt x="308456" y="12850"/>
                  </a:cubicBezTo>
                  <a:cubicBezTo>
                    <a:pt x="308456" y="12850"/>
                    <a:pt x="348932" y="34052"/>
                    <a:pt x="355357" y="37264"/>
                  </a:cubicBezTo>
                  <a:cubicBezTo>
                    <a:pt x="360497" y="39834"/>
                    <a:pt x="367565" y="50756"/>
                    <a:pt x="370134" y="63606"/>
                  </a:cubicBezTo>
                  <a:cubicBezTo>
                    <a:pt x="370777" y="66819"/>
                    <a:pt x="370777" y="70031"/>
                    <a:pt x="370777" y="73244"/>
                  </a:cubicBezTo>
                  <a:cubicBezTo>
                    <a:pt x="369492" y="89306"/>
                    <a:pt x="358570" y="107295"/>
                    <a:pt x="358570" y="110508"/>
                  </a:cubicBezTo>
                  <a:cubicBezTo>
                    <a:pt x="358570" y="113720"/>
                    <a:pt x="357285" y="125928"/>
                    <a:pt x="370777" y="121430"/>
                  </a:cubicBezTo>
                  <a:cubicBezTo>
                    <a:pt x="384912" y="116933"/>
                    <a:pt x="402901" y="106653"/>
                    <a:pt x="409326" y="104725"/>
                  </a:cubicBezTo>
                  <a:cubicBezTo>
                    <a:pt x="415751" y="102798"/>
                    <a:pt x="424104" y="95088"/>
                    <a:pt x="432456" y="101513"/>
                  </a:cubicBezTo>
                  <a:cubicBezTo>
                    <a:pt x="440808" y="107938"/>
                    <a:pt x="431813" y="106653"/>
                    <a:pt x="447233" y="113078"/>
                  </a:cubicBezTo>
                  <a:cubicBezTo>
                    <a:pt x="462653" y="119503"/>
                    <a:pt x="510839" y="125285"/>
                    <a:pt x="521761" y="125285"/>
                  </a:cubicBezTo>
                  <a:cubicBezTo>
                    <a:pt x="532684" y="125285"/>
                    <a:pt x="600145" y="112435"/>
                    <a:pt x="609140" y="101513"/>
                  </a:cubicBezTo>
                  <a:cubicBezTo>
                    <a:pt x="618135" y="90591"/>
                    <a:pt x="619420" y="87378"/>
                    <a:pt x="623917" y="74529"/>
                  </a:cubicBezTo>
                  <a:cubicBezTo>
                    <a:pt x="628414" y="61679"/>
                    <a:pt x="638052" y="53969"/>
                    <a:pt x="645762" y="53969"/>
                  </a:cubicBezTo>
                  <a:cubicBezTo>
                    <a:pt x="652829" y="53969"/>
                    <a:pt x="662466" y="57181"/>
                    <a:pt x="677244" y="53969"/>
                  </a:cubicBezTo>
                  <a:cubicBezTo>
                    <a:pt x="692021" y="50756"/>
                    <a:pt x="697161" y="48187"/>
                    <a:pt x="708725" y="38549"/>
                  </a:cubicBezTo>
                  <a:cubicBezTo>
                    <a:pt x="720290" y="28912"/>
                    <a:pt x="735710" y="22487"/>
                    <a:pt x="738280" y="22487"/>
                  </a:cubicBezTo>
                  <a:cubicBezTo>
                    <a:pt x="740850" y="22487"/>
                    <a:pt x="740850" y="29554"/>
                    <a:pt x="748560" y="29554"/>
                  </a:cubicBezTo>
                  <a:cubicBezTo>
                    <a:pt x="756269" y="30197"/>
                    <a:pt x="763979" y="37264"/>
                    <a:pt x="770404" y="29554"/>
                  </a:cubicBezTo>
                  <a:cubicBezTo>
                    <a:pt x="776829" y="21845"/>
                    <a:pt x="780684" y="12850"/>
                    <a:pt x="785181" y="10280"/>
                  </a:cubicBezTo>
                  <a:cubicBezTo>
                    <a:pt x="789679" y="7710"/>
                    <a:pt x="790321" y="6425"/>
                    <a:pt x="796104" y="6425"/>
                  </a:cubicBezTo>
                  <a:cubicBezTo>
                    <a:pt x="798674" y="6425"/>
                    <a:pt x="805098" y="3855"/>
                    <a:pt x="811523" y="0"/>
                  </a:cubicBezTo>
                  <a:cubicBezTo>
                    <a:pt x="808953" y="5140"/>
                    <a:pt x="807026" y="10280"/>
                    <a:pt x="807026" y="13492"/>
                  </a:cubicBezTo>
                  <a:cubicBezTo>
                    <a:pt x="807026" y="18632"/>
                    <a:pt x="812166" y="21845"/>
                    <a:pt x="815378" y="24415"/>
                  </a:cubicBezTo>
                  <a:cubicBezTo>
                    <a:pt x="818591" y="26984"/>
                    <a:pt x="835938" y="34694"/>
                    <a:pt x="850715" y="39192"/>
                  </a:cubicBezTo>
                  <a:cubicBezTo>
                    <a:pt x="865492" y="43689"/>
                    <a:pt x="869990" y="43689"/>
                    <a:pt x="878984" y="49472"/>
                  </a:cubicBezTo>
                  <a:cubicBezTo>
                    <a:pt x="887979" y="55254"/>
                    <a:pt x="890549" y="66819"/>
                    <a:pt x="891192" y="70031"/>
                  </a:cubicBezTo>
                  <a:cubicBezTo>
                    <a:pt x="891834" y="73244"/>
                    <a:pt x="887979" y="79026"/>
                    <a:pt x="887979" y="86736"/>
                  </a:cubicBezTo>
                  <a:cubicBezTo>
                    <a:pt x="887337" y="94446"/>
                    <a:pt x="883482" y="96373"/>
                    <a:pt x="889907" y="104725"/>
                  </a:cubicBezTo>
                  <a:cubicBezTo>
                    <a:pt x="896332" y="113720"/>
                    <a:pt x="911751" y="122073"/>
                    <a:pt x="913036" y="127212"/>
                  </a:cubicBezTo>
                  <a:cubicBezTo>
                    <a:pt x="909181" y="136207"/>
                    <a:pt x="909181" y="147130"/>
                    <a:pt x="908539" y="149699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 463">
              <a:extLst>
                <a:ext uri="{FF2B5EF4-FFF2-40B4-BE49-F238E27FC236}">
                  <a16:creationId xmlns:a16="http://schemas.microsoft.com/office/drawing/2014/main" id="{D848BC13-5D5F-A992-0C69-E814FDCD65FA}"/>
                </a:ext>
              </a:extLst>
            </p:cNvPr>
            <p:cNvSpPr/>
            <p:nvPr/>
          </p:nvSpPr>
          <p:spPr>
            <a:xfrm>
              <a:off x="3515083" y="3650672"/>
              <a:ext cx="913036" cy="655533"/>
            </a:xfrm>
            <a:custGeom>
              <a:avLst/>
              <a:gdLst>
                <a:gd name="connsiteX0" fmla="*/ 908539 w 913036"/>
                <a:gd name="connsiteY0" fmla="*/ 149699 h 655533"/>
                <a:gd name="connsiteX1" fmla="*/ 902114 w 913036"/>
                <a:gd name="connsiteY1" fmla="*/ 160622 h 655533"/>
                <a:gd name="connsiteX2" fmla="*/ 898259 w 913036"/>
                <a:gd name="connsiteY2" fmla="*/ 192104 h 655533"/>
                <a:gd name="connsiteX3" fmla="*/ 894404 w 913036"/>
                <a:gd name="connsiteY3" fmla="*/ 221658 h 655533"/>
                <a:gd name="connsiteX4" fmla="*/ 885409 w 913036"/>
                <a:gd name="connsiteY4" fmla="*/ 246073 h 655533"/>
                <a:gd name="connsiteX5" fmla="*/ 869990 w 913036"/>
                <a:gd name="connsiteY5" fmla="*/ 282052 h 655533"/>
                <a:gd name="connsiteX6" fmla="*/ 858425 w 913036"/>
                <a:gd name="connsiteY6" fmla="*/ 306467 h 655533"/>
                <a:gd name="connsiteX7" fmla="*/ 857782 w 913036"/>
                <a:gd name="connsiteY7" fmla="*/ 319959 h 655533"/>
                <a:gd name="connsiteX8" fmla="*/ 848788 w 913036"/>
                <a:gd name="connsiteY8" fmla="*/ 334736 h 655533"/>
                <a:gd name="connsiteX9" fmla="*/ 824373 w 913036"/>
                <a:gd name="connsiteY9" fmla="*/ 336021 h 655533"/>
                <a:gd name="connsiteX10" fmla="*/ 810238 w 913036"/>
                <a:gd name="connsiteY10" fmla="*/ 328311 h 655533"/>
                <a:gd name="connsiteX11" fmla="*/ 790964 w 913036"/>
                <a:gd name="connsiteY11" fmla="*/ 323171 h 655533"/>
                <a:gd name="connsiteX12" fmla="*/ 794176 w 913036"/>
                <a:gd name="connsiteY12" fmla="*/ 305181 h 655533"/>
                <a:gd name="connsiteX13" fmla="*/ 791606 w 913036"/>
                <a:gd name="connsiteY13" fmla="*/ 289119 h 655533"/>
                <a:gd name="connsiteX14" fmla="*/ 782611 w 913036"/>
                <a:gd name="connsiteY14" fmla="*/ 276270 h 655533"/>
                <a:gd name="connsiteX15" fmla="*/ 765264 w 913036"/>
                <a:gd name="connsiteY15" fmla="*/ 257637 h 655533"/>
                <a:gd name="connsiteX16" fmla="*/ 744705 w 913036"/>
                <a:gd name="connsiteY16" fmla="*/ 249928 h 655533"/>
                <a:gd name="connsiteX17" fmla="*/ 724145 w 913036"/>
                <a:gd name="connsiteY17" fmla="*/ 251855 h 655533"/>
                <a:gd name="connsiteX18" fmla="*/ 714508 w 913036"/>
                <a:gd name="connsiteY18" fmla="*/ 245430 h 655533"/>
                <a:gd name="connsiteX19" fmla="*/ 699088 w 913036"/>
                <a:gd name="connsiteY19" fmla="*/ 242860 h 655533"/>
                <a:gd name="connsiteX20" fmla="*/ 687523 w 913036"/>
                <a:gd name="connsiteY20" fmla="*/ 252497 h 655533"/>
                <a:gd name="connsiteX21" fmla="*/ 689451 w 913036"/>
                <a:gd name="connsiteY21" fmla="*/ 263420 h 655533"/>
                <a:gd name="connsiteX22" fmla="*/ 688166 w 913036"/>
                <a:gd name="connsiteY22" fmla="*/ 273057 h 655533"/>
                <a:gd name="connsiteX23" fmla="*/ 699731 w 913036"/>
                <a:gd name="connsiteY23" fmla="*/ 281409 h 655533"/>
                <a:gd name="connsiteX24" fmla="*/ 711295 w 913036"/>
                <a:gd name="connsiteY24" fmla="*/ 291689 h 655533"/>
                <a:gd name="connsiteX25" fmla="*/ 718363 w 913036"/>
                <a:gd name="connsiteY25" fmla="*/ 296187 h 655533"/>
                <a:gd name="connsiteX26" fmla="*/ 713865 w 913036"/>
                <a:gd name="connsiteY26" fmla="*/ 310321 h 655533"/>
                <a:gd name="connsiteX27" fmla="*/ 705513 w 913036"/>
                <a:gd name="connsiteY27" fmla="*/ 319316 h 655533"/>
                <a:gd name="connsiteX28" fmla="*/ 689451 w 913036"/>
                <a:gd name="connsiteY28" fmla="*/ 326383 h 655533"/>
                <a:gd name="connsiteX29" fmla="*/ 674031 w 913036"/>
                <a:gd name="connsiteY29" fmla="*/ 332808 h 655533"/>
                <a:gd name="connsiteX30" fmla="*/ 643192 w 913036"/>
                <a:gd name="connsiteY30" fmla="*/ 348871 h 655533"/>
                <a:gd name="connsiteX31" fmla="*/ 615565 w 913036"/>
                <a:gd name="connsiteY31" fmla="*/ 357866 h 655533"/>
                <a:gd name="connsiteX32" fmla="*/ 602715 w 913036"/>
                <a:gd name="connsiteY32" fmla="*/ 359793 h 655533"/>
                <a:gd name="connsiteX33" fmla="*/ 586653 w 913036"/>
                <a:gd name="connsiteY33" fmla="*/ 370715 h 655533"/>
                <a:gd name="connsiteX34" fmla="*/ 577015 w 913036"/>
                <a:gd name="connsiteY34" fmla="*/ 379710 h 655533"/>
                <a:gd name="connsiteX35" fmla="*/ 566093 w 913036"/>
                <a:gd name="connsiteY35" fmla="*/ 379068 h 655533"/>
                <a:gd name="connsiteX36" fmla="*/ 542964 w 913036"/>
                <a:gd name="connsiteY36" fmla="*/ 393202 h 655533"/>
                <a:gd name="connsiteX37" fmla="*/ 529471 w 913036"/>
                <a:gd name="connsiteY37" fmla="*/ 400270 h 655533"/>
                <a:gd name="connsiteX38" fmla="*/ 508269 w 913036"/>
                <a:gd name="connsiteY38" fmla="*/ 400270 h 655533"/>
                <a:gd name="connsiteX39" fmla="*/ 487710 w 913036"/>
                <a:gd name="connsiteY39" fmla="*/ 410549 h 655533"/>
                <a:gd name="connsiteX40" fmla="*/ 478072 w 913036"/>
                <a:gd name="connsiteY40" fmla="*/ 429181 h 655533"/>
                <a:gd name="connsiteX41" fmla="*/ 466508 w 913036"/>
                <a:gd name="connsiteY41" fmla="*/ 455523 h 655533"/>
                <a:gd name="connsiteX42" fmla="*/ 447875 w 913036"/>
                <a:gd name="connsiteY42" fmla="*/ 455523 h 655533"/>
                <a:gd name="connsiteX43" fmla="*/ 437596 w 913036"/>
                <a:gd name="connsiteY43" fmla="*/ 450384 h 655533"/>
                <a:gd name="connsiteX44" fmla="*/ 423461 w 913036"/>
                <a:gd name="connsiteY44" fmla="*/ 453596 h 655533"/>
                <a:gd name="connsiteX45" fmla="*/ 415109 w 913036"/>
                <a:gd name="connsiteY45" fmla="*/ 458736 h 655533"/>
                <a:gd name="connsiteX46" fmla="*/ 410611 w 913036"/>
                <a:gd name="connsiteY46" fmla="*/ 467088 h 655533"/>
                <a:gd name="connsiteX47" fmla="*/ 395834 w 913036"/>
                <a:gd name="connsiteY47" fmla="*/ 472228 h 655533"/>
                <a:gd name="connsiteX48" fmla="*/ 393907 w 913036"/>
                <a:gd name="connsiteY48" fmla="*/ 487648 h 655533"/>
                <a:gd name="connsiteX49" fmla="*/ 381699 w 913036"/>
                <a:gd name="connsiteY49" fmla="*/ 506922 h 655533"/>
                <a:gd name="connsiteX50" fmla="*/ 355357 w 913036"/>
                <a:gd name="connsiteY50" fmla="*/ 506922 h 655533"/>
                <a:gd name="connsiteX51" fmla="*/ 350860 w 913036"/>
                <a:gd name="connsiteY51" fmla="*/ 510777 h 655533"/>
                <a:gd name="connsiteX52" fmla="*/ 345720 w 913036"/>
                <a:gd name="connsiteY52" fmla="*/ 521700 h 655533"/>
                <a:gd name="connsiteX53" fmla="*/ 334155 w 913036"/>
                <a:gd name="connsiteY53" fmla="*/ 540332 h 655533"/>
                <a:gd name="connsiteX54" fmla="*/ 320021 w 913036"/>
                <a:gd name="connsiteY54" fmla="*/ 548684 h 655533"/>
                <a:gd name="connsiteX55" fmla="*/ 301388 w 913036"/>
                <a:gd name="connsiteY55" fmla="*/ 542259 h 655533"/>
                <a:gd name="connsiteX56" fmla="*/ 289824 w 913036"/>
                <a:gd name="connsiteY56" fmla="*/ 537119 h 655533"/>
                <a:gd name="connsiteX57" fmla="*/ 278901 w 913036"/>
                <a:gd name="connsiteY57" fmla="*/ 530052 h 655533"/>
                <a:gd name="connsiteX58" fmla="*/ 273119 w 913036"/>
                <a:gd name="connsiteY58" fmla="*/ 535192 h 655533"/>
                <a:gd name="connsiteX59" fmla="*/ 267979 w 913036"/>
                <a:gd name="connsiteY59" fmla="*/ 538404 h 655533"/>
                <a:gd name="connsiteX60" fmla="*/ 254487 w 913036"/>
                <a:gd name="connsiteY60" fmla="*/ 542902 h 655533"/>
                <a:gd name="connsiteX61" fmla="*/ 236497 w 913036"/>
                <a:gd name="connsiteY61" fmla="*/ 551254 h 655533"/>
                <a:gd name="connsiteX62" fmla="*/ 219150 w 913036"/>
                <a:gd name="connsiteY62" fmla="*/ 551254 h 655533"/>
                <a:gd name="connsiteX63" fmla="*/ 197948 w 913036"/>
                <a:gd name="connsiteY63" fmla="*/ 558964 h 655533"/>
                <a:gd name="connsiteX64" fmla="*/ 183171 w 913036"/>
                <a:gd name="connsiteY64" fmla="*/ 565389 h 655533"/>
                <a:gd name="connsiteX65" fmla="*/ 165824 w 913036"/>
                <a:gd name="connsiteY65" fmla="*/ 582094 h 655533"/>
                <a:gd name="connsiteX66" fmla="*/ 158756 w 913036"/>
                <a:gd name="connsiteY66" fmla="*/ 594301 h 655533"/>
                <a:gd name="connsiteX67" fmla="*/ 151046 w 913036"/>
                <a:gd name="connsiteY67" fmla="*/ 603938 h 655533"/>
                <a:gd name="connsiteX68" fmla="*/ 147191 w 913036"/>
                <a:gd name="connsiteY68" fmla="*/ 608436 h 655533"/>
                <a:gd name="connsiteX69" fmla="*/ 144622 w 913036"/>
                <a:gd name="connsiteY69" fmla="*/ 612290 h 655533"/>
                <a:gd name="connsiteX70" fmla="*/ 143337 w 913036"/>
                <a:gd name="connsiteY70" fmla="*/ 614218 h 655533"/>
                <a:gd name="connsiteX71" fmla="*/ 142694 w 913036"/>
                <a:gd name="connsiteY71" fmla="*/ 616145 h 655533"/>
                <a:gd name="connsiteX72" fmla="*/ 142694 w 913036"/>
                <a:gd name="connsiteY72" fmla="*/ 616788 h 655533"/>
                <a:gd name="connsiteX73" fmla="*/ 142051 w 913036"/>
                <a:gd name="connsiteY73" fmla="*/ 618715 h 655533"/>
                <a:gd name="connsiteX74" fmla="*/ 143337 w 913036"/>
                <a:gd name="connsiteY74" fmla="*/ 628995 h 655533"/>
                <a:gd name="connsiteX75" fmla="*/ 139482 w 913036"/>
                <a:gd name="connsiteY75" fmla="*/ 648912 h 655533"/>
                <a:gd name="connsiteX76" fmla="*/ 125347 w 913036"/>
                <a:gd name="connsiteY76" fmla="*/ 655337 h 655533"/>
                <a:gd name="connsiteX77" fmla="*/ 124062 w 913036"/>
                <a:gd name="connsiteY77" fmla="*/ 644415 h 655533"/>
                <a:gd name="connsiteX78" fmla="*/ 115710 w 913036"/>
                <a:gd name="connsiteY78" fmla="*/ 630923 h 655533"/>
                <a:gd name="connsiteX79" fmla="*/ 109285 w 913036"/>
                <a:gd name="connsiteY79" fmla="*/ 620000 h 655533"/>
                <a:gd name="connsiteX80" fmla="*/ 104145 w 913036"/>
                <a:gd name="connsiteY80" fmla="*/ 611648 h 655533"/>
                <a:gd name="connsiteX81" fmla="*/ 99005 w 913036"/>
                <a:gd name="connsiteY81" fmla="*/ 602011 h 655533"/>
                <a:gd name="connsiteX82" fmla="*/ 88083 w 913036"/>
                <a:gd name="connsiteY82" fmla="*/ 596871 h 655533"/>
                <a:gd name="connsiteX83" fmla="*/ 77160 w 913036"/>
                <a:gd name="connsiteY83" fmla="*/ 598798 h 655533"/>
                <a:gd name="connsiteX84" fmla="*/ 76518 w 913036"/>
                <a:gd name="connsiteY84" fmla="*/ 600083 h 655533"/>
                <a:gd name="connsiteX85" fmla="*/ 39253 w 913036"/>
                <a:gd name="connsiteY85" fmla="*/ 589161 h 655533"/>
                <a:gd name="connsiteX86" fmla="*/ 31544 w 913036"/>
                <a:gd name="connsiteY86" fmla="*/ 582094 h 655533"/>
                <a:gd name="connsiteX87" fmla="*/ 32829 w 913036"/>
                <a:gd name="connsiteY87" fmla="*/ 575026 h 655533"/>
                <a:gd name="connsiteX88" fmla="*/ 27689 w 913036"/>
                <a:gd name="connsiteY88" fmla="*/ 561534 h 655533"/>
                <a:gd name="connsiteX89" fmla="*/ 12269 w 913036"/>
                <a:gd name="connsiteY89" fmla="*/ 557679 h 655533"/>
                <a:gd name="connsiteX90" fmla="*/ 5202 w 913036"/>
                <a:gd name="connsiteY90" fmla="*/ 557679 h 655533"/>
                <a:gd name="connsiteX91" fmla="*/ 62 w 913036"/>
                <a:gd name="connsiteY91" fmla="*/ 553182 h 655533"/>
                <a:gd name="connsiteX92" fmla="*/ 7129 w 913036"/>
                <a:gd name="connsiteY92" fmla="*/ 545472 h 655533"/>
                <a:gd name="connsiteX93" fmla="*/ 11627 w 913036"/>
                <a:gd name="connsiteY93" fmla="*/ 531979 h 655533"/>
                <a:gd name="connsiteX94" fmla="*/ 16766 w 913036"/>
                <a:gd name="connsiteY94" fmla="*/ 510777 h 655533"/>
                <a:gd name="connsiteX95" fmla="*/ 36041 w 913036"/>
                <a:gd name="connsiteY95" fmla="*/ 501140 h 655533"/>
                <a:gd name="connsiteX96" fmla="*/ 47606 w 913036"/>
                <a:gd name="connsiteY96" fmla="*/ 504995 h 655533"/>
                <a:gd name="connsiteX97" fmla="*/ 58528 w 913036"/>
                <a:gd name="connsiteY97" fmla="*/ 502425 h 655533"/>
                <a:gd name="connsiteX98" fmla="*/ 65596 w 913036"/>
                <a:gd name="connsiteY98" fmla="*/ 497928 h 655533"/>
                <a:gd name="connsiteX99" fmla="*/ 85513 w 913036"/>
                <a:gd name="connsiteY99" fmla="*/ 482508 h 655533"/>
                <a:gd name="connsiteX100" fmla="*/ 130487 w 913036"/>
                <a:gd name="connsiteY100" fmla="*/ 439461 h 655533"/>
                <a:gd name="connsiteX101" fmla="*/ 109285 w 913036"/>
                <a:gd name="connsiteY101" fmla="*/ 434321 h 655533"/>
                <a:gd name="connsiteX102" fmla="*/ 107357 w 913036"/>
                <a:gd name="connsiteY102" fmla="*/ 427254 h 655533"/>
                <a:gd name="connsiteX103" fmla="*/ 105430 w 913036"/>
                <a:gd name="connsiteY103" fmla="*/ 407979 h 655533"/>
                <a:gd name="connsiteX104" fmla="*/ 106715 w 913036"/>
                <a:gd name="connsiteY104" fmla="*/ 392560 h 655533"/>
                <a:gd name="connsiteX105" fmla="*/ 118280 w 913036"/>
                <a:gd name="connsiteY105" fmla="*/ 384207 h 655533"/>
                <a:gd name="connsiteX106" fmla="*/ 142694 w 913036"/>
                <a:gd name="connsiteY106" fmla="*/ 373285 h 655533"/>
                <a:gd name="connsiteX107" fmla="*/ 170963 w 913036"/>
                <a:gd name="connsiteY107" fmla="*/ 357223 h 655533"/>
                <a:gd name="connsiteX108" fmla="*/ 189596 w 913036"/>
                <a:gd name="connsiteY108" fmla="*/ 336663 h 655533"/>
                <a:gd name="connsiteX109" fmla="*/ 176746 w 913036"/>
                <a:gd name="connsiteY109" fmla="*/ 311606 h 655533"/>
                <a:gd name="connsiteX110" fmla="*/ 130487 w 913036"/>
                <a:gd name="connsiteY110" fmla="*/ 271130 h 655533"/>
                <a:gd name="connsiteX111" fmla="*/ 99647 w 913036"/>
                <a:gd name="connsiteY111" fmla="*/ 265347 h 655533"/>
                <a:gd name="connsiteX112" fmla="*/ 79730 w 913036"/>
                <a:gd name="connsiteY112" fmla="*/ 253140 h 655533"/>
                <a:gd name="connsiteX113" fmla="*/ 64953 w 913036"/>
                <a:gd name="connsiteY113" fmla="*/ 182466 h 655533"/>
                <a:gd name="connsiteX114" fmla="*/ 57886 w 913036"/>
                <a:gd name="connsiteY114" fmla="*/ 164477 h 655533"/>
                <a:gd name="connsiteX115" fmla="*/ 58528 w 913036"/>
                <a:gd name="connsiteY115" fmla="*/ 147130 h 655533"/>
                <a:gd name="connsiteX116" fmla="*/ 64953 w 913036"/>
                <a:gd name="connsiteY116" fmla="*/ 107295 h 655533"/>
                <a:gd name="connsiteX117" fmla="*/ 78445 w 913036"/>
                <a:gd name="connsiteY117" fmla="*/ 55896 h 655533"/>
                <a:gd name="connsiteX118" fmla="*/ 102217 w 913036"/>
                <a:gd name="connsiteY118" fmla="*/ 55896 h 655533"/>
                <a:gd name="connsiteX119" fmla="*/ 135627 w 913036"/>
                <a:gd name="connsiteY119" fmla="*/ 46902 h 655533"/>
                <a:gd name="connsiteX120" fmla="*/ 153616 w 913036"/>
                <a:gd name="connsiteY120" fmla="*/ 29554 h 655533"/>
                <a:gd name="connsiteX121" fmla="*/ 183171 w 913036"/>
                <a:gd name="connsiteY121" fmla="*/ 32767 h 655533"/>
                <a:gd name="connsiteX122" fmla="*/ 201803 w 913036"/>
                <a:gd name="connsiteY122" fmla="*/ 29554 h 655533"/>
                <a:gd name="connsiteX123" fmla="*/ 252559 w 913036"/>
                <a:gd name="connsiteY123" fmla="*/ 3855 h 655533"/>
                <a:gd name="connsiteX124" fmla="*/ 278901 w 913036"/>
                <a:gd name="connsiteY124" fmla="*/ 3855 h 655533"/>
                <a:gd name="connsiteX125" fmla="*/ 309741 w 913036"/>
                <a:gd name="connsiteY125" fmla="*/ 12207 h 655533"/>
                <a:gd name="connsiteX126" fmla="*/ 308456 w 913036"/>
                <a:gd name="connsiteY126" fmla="*/ 12850 h 655533"/>
                <a:gd name="connsiteX127" fmla="*/ 355357 w 913036"/>
                <a:gd name="connsiteY127" fmla="*/ 37264 h 655533"/>
                <a:gd name="connsiteX128" fmla="*/ 370134 w 913036"/>
                <a:gd name="connsiteY128" fmla="*/ 63606 h 655533"/>
                <a:gd name="connsiteX129" fmla="*/ 370777 w 913036"/>
                <a:gd name="connsiteY129" fmla="*/ 73244 h 655533"/>
                <a:gd name="connsiteX130" fmla="*/ 358570 w 913036"/>
                <a:gd name="connsiteY130" fmla="*/ 110508 h 655533"/>
                <a:gd name="connsiteX131" fmla="*/ 370777 w 913036"/>
                <a:gd name="connsiteY131" fmla="*/ 121430 h 655533"/>
                <a:gd name="connsiteX132" fmla="*/ 409326 w 913036"/>
                <a:gd name="connsiteY132" fmla="*/ 104725 h 655533"/>
                <a:gd name="connsiteX133" fmla="*/ 432456 w 913036"/>
                <a:gd name="connsiteY133" fmla="*/ 101513 h 655533"/>
                <a:gd name="connsiteX134" fmla="*/ 447233 w 913036"/>
                <a:gd name="connsiteY134" fmla="*/ 113078 h 655533"/>
                <a:gd name="connsiteX135" fmla="*/ 521761 w 913036"/>
                <a:gd name="connsiteY135" fmla="*/ 125285 h 655533"/>
                <a:gd name="connsiteX136" fmla="*/ 609140 w 913036"/>
                <a:gd name="connsiteY136" fmla="*/ 101513 h 655533"/>
                <a:gd name="connsiteX137" fmla="*/ 623917 w 913036"/>
                <a:gd name="connsiteY137" fmla="*/ 74529 h 655533"/>
                <a:gd name="connsiteX138" fmla="*/ 645762 w 913036"/>
                <a:gd name="connsiteY138" fmla="*/ 53969 h 655533"/>
                <a:gd name="connsiteX139" fmla="*/ 677244 w 913036"/>
                <a:gd name="connsiteY139" fmla="*/ 53969 h 655533"/>
                <a:gd name="connsiteX140" fmla="*/ 708725 w 913036"/>
                <a:gd name="connsiteY140" fmla="*/ 38549 h 655533"/>
                <a:gd name="connsiteX141" fmla="*/ 738280 w 913036"/>
                <a:gd name="connsiteY141" fmla="*/ 22487 h 655533"/>
                <a:gd name="connsiteX142" fmla="*/ 748560 w 913036"/>
                <a:gd name="connsiteY142" fmla="*/ 29554 h 655533"/>
                <a:gd name="connsiteX143" fmla="*/ 770404 w 913036"/>
                <a:gd name="connsiteY143" fmla="*/ 29554 h 655533"/>
                <a:gd name="connsiteX144" fmla="*/ 785181 w 913036"/>
                <a:gd name="connsiteY144" fmla="*/ 10280 h 655533"/>
                <a:gd name="connsiteX145" fmla="*/ 796104 w 913036"/>
                <a:gd name="connsiteY145" fmla="*/ 6425 h 655533"/>
                <a:gd name="connsiteX146" fmla="*/ 811523 w 913036"/>
                <a:gd name="connsiteY146" fmla="*/ 0 h 655533"/>
                <a:gd name="connsiteX147" fmla="*/ 807026 w 913036"/>
                <a:gd name="connsiteY147" fmla="*/ 13492 h 655533"/>
                <a:gd name="connsiteX148" fmla="*/ 815378 w 913036"/>
                <a:gd name="connsiteY148" fmla="*/ 24415 h 655533"/>
                <a:gd name="connsiteX149" fmla="*/ 850715 w 913036"/>
                <a:gd name="connsiteY149" fmla="*/ 39192 h 655533"/>
                <a:gd name="connsiteX150" fmla="*/ 878984 w 913036"/>
                <a:gd name="connsiteY150" fmla="*/ 49472 h 655533"/>
                <a:gd name="connsiteX151" fmla="*/ 891192 w 913036"/>
                <a:gd name="connsiteY151" fmla="*/ 70031 h 655533"/>
                <a:gd name="connsiteX152" fmla="*/ 887979 w 913036"/>
                <a:gd name="connsiteY152" fmla="*/ 86736 h 655533"/>
                <a:gd name="connsiteX153" fmla="*/ 889907 w 913036"/>
                <a:gd name="connsiteY153" fmla="*/ 104725 h 655533"/>
                <a:gd name="connsiteX154" fmla="*/ 913036 w 913036"/>
                <a:gd name="connsiteY154" fmla="*/ 127212 h 655533"/>
                <a:gd name="connsiteX155" fmla="*/ 908539 w 913036"/>
                <a:gd name="connsiteY155" fmla="*/ 149699 h 65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913036" h="655533">
                  <a:moveTo>
                    <a:pt x="908539" y="149699"/>
                  </a:moveTo>
                  <a:cubicBezTo>
                    <a:pt x="908539" y="152270"/>
                    <a:pt x="905969" y="150342"/>
                    <a:pt x="902114" y="160622"/>
                  </a:cubicBezTo>
                  <a:cubicBezTo>
                    <a:pt x="898259" y="170902"/>
                    <a:pt x="898259" y="190176"/>
                    <a:pt x="898259" y="192104"/>
                  </a:cubicBezTo>
                  <a:cubicBezTo>
                    <a:pt x="898259" y="193389"/>
                    <a:pt x="898259" y="211378"/>
                    <a:pt x="894404" y="221658"/>
                  </a:cubicBezTo>
                  <a:cubicBezTo>
                    <a:pt x="890549" y="231938"/>
                    <a:pt x="887337" y="236435"/>
                    <a:pt x="885409" y="246073"/>
                  </a:cubicBezTo>
                  <a:cubicBezTo>
                    <a:pt x="884124" y="255710"/>
                    <a:pt x="875130" y="271772"/>
                    <a:pt x="869990" y="282052"/>
                  </a:cubicBezTo>
                  <a:cubicBezTo>
                    <a:pt x="864850" y="292974"/>
                    <a:pt x="858425" y="301969"/>
                    <a:pt x="858425" y="306467"/>
                  </a:cubicBezTo>
                  <a:cubicBezTo>
                    <a:pt x="858425" y="310964"/>
                    <a:pt x="860352" y="310321"/>
                    <a:pt x="857782" y="319959"/>
                  </a:cubicBezTo>
                  <a:cubicBezTo>
                    <a:pt x="855212" y="329596"/>
                    <a:pt x="853928" y="333451"/>
                    <a:pt x="848788" y="334736"/>
                  </a:cubicBezTo>
                  <a:cubicBezTo>
                    <a:pt x="843648" y="336663"/>
                    <a:pt x="828228" y="337948"/>
                    <a:pt x="824373" y="336021"/>
                  </a:cubicBezTo>
                  <a:cubicBezTo>
                    <a:pt x="820518" y="334093"/>
                    <a:pt x="814736" y="328954"/>
                    <a:pt x="810238" y="328311"/>
                  </a:cubicBezTo>
                  <a:cubicBezTo>
                    <a:pt x="805098" y="327669"/>
                    <a:pt x="791606" y="330238"/>
                    <a:pt x="790964" y="323171"/>
                  </a:cubicBezTo>
                  <a:cubicBezTo>
                    <a:pt x="790964" y="316104"/>
                    <a:pt x="793534" y="312249"/>
                    <a:pt x="794176" y="305181"/>
                  </a:cubicBezTo>
                  <a:cubicBezTo>
                    <a:pt x="795461" y="298757"/>
                    <a:pt x="794819" y="294259"/>
                    <a:pt x="791606" y="289119"/>
                  </a:cubicBezTo>
                  <a:cubicBezTo>
                    <a:pt x="788394" y="283979"/>
                    <a:pt x="782611" y="276270"/>
                    <a:pt x="782611" y="276270"/>
                  </a:cubicBezTo>
                  <a:cubicBezTo>
                    <a:pt x="782611" y="276270"/>
                    <a:pt x="776187" y="262135"/>
                    <a:pt x="765264" y="257637"/>
                  </a:cubicBezTo>
                  <a:cubicBezTo>
                    <a:pt x="754342" y="253140"/>
                    <a:pt x="753699" y="249285"/>
                    <a:pt x="744705" y="249928"/>
                  </a:cubicBezTo>
                  <a:cubicBezTo>
                    <a:pt x="735710" y="251213"/>
                    <a:pt x="727357" y="251855"/>
                    <a:pt x="724145" y="251855"/>
                  </a:cubicBezTo>
                  <a:cubicBezTo>
                    <a:pt x="720290" y="251855"/>
                    <a:pt x="718363" y="248000"/>
                    <a:pt x="714508" y="245430"/>
                  </a:cubicBezTo>
                  <a:cubicBezTo>
                    <a:pt x="711295" y="242860"/>
                    <a:pt x="704228" y="241575"/>
                    <a:pt x="699088" y="242860"/>
                  </a:cubicBezTo>
                  <a:cubicBezTo>
                    <a:pt x="693948" y="244145"/>
                    <a:pt x="686238" y="245430"/>
                    <a:pt x="687523" y="252497"/>
                  </a:cubicBezTo>
                  <a:cubicBezTo>
                    <a:pt x="689451" y="259565"/>
                    <a:pt x="692021" y="260207"/>
                    <a:pt x="689451" y="263420"/>
                  </a:cubicBezTo>
                  <a:cubicBezTo>
                    <a:pt x="686881" y="266632"/>
                    <a:pt x="685596" y="269845"/>
                    <a:pt x="688166" y="273057"/>
                  </a:cubicBezTo>
                  <a:cubicBezTo>
                    <a:pt x="690736" y="276270"/>
                    <a:pt x="696518" y="276270"/>
                    <a:pt x="699731" y="281409"/>
                  </a:cubicBezTo>
                  <a:cubicBezTo>
                    <a:pt x="702943" y="286549"/>
                    <a:pt x="708725" y="291689"/>
                    <a:pt x="711295" y="291689"/>
                  </a:cubicBezTo>
                  <a:cubicBezTo>
                    <a:pt x="713865" y="291689"/>
                    <a:pt x="718363" y="292974"/>
                    <a:pt x="718363" y="296187"/>
                  </a:cubicBezTo>
                  <a:cubicBezTo>
                    <a:pt x="718363" y="299399"/>
                    <a:pt x="716435" y="307109"/>
                    <a:pt x="713865" y="310321"/>
                  </a:cubicBezTo>
                  <a:cubicBezTo>
                    <a:pt x="711295" y="313534"/>
                    <a:pt x="710653" y="316104"/>
                    <a:pt x="705513" y="319316"/>
                  </a:cubicBezTo>
                  <a:cubicBezTo>
                    <a:pt x="699731" y="322529"/>
                    <a:pt x="690736" y="325741"/>
                    <a:pt x="689451" y="326383"/>
                  </a:cubicBezTo>
                  <a:cubicBezTo>
                    <a:pt x="688166" y="327026"/>
                    <a:pt x="684311" y="328311"/>
                    <a:pt x="674031" y="332808"/>
                  </a:cubicBezTo>
                  <a:cubicBezTo>
                    <a:pt x="663751" y="337306"/>
                    <a:pt x="651544" y="343088"/>
                    <a:pt x="643192" y="348871"/>
                  </a:cubicBezTo>
                  <a:cubicBezTo>
                    <a:pt x="634839" y="355295"/>
                    <a:pt x="623275" y="357223"/>
                    <a:pt x="615565" y="357866"/>
                  </a:cubicBezTo>
                  <a:cubicBezTo>
                    <a:pt x="607855" y="358508"/>
                    <a:pt x="609140" y="356580"/>
                    <a:pt x="602715" y="359793"/>
                  </a:cubicBezTo>
                  <a:cubicBezTo>
                    <a:pt x="596290" y="363005"/>
                    <a:pt x="588580" y="366218"/>
                    <a:pt x="586653" y="370715"/>
                  </a:cubicBezTo>
                  <a:cubicBezTo>
                    <a:pt x="584725" y="374570"/>
                    <a:pt x="580228" y="379710"/>
                    <a:pt x="577015" y="379710"/>
                  </a:cubicBezTo>
                  <a:cubicBezTo>
                    <a:pt x="573803" y="379710"/>
                    <a:pt x="569948" y="377782"/>
                    <a:pt x="566093" y="379068"/>
                  </a:cubicBezTo>
                  <a:cubicBezTo>
                    <a:pt x="562238" y="380353"/>
                    <a:pt x="550673" y="387420"/>
                    <a:pt x="542964" y="393202"/>
                  </a:cubicBezTo>
                  <a:cubicBezTo>
                    <a:pt x="534611" y="398985"/>
                    <a:pt x="533969" y="400270"/>
                    <a:pt x="529471" y="400270"/>
                  </a:cubicBezTo>
                  <a:cubicBezTo>
                    <a:pt x="524974" y="400270"/>
                    <a:pt x="512124" y="398985"/>
                    <a:pt x="508269" y="400270"/>
                  </a:cubicBezTo>
                  <a:cubicBezTo>
                    <a:pt x="503772" y="401555"/>
                    <a:pt x="492207" y="404767"/>
                    <a:pt x="487710" y="410549"/>
                  </a:cubicBezTo>
                  <a:cubicBezTo>
                    <a:pt x="483212" y="416332"/>
                    <a:pt x="479357" y="418902"/>
                    <a:pt x="478072" y="429181"/>
                  </a:cubicBezTo>
                  <a:cubicBezTo>
                    <a:pt x="476787" y="439461"/>
                    <a:pt x="472290" y="453596"/>
                    <a:pt x="466508" y="455523"/>
                  </a:cubicBezTo>
                  <a:cubicBezTo>
                    <a:pt x="460725" y="457451"/>
                    <a:pt x="451730" y="456809"/>
                    <a:pt x="447875" y="455523"/>
                  </a:cubicBezTo>
                  <a:cubicBezTo>
                    <a:pt x="444663" y="454239"/>
                    <a:pt x="442093" y="450384"/>
                    <a:pt x="437596" y="450384"/>
                  </a:cubicBezTo>
                  <a:cubicBezTo>
                    <a:pt x="433098" y="450384"/>
                    <a:pt x="425388" y="451669"/>
                    <a:pt x="423461" y="453596"/>
                  </a:cubicBezTo>
                  <a:cubicBezTo>
                    <a:pt x="421533" y="454881"/>
                    <a:pt x="416394" y="456809"/>
                    <a:pt x="415109" y="458736"/>
                  </a:cubicBezTo>
                  <a:cubicBezTo>
                    <a:pt x="413824" y="460663"/>
                    <a:pt x="412539" y="465803"/>
                    <a:pt x="410611" y="467088"/>
                  </a:cubicBezTo>
                  <a:cubicBezTo>
                    <a:pt x="408684" y="468373"/>
                    <a:pt x="397119" y="470943"/>
                    <a:pt x="395834" y="472228"/>
                  </a:cubicBezTo>
                  <a:cubicBezTo>
                    <a:pt x="394549" y="473513"/>
                    <a:pt x="393907" y="479296"/>
                    <a:pt x="393907" y="487648"/>
                  </a:cubicBezTo>
                  <a:cubicBezTo>
                    <a:pt x="393907" y="496000"/>
                    <a:pt x="390052" y="506280"/>
                    <a:pt x="381699" y="506922"/>
                  </a:cubicBezTo>
                  <a:cubicBezTo>
                    <a:pt x="372705" y="507565"/>
                    <a:pt x="358570" y="506922"/>
                    <a:pt x="355357" y="506922"/>
                  </a:cubicBezTo>
                  <a:cubicBezTo>
                    <a:pt x="352145" y="506922"/>
                    <a:pt x="352145" y="506280"/>
                    <a:pt x="350860" y="510777"/>
                  </a:cubicBezTo>
                  <a:cubicBezTo>
                    <a:pt x="349575" y="515275"/>
                    <a:pt x="350218" y="516560"/>
                    <a:pt x="345720" y="521700"/>
                  </a:cubicBezTo>
                  <a:cubicBezTo>
                    <a:pt x="341223" y="526840"/>
                    <a:pt x="338010" y="534550"/>
                    <a:pt x="334155" y="540332"/>
                  </a:cubicBezTo>
                  <a:cubicBezTo>
                    <a:pt x="330300" y="546114"/>
                    <a:pt x="325803" y="549969"/>
                    <a:pt x="320021" y="548684"/>
                  </a:cubicBezTo>
                  <a:cubicBezTo>
                    <a:pt x="313596" y="548042"/>
                    <a:pt x="305886" y="544187"/>
                    <a:pt x="301388" y="542259"/>
                  </a:cubicBezTo>
                  <a:cubicBezTo>
                    <a:pt x="296891" y="540332"/>
                    <a:pt x="292394" y="537762"/>
                    <a:pt x="289824" y="537119"/>
                  </a:cubicBezTo>
                  <a:cubicBezTo>
                    <a:pt x="287254" y="536477"/>
                    <a:pt x="280829" y="530052"/>
                    <a:pt x="278901" y="530052"/>
                  </a:cubicBezTo>
                  <a:cubicBezTo>
                    <a:pt x="276974" y="530695"/>
                    <a:pt x="273761" y="531979"/>
                    <a:pt x="273119" y="535192"/>
                  </a:cubicBezTo>
                  <a:cubicBezTo>
                    <a:pt x="271834" y="537762"/>
                    <a:pt x="269264" y="537762"/>
                    <a:pt x="267979" y="538404"/>
                  </a:cubicBezTo>
                  <a:cubicBezTo>
                    <a:pt x="266694" y="539047"/>
                    <a:pt x="257699" y="540974"/>
                    <a:pt x="254487" y="542902"/>
                  </a:cubicBezTo>
                  <a:cubicBezTo>
                    <a:pt x="250632" y="544829"/>
                    <a:pt x="244207" y="549969"/>
                    <a:pt x="236497" y="551254"/>
                  </a:cubicBezTo>
                  <a:cubicBezTo>
                    <a:pt x="228787" y="552539"/>
                    <a:pt x="223005" y="549969"/>
                    <a:pt x="219150" y="551254"/>
                  </a:cubicBezTo>
                  <a:cubicBezTo>
                    <a:pt x="215295" y="552539"/>
                    <a:pt x="199875" y="557679"/>
                    <a:pt x="197948" y="558964"/>
                  </a:cubicBezTo>
                  <a:cubicBezTo>
                    <a:pt x="196021" y="560249"/>
                    <a:pt x="192166" y="558321"/>
                    <a:pt x="183171" y="565389"/>
                  </a:cubicBezTo>
                  <a:cubicBezTo>
                    <a:pt x="174176" y="572456"/>
                    <a:pt x="167751" y="577596"/>
                    <a:pt x="165824" y="582094"/>
                  </a:cubicBezTo>
                  <a:cubicBezTo>
                    <a:pt x="163896" y="587233"/>
                    <a:pt x="162611" y="589161"/>
                    <a:pt x="158756" y="594301"/>
                  </a:cubicBezTo>
                  <a:cubicBezTo>
                    <a:pt x="154259" y="599441"/>
                    <a:pt x="152974" y="602011"/>
                    <a:pt x="151046" y="603938"/>
                  </a:cubicBezTo>
                  <a:cubicBezTo>
                    <a:pt x="150404" y="604581"/>
                    <a:pt x="148476" y="606508"/>
                    <a:pt x="147191" y="608436"/>
                  </a:cubicBezTo>
                  <a:cubicBezTo>
                    <a:pt x="146549" y="609720"/>
                    <a:pt x="145264" y="611005"/>
                    <a:pt x="144622" y="612290"/>
                  </a:cubicBezTo>
                  <a:cubicBezTo>
                    <a:pt x="143979" y="612933"/>
                    <a:pt x="143979" y="613575"/>
                    <a:pt x="143337" y="614218"/>
                  </a:cubicBezTo>
                  <a:cubicBezTo>
                    <a:pt x="142694" y="614860"/>
                    <a:pt x="142694" y="615503"/>
                    <a:pt x="142694" y="616145"/>
                  </a:cubicBezTo>
                  <a:cubicBezTo>
                    <a:pt x="142694" y="616145"/>
                    <a:pt x="142694" y="616788"/>
                    <a:pt x="142694" y="616788"/>
                  </a:cubicBezTo>
                  <a:cubicBezTo>
                    <a:pt x="142694" y="617430"/>
                    <a:pt x="142051" y="618073"/>
                    <a:pt x="142051" y="618715"/>
                  </a:cubicBezTo>
                  <a:cubicBezTo>
                    <a:pt x="141409" y="624498"/>
                    <a:pt x="143337" y="623213"/>
                    <a:pt x="143337" y="628995"/>
                  </a:cubicBezTo>
                  <a:cubicBezTo>
                    <a:pt x="143337" y="634777"/>
                    <a:pt x="144622" y="643130"/>
                    <a:pt x="139482" y="648912"/>
                  </a:cubicBezTo>
                  <a:cubicBezTo>
                    <a:pt x="134342" y="655337"/>
                    <a:pt x="125989" y="655980"/>
                    <a:pt x="125347" y="655337"/>
                  </a:cubicBezTo>
                  <a:cubicBezTo>
                    <a:pt x="124704" y="654052"/>
                    <a:pt x="125347" y="649555"/>
                    <a:pt x="124062" y="644415"/>
                  </a:cubicBezTo>
                  <a:cubicBezTo>
                    <a:pt x="122135" y="639275"/>
                    <a:pt x="120207" y="635420"/>
                    <a:pt x="115710" y="630923"/>
                  </a:cubicBezTo>
                  <a:cubicBezTo>
                    <a:pt x="111212" y="626425"/>
                    <a:pt x="109927" y="623855"/>
                    <a:pt x="109285" y="620000"/>
                  </a:cubicBezTo>
                  <a:cubicBezTo>
                    <a:pt x="108642" y="616145"/>
                    <a:pt x="106715" y="614218"/>
                    <a:pt x="104145" y="611648"/>
                  </a:cubicBezTo>
                  <a:cubicBezTo>
                    <a:pt x="101575" y="609078"/>
                    <a:pt x="101575" y="606508"/>
                    <a:pt x="99005" y="602011"/>
                  </a:cubicBezTo>
                  <a:cubicBezTo>
                    <a:pt x="96435" y="597513"/>
                    <a:pt x="96435" y="594943"/>
                    <a:pt x="88083" y="596871"/>
                  </a:cubicBezTo>
                  <a:cubicBezTo>
                    <a:pt x="82300" y="598156"/>
                    <a:pt x="78445" y="596871"/>
                    <a:pt x="77160" y="598798"/>
                  </a:cubicBezTo>
                  <a:cubicBezTo>
                    <a:pt x="77160" y="598798"/>
                    <a:pt x="76518" y="599441"/>
                    <a:pt x="76518" y="600083"/>
                  </a:cubicBezTo>
                  <a:cubicBezTo>
                    <a:pt x="65596" y="594301"/>
                    <a:pt x="51461" y="594301"/>
                    <a:pt x="39253" y="589161"/>
                  </a:cubicBezTo>
                  <a:cubicBezTo>
                    <a:pt x="36041" y="587876"/>
                    <a:pt x="32186" y="585306"/>
                    <a:pt x="31544" y="582094"/>
                  </a:cubicBezTo>
                  <a:cubicBezTo>
                    <a:pt x="30901" y="579524"/>
                    <a:pt x="32186" y="577596"/>
                    <a:pt x="32829" y="575026"/>
                  </a:cubicBezTo>
                  <a:cubicBezTo>
                    <a:pt x="34114" y="569886"/>
                    <a:pt x="31544" y="564746"/>
                    <a:pt x="27689" y="561534"/>
                  </a:cubicBezTo>
                  <a:cubicBezTo>
                    <a:pt x="23834" y="558321"/>
                    <a:pt x="18051" y="557037"/>
                    <a:pt x="12269" y="557679"/>
                  </a:cubicBezTo>
                  <a:cubicBezTo>
                    <a:pt x="9699" y="557679"/>
                    <a:pt x="7129" y="558321"/>
                    <a:pt x="5202" y="557679"/>
                  </a:cubicBezTo>
                  <a:cubicBezTo>
                    <a:pt x="2632" y="557037"/>
                    <a:pt x="62" y="555752"/>
                    <a:pt x="62" y="553182"/>
                  </a:cubicBezTo>
                  <a:cubicBezTo>
                    <a:pt x="-581" y="549969"/>
                    <a:pt x="3917" y="548042"/>
                    <a:pt x="7129" y="545472"/>
                  </a:cubicBezTo>
                  <a:cubicBezTo>
                    <a:pt x="10342" y="542259"/>
                    <a:pt x="10984" y="537119"/>
                    <a:pt x="11627" y="531979"/>
                  </a:cubicBezTo>
                  <a:cubicBezTo>
                    <a:pt x="12269" y="524912"/>
                    <a:pt x="12912" y="517202"/>
                    <a:pt x="16766" y="510777"/>
                  </a:cubicBezTo>
                  <a:cubicBezTo>
                    <a:pt x="20621" y="504353"/>
                    <a:pt x="28331" y="499855"/>
                    <a:pt x="36041" y="501140"/>
                  </a:cubicBezTo>
                  <a:cubicBezTo>
                    <a:pt x="39896" y="501783"/>
                    <a:pt x="43108" y="504353"/>
                    <a:pt x="47606" y="504995"/>
                  </a:cubicBezTo>
                  <a:cubicBezTo>
                    <a:pt x="51461" y="505638"/>
                    <a:pt x="55316" y="504353"/>
                    <a:pt x="58528" y="502425"/>
                  </a:cubicBezTo>
                  <a:cubicBezTo>
                    <a:pt x="61098" y="501140"/>
                    <a:pt x="63026" y="499213"/>
                    <a:pt x="65596" y="497928"/>
                  </a:cubicBezTo>
                  <a:cubicBezTo>
                    <a:pt x="72020" y="492788"/>
                    <a:pt x="78445" y="487648"/>
                    <a:pt x="85513" y="482508"/>
                  </a:cubicBezTo>
                  <a:cubicBezTo>
                    <a:pt x="102217" y="469658"/>
                    <a:pt x="118922" y="456166"/>
                    <a:pt x="130487" y="439461"/>
                  </a:cubicBezTo>
                  <a:cubicBezTo>
                    <a:pt x="124062" y="435606"/>
                    <a:pt x="113782" y="440104"/>
                    <a:pt x="109285" y="434321"/>
                  </a:cubicBezTo>
                  <a:cubicBezTo>
                    <a:pt x="108000" y="432394"/>
                    <a:pt x="107357" y="429824"/>
                    <a:pt x="107357" y="427254"/>
                  </a:cubicBezTo>
                  <a:cubicBezTo>
                    <a:pt x="106715" y="420829"/>
                    <a:pt x="106072" y="414404"/>
                    <a:pt x="105430" y="407979"/>
                  </a:cubicBezTo>
                  <a:cubicBezTo>
                    <a:pt x="104787" y="402840"/>
                    <a:pt x="104145" y="397700"/>
                    <a:pt x="106715" y="392560"/>
                  </a:cubicBezTo>
                  <a:cubicBezTo>
                    <a:pt x="109285" y="388062"/>
                    <a:pt x="113782" y="386135"/>
                    <a:pt x="118280" y="384207"/>
                  </a:cubicBezTo>
                  <a:cubicBezTo>
                    <a:pt x="118280" y="384207"/>
                    <a:pt x="135627" y="377782"/>
                    <a:pt x="142694" y="373285"/>
                  </a:cubicBezTo>
                  <a:cubicBezTo>
                    <a:pt x="150404" y="369430"/>
                    <a:pt x="168393" y="363005"/>
                    <a:pt x="170963" y="357223"/>
                  </a:cubicBezTo>
                  <a:cubicBezTo>
                    <a:pt x="174176" y="352083"/>
                    <a:pt x="191523" y="347586"/>
                    <a:pt x="189596" y="336663"/>
                  </a:cubicBezTo>
                  <a:cubicBezTo>
                    <a:pt x="187668" y="325099"/>
                    <a:pt x="193450" y="328311"/>
                    <a:pt x="176746" y="311606"/>
                  </a:cubicBezTo>
                  <a:cubicBezTo>
                    <a:pt x="160041" y="294902"/>
                    <a:pt x="151046" y="277555"/>
                    <a:pt x="130487" y="271130"/>
                  </a:cubicBezTo>
                  <a:cubicBezTo>
                    <a:pt x="120207" y="267917"/>
                    <a:pt x="109285" y="267275"/>
                    <a:pt x="99647" y="265347"/>
                  </a:cubicBezTo>
                  <a:cubicBezTo>
                    <a:pt x="90010" y="263420"/>
                    <a:pt x="82300" y="260850"/>
                    <a:pt x="79730" y="253140"/>
                  </a:cubicBezTo>
                  <a:cubicBezTo>
                    <a:pt x="74590" y="238363"/>
                    <a:pt x="70736" y="197244"/>
                    <a:pt x="64953" y="182466"/>
                  </a:cubicBezTo>
                  <a:cubicBezTo>
                    <a:pt x="62383" y="175399"/>
                    <a:pt x="59171" y="169617"/>
                    <a:pt x="57886" y="164477"/>
                  </a:cubicBezTo>
                  <a:cubicBezTo>
                    <a:pt x="55958" y="158694"/>
                    <a:pt x="55958" y="153554"/>
                    <a:pt x="58528" y="147130"/>
                  </a:cubicBezTo>
                  <a:cubicBezTo>
                    <a:pt x="63668" y="135565"/>
                    <a:pt x="64953" y="122715"/>
                    <a:pt x="64953" y="107295"/>
                  </a:cubicBezTo>
                  <a:cubicBezTo>
                    <a:pt x="64953" y="92518"/>
                    <a:pt x="69450" y="61679"/>
                    <a:pt x="78445" y="55896"/>
                  </a:cubicBezTo>
                  <a:cubicBezTo>
                    <a:pt x="87440" y="49472"/>
                    <a:pt x="87440" y="57181"/>
                    <a:pt x="102217" y="55896"/>
                  </a:cubicBezTo>
                  <a:cubicBezTo>
                    <a:pt x="116994" y="54611"/>
                    <a:pt x="129202" y="55254"/>
                    <a:pt x="135627" y="46902"/>
                  </a:cubicBezTo>
                  <a:cubicBezTo>
                    <a:pt x="142051" y="38549"/>
                    <a:pt x="143337" y="29554"/>
                    <a:pt x="153616" y="29554"/>
                  </a:cubicBezTo>
                  <a:cubicBezTo>
                    <a:pt x="163896" y="29554"/>
                    <a:pt x="176103" y="32767"/>
                    <a:pt x="183171" y="32767"/>
                  </a:cubicBezTo>
                  <a:cubicBezTo>
                    <a:pt x="189596" y="32767"/>
                    <a:pt x="200518" y="28269"/>
                    <a:pt x="201803" y="29554"/>
                  </a:cubicBezTo>
                  <a:cubicBezTo>
                    <a:pt x="203088" y="30839"/>
                    <a:pt x="238425" y="3855"/>
                    <a:pt x="252559" y="3855"/>
                  </a:cubicBezTo>
                  <a:cubicBezTo>
                    <a:pt x="266694" y="3855"/>
                    <a:pt x="266052" y="643"/>
                    <a:pt x="278901" y="3855"/>
                  </a:cubicBezTo>
                  <a:cubicBezTo>
                    <a:pt x="289181" y="6425"/>
                    <a:pt x="299461" y="10280"/>
                    <a:pt x="309741" y="12207"/>
                  </a:cubicBezTo>
                  <a:cubicBezTo>
                    <a:pt x="309098" y="12850"/>
                    <a:pt x="308456" y="12850"/>
                    <a:pt x="308456" y="12850"/>
                  </a:cubicBezTo>
                  <a:cubicBezTo>
                    <a:pt x="308456" y="12850"/>
                    <a:pt x="348932" y="34052"/>
                    <a:pt x="355357" y="37264"/>
                  </a:cubicBezTo>
                  <a:cubicBezTo>
                    <a:pt x="360497" y="39834"/>
                    <a:pt x="367565" y="50756"/>
                    <a:pt x="370134" y="63606"/>
                  </a:cubicBezTo>
                  <a:cubicBezTo>
                    <a:pt x="370777" y="66819"/>
                    <a:pt x="370777" y="70031"/>
                    <a:pt x="370777" y="73244"/>
                  </a:cubicBezTo>
                  <a:cubicBezTo>
                    <a:pt x="369492" y="89306"/>
                    <a:pt x="358570" y="107295"/>
                    <a:pt x="358570" y="110508"/>
                  </a:cubicBezTo>
                  <a:cubicBezTo>
                    <a:pt x="358570" y="113720"/>
                    <a:pt x="357285" y="125928"/>
                    <a:pt x="370777" y="121430"/>
                  </a:cubicBezTo>
                  <a:cubicBezTo>
                    <a:pt x="384912" y="116933"/>
                    <a:pt x="402901" y="106653"/>
                    <a:pt x="409326" y="104725"/>
                  </a:cubicBezTo>
                  <a:cubicBezTo>
                    <a:pt x="415751" y="102798"/>
                    <a:pt x="424104" y="95088"/>
                    <a:pt x="432456" y="101513"/>
                  </a:cubicBezTo>
                  <a:cubicBezTo>
                    <a:pt x="440808" y="107938"/>
                    <a:pt x="431813" y="106653"/>
                    <a:pt x="447233" y="113078"/>
                  </a:cubicBezTo>
                  <a:cubicBezTo>
                    <a:pt x="462653" y="119503"/>
                    <a:pt x="510839" y="125285"/>
                    <a:pt x="521761" y="125285"/>
                  </a:cubicBezTo>
                  <a:cubicBezTo>
                    <a:pt x="532684" y="125285"/>
                    <a:pt x="600145" y="112435"/>
                    <a:pt x="609140" y="101513"/>
                  </a:cubicBezTo>
                  <a:cubicBezTo>
                    <a:pt x="618135" y="90591"/>
                    <a:pt x="619420" y="87378"/>
                    <a:pt x="623917" y="74529"/>
                  </a:cubicBezTo>
                  <a:cubicBezTo>
                    <a:pt x="628414" y="61679"/>
                    <a:pt x="638052" y="53969"/>
                    <a:pt x="645762" y="53969"/>
                  </a:cubicBezTo>
                  <a:cubicBezTo>
                    <a:pt x="652829" y="53969"/>
                    <a:pt x="662466" y="57181"/>
                    <a:pt x="677244" y="53969"/>
                  </a:cubicBezTo>
                  <a:cubicBezTo>
                    <a:pt x="692021" y="50756"/>
                    <a:pt x="697161" y="48187"/>
                    <a:pt x="708725" y="38549"/>
                  </a:cubicBezTo>
                  <a:cubicBezTo>
                    <a:pt x="720290" y="28912"/>
                    <a:pt x="735710" y="22487"/>
                    <a:pt x="738280" y="22487"/>
                  </a:cubicBezTo>
                  <a:cubicBezTo>
                    <a:pt x="740850" y="22487"/>
                    <a:pt x="740850" y="29554"/>
                    <a:pt x="748560" y="29554"/>
                  </a:cubicBezTo>
                  <a:cubicBezTo>
                    <a:pt x="756269" y="30197"/>
                    <a:pt x="763979" y="37264"/>
                    <a:pt x="770404" y="29554"/>
                  </a:cubicBezTo>
                  <a:cubicBezTo>
                    <a:pt x="776829" y="21845"/>
                    <a:pt x="780684" y="12850"/>
                    <a:pt x="785181" y="10280"/>
                  </a:cubicBezTo>
                  <a:cubicBezTo>
                    <a:pt x="789679" y="7710"/>
                    <a:pt x="790321" y="6425"/>
                    <a:pt x="796104" y="6425"/>
                  </a:cubicBezTo>
                  <a:cubicBezTo>
                    <a:pt x="798674" y="6425"/>
                    <a:pt x="805098" y="3855"/>
                    <a:pt x="811523" y="0"/>
                  </a:cubicBezTo>
                  <a:cubicBezTo>
                    <a:pt x="808953" y="5140"/>
                    <a:pt x="807026" y="10280"/>
                    <a:pt x="807026" y="13492"/>
                  </a:cubicBezTo>
                  <a:cubicBezTo>
                    <a:pt x="807026" y="18632"/>
                    <a:pt x="812166" y="21845"/>
                    <a:pt x="815378" y="24415"/>
                  </a:cubicBezTo>
                  <a:cubicBezTo>
                    <a:pt x="818591" y="26984"/>
                    <a:pt x="835938" y="34694"/>
                    <a:pt x="850715" y="39192"/>
                  </a:cubicBezTo>
                  <a:cubicBezTo>
                    <a:pt x="865492" y="43689"/>
                    <a:pt x="869990" y="43689"/>
                    <a:pt x="878984" y="49472"/>
                  </a:cubicBezTo>
                  <a:cubicBezTo>
                    <a:pt x="887979" y="55254"/>
                    <a:pt x="890549" y="66819"/>
                    <a:pt x="891192" y="70031"/>
                  </a:cubicBezTo>
                  <a:cubicBezTo>
                    <a:pt x="891834" y="73244"/>
                    <a:pt x="887979" y="79026"/>
                    <a:pt x="887979" y="86736"/>
                  </a:cubicBezTo>
                  <a:cubicBezTo>
                    <a:pt x="887337" y="94446"/>
                    <a:pt x="883482" y="96373"/>
                    <a:pt x="889907" y="104725"/>
                  </a:cubicBezTo>
                  <a:cubicBezTo>
                    <a:pt x="896332" y="113720"/>
                    <a:pt x="911751" y="122073"/>
                    <a:pt x="913036" y="127212"/>
                  </a:cubicBezTo>
                  <a:cubicBezTo>
                    <a:pt x="909181" y="136207"/>
                    <a:pt x="909181" y="147130"/>
                    <a:pt x="908539" y="149699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 464">
              <a:extLst>
                <a:ext uri="{FF2B5EF4-FFF2-40B4-BE49-F238E27FC236}">
                  <a16:creationId xmlns:a16="http://schemas.microsoft.com/office/drawing/2014/main" id="{A1C41B53-2302-BA9E-4B70-BF9FF471A297}"/>
                </a:ext>
              </a:extLst>
            </p:cNvPr>
            <p:cNvSpPr/>
            <p:nvPr/>
          </p:nvSpPr>
          <p:spPr>
            <a:xfrm>
              <a:off x="2297683" y="3687294"/>
              <a:ext cx="709427" cy="984161"/>
            </a:xfrm>
            <a:custGeom>
              <a:avLst/>
              <a:gdLst>
                <a:gd name="connsiteX0" fmla="*/ 708612 w 709427"/>
                <a:gd name="connsiteY0" fmla="*/ 260207 h 984161"/>
                <a:gd name="connsiteX1" fmla="*/ 704757 w 709427"/>
                <a:gd name="connsiteY1" fmla="*/ 267275 h 984161"/>
                <a:gd name="connsiteX2" fmla="*/ 691265 w 709427"/>
                <a:gd name="connsiteY2" fmla="*/ 285907 h 984161"/>
                <a:gd name="connsiteX3" fmla="*/ 673918 w 709427"/>
                <a:gd name="connsiteY3" fmla="*/ 307109 h 984161"/>
                <a:gd name="connsiteX4" fmla="*/ 663638 w 709427"/>
                <a:gd name="connsiteY4" fmla="*/ 321244 h 984161"/>
                <a:gd name="connsiteX5" fmla="*/ 643721 w 709427"/>
                <a:gd name="connsiteY5" fmla="*/ 354653 h 984161"/>
                <a:gd name="connsiteX6" fmla="*/ 639866 w 709427"/>
                <a:gd name="connsiteY6" fmla="*/ 425327 h 984161"/>
                <a:gd name="connsiteX7" fmla="*/ 640509 w 709427"/>
                <a:gd name="connsiteY7" fmla="*/ 427254 h 984161"/>
                <a:gd name="connsiteX8" fmla="*/ 650146 w 709427"/>
                <a:gd name="connsiteY8" fmla="*/ 428539 h 984161"/>
                <a:gd name="connsiteX9" fmla="*/ 659141 w 709427"/>
                <a:gd name="connsiteY9" fmla="*/ 422114 h 984161"/>
                <a:gd name="connsiteX10" fmla="*/ 666208 w 709427"/>
                <a:gd name="connsiteY10" fmla="*/ 422114 h 984161"/>
                <a:gd name="connsiteX11" fmla="*/ 682270 w 709427"/>
                <a:gd name="connsiteY11" fmla="*/ 440104 h 984161"/>
                <a:gd name="connsiteX12" fmla="*/ 671348 w 709427"/>
                <a:gd name="connsiteY12" fmla="*/ 465803 h 984161"/>
                <a:gd name="connsiteX13" fmla="*/ 668136 w 709427"/>
                <a:gd name="connsiteY13" fmla="*/ 483150 h 984161"/>
                <a:gd name="connsiteX14" fmla="*/ 670063 w 709427"/>
                <a:gd name="connsiteY14" fmla="*/ 498570 h 984161"/>
                <a:gd name="connsiteX15" fmla="*/ 670063 w 709427"/>
                <a:gd name="connsiteY15" fmla="*/ 498570 h 984161"/>
                <a:gd name="connsiteX16" fmla="*/ 652073 w 709427"/>
                <a:gd name="connsiteY16" fmla="*/ 529410 h 984161"/>
                <a:gd name="connsiteX17" fmla="*/ 619307 w 709427"/>
                <a:gd name="connsiteY17" fmla="*/ 548684 h 984161"/>
                <a:gd name="connsiteX18" fmla="*/ 551203 w 709427"/>
                <a:gd name="connsiteY18" fmla="*/ 618073 h 984161"/>
                <a:gd name="connsiteX19" fmla="*/ 530643 w 709427"/>
                <a:gd name="connsiteY19" fmla="*/ 618073 h 984161"/>
                <a:gd name="connsiteX20" fmla="*/ 511369 w 709427"/>
                <a:gd name="connsiteY20" fmla="*/ 618715 h 984161"/>
                <a:gd name="connsiteX21" fmla="*/ 511369 w 709427"/>
                <a:gd name="connsiteY21" fmla="*/ 643772 h 984161"/>
                <a:gd name="connsiteX22" fmla="*/ 520363 w 709427"/>
                <a:gd name="connsiteY22" fmla="*/ 668187 h 984161"/>
                <a:gd name="connsiteX23" fmla="*/ 496591 w 709427"/>
                <a:gd name="connsiteY23" fmla="*/ 675254 h 984161"/>
                <a:gd name="connsiteX24" fmla="*/ 469607 w 709427"/>
                <a:gd name="connsiteY24" fmla="*/ 663689 h 984161"/>
                <a:gd name="connsiteX25" fmla="*/ 425275 w 709427"/>
                <a:gd name="connsiteY25" fmla="*/ 654695 h 984161"/>
                <a:gd name="connsiteX26" fmla="*/ 364882 w 709427"/>
                <a:gd name="connsiteY26" fmla="*/ 675254 h 984161"/>
                <a:gd name="connsiteX27" fmla="*/ 360384 w 709427"/>
                <a:gd name="connsiteY27" fmla="*/ 712519 h 984161"/>
                <a:gd name="connsiteX28" fmla="*/ 386726 w 709427"/>
                <a:gd name="connsiteY28" fmla="*/ 799254 h 984161"/>
                <a:gd name="connsiteX29" fmla="*/ 401503 w 709427"/>
                <a:gd name="connsiteY29" fmla="*/ 833949 h 984161"/>
                <a:gd name="connsiteX30" fmla="*/ 390581 w 709427"/>
                <a:gd name="connsiteY30" fmla="*/ 873140 h 984161"/>
                <a:gd name="connsiteX31" fmla="*/ 392509 w 709427"/>
                <a:gd name="connsiteY31" fmla="*/ 894342 h 984161"/>
                <a:gd name="connsiteX32" fmla="*/ 401503 w 709427"/>
                <a:gd name="connsiteY32" fmla="*/ 904622 h 984161"/>
                <a:gd name="connsiteX33" fmla="*/ 401503 w 709427"/>
                <a:gd name="connsiteY33" fmla="*/ 904622 h 984161"/>
                <a:gd name="connsiteX34" fmla="*/ 406001 w 709427"/>
                <a:gd name="connsiteY34" fmla="*/ 922612 h 984161"/>
                <a:gd name="connsiteX35" fmla="*/ 385441 w 709427"/>
                <a:gd name="connsiteY35" fmla="*/ 932249 h 984161"/>
                <a:gd name="connsiteX36" fmla="*/ 359099 w 709427"/>
                <a:gd name="connsiteY36" fmla="*/ 932249 h 984161"/>
                <a:gd name="connsiteX37" fmla="*/ 350104 w 709427"/>
                <a:gd name="connsiteY37" fmla="*/ 945741 h 984161"/>
                <a:gd name="connsiteX38" fmla="*/ 359099 w 709427"/>
                <a:gd name="connsiteY38" fmla="*/ 959234 h 984161"/>
                <a:gd name="connsiteX39" fmla="*/ 340467 w 709427"/>
                <a:gd name="connsiteY39" fmla="*/ 962446 h 984161"/>
                <a:gd name="connsiteX40" fmla="*/ 324405 w 709427"/>
                <a:gd name="connsiteY40" fmla="*/ 981078 h 984161"/>
                <a:gd name="connsiteX41" fmla="*/ 305130 w 709427"/>
                <a:gd name="connsiteY41" fmla="*/ 978508 h 984161"/>
                <a:gd name="connsiteX42" fmla="*/ 314125 w 709427"/>
                <a:gd name="connsiteY42" fmla="*/ 948954 h 984161"/>
                <a:gd name="connsiteX43" fmla="*/ 289068 w 709427"/>
                <a:gd name="connsiteY43" fmla="*/ 925182 h 984161"/>
                <a:gd name="connsiteX44" fmla="*/ 271721 w 709427"/>
                <a:gd name="connsiteY44" fmla="*/ 900767 h 984161"/>
                <a:gd name="connsiteX45" fmla="*/ 274933 w 709427"/>
                <a:gd name="connsiteY45" fmla="*/ 882135 h 984161"/>
                <a:gd name="connsiteX46" fmla="*/ 239597 w 709427"/>
                <a:gd name="connsiteY46" fmla="*/ 884705 h 984161"/>
                <a:gd name="connsiteX47" fmla="*/ 198477 w 709427"/>
                <a:gd name="connsiteY47" fmla="*/ 894342 h 984161"/>
                <a:gd name="connsiteX48" fmla="*/ 191410 w 709427"/>
                <a:gd name="connsiteY48" fmla="*/ 895627 h 984161"/>
                <a:gd name="connsiteX49" fmla="*/ 190767 w 709427"/>
                <a:gd name="connsiteY49" fmla="*/ 893700 h 984161"/>
                <a:gd name="connsiteX50" fmla="*/ 170850 w 709427"/>
                <a:gd name="connsiteY50" fmla="*/ 852581 h 984161"/>
                <a:gd name="connsiteX51" fmla="*/ 189482 w 709427"/>
                <a:gd name="connsiteY51" fmla="*/ 808892 h 984161"/>
                <a:gd name="connsiteX52" fmla="*/ 167638 w 709427"/>
                <a:gd name="connsiteY52" fmla="*/ 737575 h 984161"/>
                <a:gd name="connsiteX53" fmla="*/ 124591 w 709427"/>
                <a:gd name="connsiteY53" fmla="*/ 700954 h 984161"/>
                <a:gd name="connsiteX54" fmla="*/ 69337 w 709427"/>
                <a:gd name="connsiteY54" fmla="*/ 724726 h 984161"/>
                <a:gd name="connsiteX55" fmla="*/ 17938 w 709427"/>
                <a:gd name="connsiteY55" fmla="*/ 718943 h 984161"/>
                <a:gd name="connsiteX56" fmla="*/ 591 w 709427"/>
                <a:gd name="connsiteY56" fmla="*/ 695171 h 984161"/>
                <a:gd name="connsiteX57" fmla="*/ 26933 w 709427"/>
                <a:gd name="connsiteY57" fmla="*/ 648270 h 984161"/>
                <a:gd name="connsiteX58" fmla="*/ 40425 w 709427"/>
                <a:gd name="connsiteY58" fmla="*/ 623213 h 984161"/>
                <a:gd name="connsiteX59" fmla="*/ 71265 w 709427"/>
                <a:gd name="connsiteY59" fmla="*/ 607793 h 984161"/>
                <a:gd name="connsiteX60" fmla="*/ 95679 w 709427"/>
                <a:gd name="connsiteY60" fmla="*/ 601368 h 984161"/>
                <a:gd name="connsiteX61" fmla="*/ 103389 w 709427"/>
                <a:gd name="connsiteY61" fmla="*/ 590446 h 984161"/>
                <a:gd name="connsiteX62" fmla="*/ 80260 w 709427"/>
                <a:gd name="connsiteY62" fmla="*/ 547399 h 984161"/>
                <a:gd name="connsiteX63" fmla="*/ 58415 w 709427"/>
                <a:gd name="connsiteY63" fmla="*/ 535192 h 984161"/>
                <a:gd name="connsiteX64" fmla="*/ 64197 w 709427"/>
                <a:gd name="connsiteY64" fmla="*/ 512062 h 984161"/>
                <a:gd name="connsiteX65" fmla="*/ 68695 w 709427"/>
                <a:gd name="connsiteY65" fmla="*/ 502425 h 984161"/>
                <a:gd name="connsiteX66" fmla="*/ 75120 w 709427"/>
                <a:gd name="connsiteY66" fmla="*/ 475441 h 984161"/>
                <a:gd name="connsiteX67" fmla="*/ 96964 w 709427"/>
                <a:gd name="connsiteY67" fmla="*/ 481223 h 984161"/>
                <a:gd name="connsiteX68" fmla="*/ 98892 w 709427"/>
                <a:gd name="connsiteY68" fmla="*/ 486363 h 984161"/>
                <a:gd name="connsiteX69" fmla="*/ 113027 w 709427"/>
                <a:gd name="connsiteY69" fmla="*/ 477368 h 984161"/>
                <a:gd name="connsiteX70" fmla="*/ 117524 w 709427"/>
                <a:gd name="connsiteY70" fmla="*/ 453596 h 984161"/>
                <a:gd name="connsiteX71" fmla="*/ 104032 w 709427"/>
                <a:gd name="connsiteY71" fmla="*/ 435606 h 984161"/>
                <a:gd name="connsiteX72" fmla="*/ 105317 w 709427"/>
                <a:gd name="connsiteY72" fmla="*/ 424042 h 984161"/>
                <a:gd name="connsiteX73" fmla="*/ 104674 w 709427"/>
                <a:gd name="connsiteY73" fmla="*/ 415047 h 984161"/>
                <a:gd name="connsiteX74" fmla="*/ 125234 w 709427"/>
                <a:gd name="connsiteY74" fmla="*/ 398985 h 984161"/>
                <a:gd name="connsiteX75" fmla="*/ 125234 w 709427"/>
                <a:gd name="connsiteY75" fmla="*/ 382280 h 984161"/>
                <a:gd name="connsiteX76" fmla="*/ 111099 w 709427"/>
                <a:gd name="connsiteY76" fmla="*/ 371358 h 984161"/>
                <a:gd name="connsiteX77" fmla="*/ 160571 w 709427"/>
                <a:gd name="connsiteY77" fmla="*/ 328311 h 984161"/>
                <a:gd name="connsiteX78" fmla="*/ 163141 w 709427"/>
                <a:gd name="connsiteY78" fmla="*/ 343088 h 984161"/>
                <a:gd name="connsiteX79" fmla="*/ 195265 w 709427"/>
                <a:gd name="connsiteY79" fmla="*/ 332166 h 984161"/>
                <a:gd name="connsiteX80" fmla="*/ 239597 w 709427"/>
                <a:gd name="connsiteY80" fmla="*/ 253783 h 984161"/>
                <a:gd name="connsiteX81" fmla="*/ 262726 w 709427"/>
                <a:gd name="connsiteY81" fmla="*/ 242218 h 984161"/>
                <a:gd name="connsiteX82" fmla="*/ 288426 w 709427"/>
                <a:gd name="connsiteY82" fmla="*/ 210736 h 984161"/>
                <a:gd name="connsiteX83" fmla="*/ 294208 w 709427"/>
                <a:gd name="connsiteY83" fmla="*/ 192104 h 984161"/>
                <a:gd name="connsiteX84" fmla="*/ 285856 w 709427"/>
                <a:gd name="connsiteY84" fmla="*/ 161907 h 984161"/>
                <a:gd name="connsiteX85" fmla="*/ 260156 w 709427"/>
                <a:gd name="connsiteY85" fmla="*/ 174757 h 984161"/>
                <a:gd name="connsiteX86" fmla="*/ 246021 w 709427"/>
                <a:gd name="connsiteY86" fmla="*/ 157409 h 984161"/>
                <a:gd name="connsiteX87" fmla="*/ 265296 w 709427"/>
                <a:gd name="connsiteY87" fmla="*/ 131067 h 984161"/>
                <a:gd name="connsiteX88" fmla="*/ 294208 w 709427"/>
                <a:gd name="connsiteY88" fmla="*/ 115648 h 984161"/>
                <a:gd name="connsiteX89" fmla="*/ 329545 w 709427"/>
                <a:gd name="connsiteY89" fmla="*/ 109223 h 984161"/>
                <a:gd name="connsiteX90" fmla="*/ 341752 w 709427"/>
                <a:gd name="connsiteY90" fmla="*/ 89948 h 984161"/>
                <a:gd name="connsiteX91" fmla="*/ 337897 w 709427"/>
                <a:gd name="connsiteY91" fmla="*/ 66819 h 984161"/>
                <a:gd name="connsiteX92" fmla="*/ 388654 w 709427"/>
                <a:gd name="connsiteY92" fmla="*/ 66819 h 984161"/>
                <a:gd name="connsiteX93" fmla="*/ 386084 w 709427"/>
                <a:gd name="connsiteY93" fmla="*/ 81596 h 984161"/>
                <a:gd name="connsiteX94" fmla="*/ 410498 w 709427"/>
                <a:gd name="connsiteY94" fmla="*/ 90591 h 984161"/>
                <a:gd name="connsiteX95" fmla="*/ 451617 w 709427"/>
                <a:gd name="connsiteY95" fmla="*/ 55254 h 984161"/>
                <a:gd name="connsiteX96" fmla="*/ 497876 w 709427"/>
                <a:gd name="connsiteY96" fmla="*/ 0 h 984161"/>
                <a:gd name="connsiteX97" fmla="*/ 500446 w 709427"/>
                <a:gd name="connsiteY97" fmla="*/ 1927 h 984161"/>
                <a:gd name="connsiteX98" fmla="*/ 533856 w 709427"/>
                <a:gd name="connsiteY98" fmla="*/ 7710 h 984161"/>
                <a:gd name="connsiteX99" fmla="*/ 554415 w 709427"/>
                <a:gd name="connsiteY99" fmla="*/ 14135 h 984161"/>
                <a:gd name="connsiteX100" fmla="*/ 565980 w 709427"/>
                <a:gd name="connsiteY100" fmla="*/ 26342 h 984161"/>
                <a:gd name="connsiteX101" fmla="*/ 558913 w 709427"/>
                <a:gd name="connsiteY101" fmla="*/ 39834 h 984161"/>
                <a:gd name="connsiteX102" fmla="*/ 544135 w 709427"/>
                <a:gd name="connsiteY102" fmla="*/ 41119 h 984161"/>
                <a:gd name="connsiteX103" fmla="*/ 541566 w 709427"/>
                <a:gd name="connsiteY103" fmla="*/ 45617 h 984161"/>
                <a:gd name="connsiteX104" fmla="*/ 552488 w 709427"/>
                <a:gd name="connsiteY104" fmla="*/ 82238 h 984161"/>
                <a:gd name="connsiteX105" fmla="*/ 558913 w 709427"/>
                <a:gd name="connsiteY105" fmla="*/ 98301 h 984161"/>
                <a:gd name="connsiteX106" fmla="*/ 542851 w 709427"/>
                <a:gd name="connsiteY106" fmla="*/ 109223 h 984161"/>
                <a:gd name="connsiteX107" fmla="*/ 522291 w 709427"/>
                <a:gd name="connsiteY107" fmla="*/ 112435 h 984161"/>
                <a:gd name="connsiteX108" fmla="*/ 537711 w 709427"/>
                <a:gd name="connsiteY108" fmla="*/ 138135 h 984161"/>
                <a:gd name="connsiteX109" fmla="*/ 562125 w 709427"/>
                <a:gd name="connsiteY109" fmla="*/ 151627 h 984161"/>
                <a:gd name="connsiteX110" fmla="*/ 574975 w 709427"/>
                <a:gd name="connsiteY110" fmla="*/ 155482 h 984161"/>
                <a:gd name="connsiteX111" fmla="*/ 596177 w 709427"/>
                <a:gd name="connsiteY111" fmla="*/ 145202 h 984161"/>
                <a:gd name="connsiteX112" fmla="*/ 600032 w 709427"/>
                <a:gd name="connsiteY112" fmla="*/ 140705 h 984161"/>
                <a:gd name="connsiteX113" fmla="*/ 590395 w 709427"/>
                <a:gd name="connsiteY113" fmla="*/ 132995 h 984161"/>
                <a:gd name="connsiteX114" fmla="*/ 577545 w 709427"/>
                <a:gd name="connsiteY114" fmla="*/ 127855 h 984161"/>
                <a:gd name="connsiteX115" fmla="*/ 583970 w 709427"/>
                <a:gd name="connsiteY115" fmla="*/ 115648 h 984161"/>
                <a:gd name="connsiteX116" fmla="*/ 632156 w 709427"/>
                <a:gd name="connsiteY116" fmla="*/ 113078 h 984161"/>
                <a:gd name="connsiteX117" fmla="*/ 632799 w 709427"/>
                <a:gd name="connsiteY117" fmla="*/ 116290 h 984161"/>
                <a:gd name="connsiteX118" fmla="*/ 639866 w 709427"/>
                <a:gd name="connsiteY118" fmla="*/ 143275 h 984161"/>
                <a:gd name="connsiteX119" fmla="*/ 657856 w 709427"/>
                <a:gd name="connsiteY119" fmla="*/ 165119 h 984161"/>
                <a:gd name="connsiteX120" fmla="*/ 673918 w 709427"/>
                <a:gd name="connsiteY120" fmla="*/ 173472 h 984161"/>
                <a:gd name="connsiteX121" fmla="*/ 682270 w 709427"/>
                <a:gd name="connsiteY121" fmla="*/ 187606 h 984161"/>
                <a:gd name="connsiteX122" fmla="*/ 693835 w 709427"/>
                <a:gd name="connsiteY122" fmla="*/ 217803 h 984161"/>
                <a:gd name="connsiteX123" fmla="*/ 699617 w 709427"/>
                <a:gd name="connsiteY123" fmla="*/ 230653 h 984161"/>
                <a:gd name="connsiteX124" fmla="*/ 707327 w 709427"/>
                <a:gd name="connsiteY124" fmla="*/ 240290 h 984161"/>
                <a:gd name="connsiteX125" fmla="*/ 708612 w 709427"/>
                <a:gd name="connsiteY125" fmla="*/ 260207 h 98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709427" h="984161">
                  <a:moveTo>
                    <a:pt x="708612" y="260207"/>
                  </a:moveTo>
                  <a:cubicBezTo>
                    <a:pt x="707970" y="262777"/>
                    <a:pt x="706042" y="264705"/>
                    <a:pt x="704757" y="267275"/>
                  </a:cubicBezTo>
                  <a:cubicBezTo>
                    <a:pt x="700902" y="273700"/>
                    <a:pt x="695763" y="280124"/>
                    <a:pt x="691265" y="285907"/>
                  </a:cubicBezTo>
                  <a:cubicBezTo>
                    <a:pt x="685483" y="292974"/>
                    <a:pt x="679058" y="300042"/>
                    <a:pt x="673918" y="307109"/>
                  </a:cubicBezTo>
                  <a:cubicBezTo>
                    <a:pt x="670063" y="311606"/>
                    <a:pt x="666851" y="316104"/>
                    <a:pt x="663638" y="321244"/>
                  </a:cubicBezTo>
                  <a:cubicBezTo>
                    <a:pt x="655928" y="332166"/>
                    <a:pt x="648219" y="342446"/>
                    <a:pt x="643721" y="354653"/>
                  </a:cubicBezTo>
                  <a:cubicBezTo>
                    <a:pt x="635369" y="377140"/>
                    <a:pt x="637296" y="402197"/>
                    <a:pt x="639866" y="425327"/>
                  </a:cubicBezTo>
                  <a:cubicBezTo>
                    <a:pt x="639866" y="425969"/>
                    <a:pt x="639866" y="426612"/>
                    <a:pt x="640509" y="427254"/>
                  </a:cubicBezTo>
                  <a:cubicBezTo>
                    <a:pt x="641794" y="430467"/>
                    <a:pt x="647576" y="430467"/>
                    <a:pt x="650146" y="428539"/>
                  </a:cubicBezTo>
                  <a:cubicBezTo>
                    <a:pt x="653358" y="426612"/>
                    <a:pt x="655928" y="423399"/>
                    <a:pt x="659141" y="422114"/>
                  </a:cubicBezTo>
                  <a:cubicBezTo>
                    <a:pt x="661068" y="421472"/>
                    <a:pt x="663638" y="421472"/>
                    <a:pt x="666208" y="422114"/>
                  </a:cubicBezTo>
                  <a:cubicBezTo>
                    <a:pt x="674561" y="424684"/>
                    <a:pt x="681628" y="431751"/>
                    <a:pt x="682270" y="440104"/>
                  </a:cubicBezTo>
                  <a:cubicBezTo>
                    <a:pt x="683555" y="451669"/>
                    <a:pt x="674561" y="456166"/>
                    <a:pt x="671348" y="465803"/>
                  </a:cubicBezTo>
                  <a:cubicBezTo>
                    <a:pt x="669421" y="471586"/>
                    <a:pt x="668136" y="477368"/>
                    <a:pt x="668136" y="483150"/>
                  </a:cubicBezTo>
                  <a:cubicBezTo>
                    <a:pt x="668136" y="485078"/>
                    <a:pt x="670706" y="496643"/>
                    <a:pt x="670063" y="498570"/>
                  </a:cubicBezTo>
                  <a:lnTo>
                    <a:pt x="670063" y="498570"/>
                  </a:lnTo>
                  <a:cubicBezTo>
                    <a:pt x="670063" y="498570"/>
                    <a:pt x="663638" y="522342"/>
                    <a:pt x="652073" y="529410"/>
                  </a:cubicBezTo>
                  <a:cubicBezTo>
                    <a:pt x="640509" y="536477"/>
                    <a:pt x="622519" y="544829"/>
                    <a:pt x="619307" y="548684"/>
                  </a:cubicBezTo>
                  <a:cubicBezTo>
                    <a:pt x="616094" y="553182"/>
                    <a:pt x="556985" y="617430"/>
                    <a:pt x="551203" y="618073"/>
                  </a:cubicBezTo>
                  <a:cubicBezTo>
                    <a:pt x="545421" y="619358"/>
                    <a:pt x="537068" y="617430"/>
                    <a:pt x="530643" y="618073"/>
                  </a:cubicBezTo>
                  <a:cubicBezTo>
                    <a:pt x="524218" y="618715"/>
                    <a:pt x="512654" y="612290"/>
                    <a:pt x="511369" y="618715"/>
                  </a:cubicBezTo>
                  <a:cubicBezTo>
                    <a:pt x="509441" y="624498"/>
                    <a:pt x="505586" y="639275"/>
                    <a:pt x="511369" y="643772"/>
                  </a:cubicBezTo>
                  <a:cubicBezTo>
                    <a:pt x="517151" y="648270"/>
                    <a:pt x="520363" y="665617"/>
                    <a:pt x="520363" y="668187"/>
                  </a:cubicBezTo>
                  <a:cubicBezTo>
                    <a:pt x="520363" y="670757"/>
                    <a:pt x="509441" y="675897"/>
                    <a:pt x="496591" y="675254"/>
                  </a:cubicBezTo>
                  <a:cubicBezTo>
                    <a:pt x="483742" y="673969"/>
                    <a:pt x="482457" y="668187"/>
                    <a:pt x="469607" y="663689"/>
                  </a:cubicBezTo>
                  <a:cubicBezTo>
                    <a:pt x="456115" y="659834"/>
                    <a:pt x="437483" y="652125"/>
                    <a:pt x="425275" y="654695"/>
                  </a:cubicBezTo>
                  <a:cubicBezTo>
                    <a:pt x="413068" y="657265"/>
                    <a:pt x="369379" y="669472"/>
                    <a:pt x="364882" y="675254"/>
                  </a:cubicBezTo>
                  <a:cubicBezTo>
                    <a:pt x="360384" y="681037"/>
                    <a:pt x="355887" y="692601"/>
                    <a:pt x="360384" y="712519"/>
                  </a:cubicBezTo>
                  <a:cubicBezTo>
                    <a:pt x="365524" y="732436"/>
                    <a:pt x="377089" y="785119"/>
                    <a:pt x="386726" y="799254"/>
                  </a:cubicBezTo>
                  <a:cubicBezTo>
                    <a:pt x="396363" y="813389"/>
                    <a:pt x="405358" y="817886"/>
                    <a:pt x="401503" y="833949"/>
                  </a:cubicBezTo>
                  <a:cubicBezTo>
                    <a:pt x="397648" y="850011"/>
                    <a:pt x="391224" y="865430"/>
                    <a:pt x="390581" y="873140"/>
                  </a:cubicBezTo>
                  <a:cubicBezTo>
                    <a:pt x="389296" y="880850"/>
                    <a:pt x="388011" y="889203"/>
                    <a:pt x="392509" y="894342"/>
                  </a:cubicBezTo>
                  <a:cubicBezTo>
                    <a:pt x="394436" y="896270"/>
                    <a:pt x="398291" y="900767"/>
                    <a:pt x="401503" y="904622"/>
                  </a:cubicBezTo>
                  <a:cubicBezTo>
                    <a:pt x="401503" y="904622"/>
                    <a:pt x="401503" y="904622"/>
                    <a:pt x="401503" y="904622"/>
                  </a:cubicBezTo>
                  <a:cubicBezTo>
                    <a:pt x="398933" y="907835"/>
                    <a:pt x="406001" y="916829"/>
                    <a:pt x="406001" y="922612"/>
                  </a:cubicBezTo>
                  <a:cubicBezTo>
                    <a:pt x="406001" y="929037"/>
                    <a:pt x="395078" y="930322"/>
                    <a:pt x="385441" y="932249"/>
                  </a:cubicBezTo>
                  <a:cubicBezTo>
                    <a:pt x="375804" y="933534"/>
                    <a:pt x="365524" y="932892"/>
                    <a:pt x="359099" y="932249"/>
                  </a:cubicBezTo>
                  <a:cubicBezTo>
                    <a:pt x="353317" y="931607"/>
                    <a:pt x="349462" y="943171"/>
                    <a:pt x="350104" y="945741"/>
                  </a:cubicBezTo>
                  <a:cubicBezTo>
                    <a:pt x="350747" y="948311"/>
                    <a:pt x="359099" y="959234"/>
                    <a:pt x="359099" y="959234"/>
                  </a:cubicBezTo>
                  <a:cubicBezTo>
                    <a:pt x="359099" y="959234"/>
                    <a:pt x="348819" y="960519"/>
                    <a:pt x="340467" y="962446"/>
                  </a:cubicBezTo>
                  <a:cubicBezTo>
                    <a:pt x="332115" y="963731"/>
                    <a:pt x="332115" y="975296"/>
                    <a:pt x="324405" y="981078"/>
                  </a:cubicBezTo>
                  <a:cubicBezTo>
                    <a:pt x="316695" y="986860"/>
                    <a:pt x="310913" y="983648"/>
                    <a:pt x="305130" y="978508"/>
                  </a:cubicBezTo>
                  <a:cubicBezTo>
                    <a:pt x="298705" y="973368"/>
                    <a:pt x="310913" y="957306"/>
                    <a:pt x="314125" y="948954"/>
                  </a:cubicBezTo>
                  <a:cubicBezTo>
                    <a:pt x="317338" y="940601"/>
                    <a:pt x="299990" y="930964"/>
                    <a:pt x="289068" y="925182"/>
                  </a:cubicBezTo>
                  <a:cubicBezTo>
                    <a:pt x="278146" y="920042"/>
                    <a:pt x="274933" y="912332"/>
                    <a:pt x="271721" y="900767"/>
                  </a:cubicBezTo>
                  <a:cubicBezTo>
                    <a:pt x="269151" y="889203"/>
                    <a:pt x="276218" y="886633"/>
                    <a:pt x="274933" y="882135"/>
                  </a:cubicBezTo>
                  <a:cubicBezTo>
                    <a:pt x="273648" y="877638"/>
                    <a:pt x="249876" y="880850"/>
                    <a:pt x="239597" y="884705"/>
                  </a:cubicBezTo>
                  <a:cubicBezTo>
                    <a:pt x="229317" y="888560"/>
                    <a:pt x="209400" y="893057"/>
                    <a:pt x="198477" y="894342"/>
                  </a:cubicBezTo>
                  <a:cubicBezTo>
                    <a:pt x="196550" y="894342"/>
                    <a:pt x="193980" y="894985"/>
                    <a:pt x="191410" y="895627"/>
                  </a:cubicBezTo>
                  <a:cubicBezTo>
                    <a:pt x="191410" y="894985"/>
                    <a:pt x="190767" y="894342"/>
                    <a:pt x="190767" y="893700"/>
                  </a:cubicBezTo>
                  <a:cubicBezTo>
                    <a:pt x="188198" y="889203"/>
                    <a:pt x="167638" y="864788"/>
                    <a:pt x="170850" y="852581"/>
                  </a:cubicBezTo>
                  <a:cubicBezTo>
                    <a:pt x="173420" y="839731"/>
                    <a:pt x="189482" y="823026"/>
                    <a:pt x="189482" y="808892"/>
                  </a:cubicBezTo>
                  <a:cubicBezTo>
                    <a:pt x="189482" y="794757"/>
                    <a:pt x="180488" y="756850"/>
                    <a:pt x="167638" y="737575"/>
                  </a:cubicBezTo>
                  <a:cubicBezTo>
                    <a:pt x="154788" y="718943"/>
                    <a:pt x="136156" y="700311"/>
                    <a:pt x="124591" y="700954"/>
                  </a:cubicBezTo>
                  <a:cubicBezTo>
                    <a:pt x="113669" y="701596"/>
                    <a:pt x="88612" y="721513"/>
                    <a:pt x="69337" y="724726"/>
                  </a:cubicBezTo>
                  <a:cubicBezTo>
                    <a:pt x="50705" y="728581"/>
                    <a:pt x="23078" y="725368"/>
                    <a:pt x="17938" y="718943"/>
                  </a:cubicBezTo>
                  <a:cubicBezTo>
                    <a:pt x="12798" y="712519"/>
                    <a:pt x="-3264" y="709306"/>
                    <a:pt x="591" y="695171"/>
                  </a:cubicBezTo>
                  <a:cubicBezTo>
                    <a:pt x="4446" y="681037"/>
                    <a:pt x="18581" y="663689"/>
                    <a:pt x="26933" y="648270"/>
                  </a:cubicBezTo>
                  <a:cubicBezTo>
                    <a:pt x="35286" y="632850"/>
                    <a:pt x="34001" y="627710"/>
                    <a:pt x="40425" y="623213"/>
                  </a:cubicBezTo>
                  <a:cubicBezTo>
                    <a:pt x="46850" y="618715"/>
                    <a:pt x="63555" y="611648"/>
                    <a:pt x="71265" y="607793"/>
                  </a:cubicBezTo>
                  <a:cubicBezTo>
                    <a:pt x="78975" y="603938"/>
                    <a:pt x="86042" y="602653"/>
                    <a:pt x="95679" y="601368"/>
                  </a:cubicBezTo>
                  <a:cubicBezTo>
                    <a:pt x="105317" y="600083"/>
                    <a:pt x="107887" y="596871"/>
                    <a:pt x="103389" y="590446"/>
                  </a:cubicBezTo>
                  <a:cubicBezTo>
                    <a:pt x="98892" y="584021"/>
                    <a:pt x="88612" y="551254"/>
                    <a:pt x="80260" y="547399"/>
                  </a:cubicBezTo>
                  <a:cubicBezTo>
                    <a:pt x="71265" y="542902"/>
                    <a:pt x="59058" y="548042"/>
                    <a:pt x="58415" y="535192"/>
                  </a:cubicBezTo>
                  <a:cubicBezTo>
                    <a:pt x="57773" y="522342"/>
                    <a:pt x="62270" y="513347"/>
                    <a:pt x="64197" y="512062"/>
                  </a:cubicBezTo>
                  <a:cubicBezTo>
                    <a:pt x="66767" y="510778"/>
                    <a:pt x="67410" y="510778"/>
                    <a:pt x="68695" y="502425"/>
                  </a:cubicBezTo>
                  <a:cubicBezTo>
                    <a:pt x="69980" y="494073"/>
                    <a:pt x="70622" y="476083"/>
                    <a:pt x="75120" y="475441"/>
                  </a:cubicBezTo>
                  <a:cubicBezTo>
                    <a:pt x="78975" y="474798"/>
                    <a:pt x="96964" y="479295"/>
                    <a:pt x="96964" y="481223"/>
                  </a:cubicBezTo>
                  <a:cubicBezTo>
                    <a:pt x="96964" y="483150"/>
                    <a:pt x="93752" y="487005"/>
                    <a:pt x="98892" y="486363"/>
                  </a:cubicBezTo>
                  <a:cubicBezTo>
                    <a:pt x="104674" y="485720"/>
                    <a:pt x="110457" y="484435"/>
                    <a:pt x="113027" y="477368"/>
                  </a:cubicBezTo>
                  <a:cubicBezTo>
                    <a:pt x="115596" y="470301"/>
                    <a:pt x="117524" y="453596"/>
                    <a:pt x="117524" y="453596"/>
                  </a:cubicBezTo>
                  <a:cubicBezTo>
                    <a:pt x="117524" y="453596"/>
                    <a:pt x="105959" y="438819"/>
                    <a:pt x="104032" y="435606"/>
                  </a:cubicBezTo>
                  <a:cubicBezTo>
                    <a:pt x="102104" y="431751"/>
                    <a:pt x="105317" y="429824"/>
                    <a:pt x="105317" y="424042"/>
                  </a:cubicBezTo>
                  <a:cubicBezTo>
                    <a:pt x="105317" y="422114"/>
                    <a:pt x="105317" y="418902"/>
                    <a:pt x="104674" y="415047"/>
                  </a:cubicBezTo>
                  <a:cubicBezTo>
                    <a:pt x="113027" y="413119"/>
                    <a:pt x="122664" y="407337"/>
                    <a:pt x="125234" y="398985"/>
                  </a:cubicBezTo>
                  <a:cubicBezTo>
                    <a:pt x="129089" y="387420"/>
                    <a:pt x="134871" y="383565"/>
                    <a:pt x="125234" y="382280"/>
                  </a:cubicBezTo>
                  <a:cubicBezTo>
                    <a:pt x="115596" y="380995"/>
                    <a:pt x="104032" y="381638"/>
                    <a:pt x="111099" y="371358"/>
                  </a:cubicBezTo>
                  <a:cubicBezTo>
                    <a:pt x="118166" y="361078"/>
                    <a:pt x="159286" y="325741"/>
                    <a:pt x="160571" y="328311"/>
                  </a:cubicBezTo>
                  <a:cubicBezTo>
                    <a:pt x="161856" y="330881"/>
                    <a:pt x="154146" y="342446"/>
                    <a:pt x="163141" y="343088"/>
                  </a:cubicBezTo>
                  <a:cubicBezTo>
                    <a:pt x="172135" y="343731"/>
                    <a:pt x="191410" y="340518"/>
                    <a:pt x="195265" y="332166"/>
                  </a:cubicBezTo>
                  <a:cubicBezTo>
                    <a:pt x="199120" y="323814"/>
                    <a:pt x="231244" y="260207"/>
                    <a:pt x="239597" y="253783"/>
                  </a:cubicBezTo>
                  <a:cubicBezTo>
                    <a:pt x="248591" y="247358"/>
                    <a:pt x="252446" y="251212"/>
                    <a:pt x="262726" y="242218"/>
                  </a:cubicBezTo>
                  <a:cubicBezTo>
                    <a:pt x="273006" y="233223"/>
                    <a:pt x="285856" y="213948"/>
                    <a:pt x="288426" y="210736"/>
                  </a:cubicBezTo>
                  <a:cubicBezTo>
                    <a:pt x="291638" y="207523"/>
                    <a:pt x="296135" y="202384"/>
                    <a:pt x="294208" y="192104"/>
                  </a:cubicBezTo>
                  <a:cubicBezTo>
                    <a:pt x="292280" y="181824"/>
                    <a:pt x="292923" y="158694"/>
                    <a:pt x="285856" y="161907"/>
                  </a:cubicBezTo>
                  <a:cubicBezTo>
                    <a:pt x="278788" y="165119"/>
                    <a:pt x="268508" y="175399"/>
                    <a:pt x="260156" y="174757"/>
                  </a:cubicBezTo>
                  <a:cubicBezTo>
                    <a:pt x="252446" y="174114"/>
                    <a:pt x="239597" y="172187"/>
                    <a:pt x="246021" y="157409"/>
                  </a:cubicBezTo>
                  <a:cubicBezTo>
                    <a:pt x="252446" y="142632"/>
                    <a:pt x="256301" y="140705"/>
                    <a:pt x="265296" y="131067"/>
                  </a:cubicBezTo>
                  <a:cubicBezTo>
                    <a:pt x="274291" y="121430"/>
                    <a:pt x="283928" y="113720"/>
                    <a:pt x="294208" y="115648"/>
                  </a:cubicBezTo>
                  <a:cubicBezTo>
                    <a:pt x="304488" y="117575"/>
                    <a:pt x="322477" y="116290"/>
                    <a:pt x="329545" y="109223"/>
                  </a:cubicBezTo>
                  <a:cubicBezTo>
                    <a:pt x="336612" y="102156"/>
                    <a:pt x="344964" y="96373"/>
                    <a:pt x="341752" y="89948"/>
                  </a:cubicBezTo>
                  <a:cubicBezTo>
                    <a:pt x="338540" y="83523"/>
                    <a:pt x="321835" y="71959"/>
                    <a:pt x="337897" y="66819"/>
                  </a:cubicBezTo>
                  <a:cubicBezTo>
                    <a:pt x="353959" y="61036"/>
                    <a:pt x="387369" y="56539"/>
                    <a:pt x="388654" y="66819"/>
                  </a:cubicBezTo>
                  <a:cubicBezTo>
                    <a:pt x="389939" y="77099"/>
                    <a:pt x="382229" y="71959"/>
                    <a:pt x="386084" y="81596"/>
                  </a:cubicBezTo>
                  <a:cubicBezTo>
                    <a:pt x="390581" y="91233"/>
                    <a:pt x="398933" y="103440"/>
                    <a:pt x="410498" y="90591"/>
                  </a:cubicBezTo>
                  <a:cubicBezTo>
                    <a:pt x="422063" y="77741"/>
                    <a:pt x="438125" y="71959"/>
                    <a:pt x="451617" y="55254"/>
                  </a:cubicBezTo>
                  <a:cubicBezTo>
                    <a:pt x="459970" y="44974"/>
                    <a:pt x="481814" y="18632"/>
                    <a:pt x="497876" y="0"/>
                  </a:cubicBezTo>
                  <a:cubicBezTo>
                    <a:pt x="498519" y="643"/>
                    <a:pt x="499804" y="1285"/>
                    <a:pt x="500446" y="1927"/>
                  </a:cubicBezTo>
                  <a:cubicBezTo>
                    <a:pt x="509441" y="8995"/>
                    <a:pt x="522291" y="7067"/>
                    <a:pt x="533856" y="7710"/>
                  </a:cubicBezTo>
                  <a:cubicBezTo>
                    <a:pt x="540923" y="8352"/>
                    <a:pt x="547990" y="10280"/>
                    <a:pt x="554415" y="14135"/>
                  </a:cubicBezTo>
                  <a:cubicBezTo>
                    <a:pt x="559555" y="16705"/>
                    <a:pt x="564695" y="20560"/>
                    <a:pt x="565980" y="26342"/>
                  </a:cubicBezTo>
                  <a:cubicBezTo>
                    <a:pt x="567908" y="31482"/>
                    <a:pt x="564695" y="38549"/>
                    <a:pt x="558913" y="39834"/>
                  </a:cubicBezTo>
                  <a:cubicBezTo>
                    <a:pt x="553773" y="41119"/>
                    <a:pt x="547990" y="37907"/>
                    <a:pt x="544135" y="41119"/>
                  </a:cubicBezTo>
                  <a:cubicBezTo>
                    <a:pt x="542851" y="42404"/>
                    <a:pt x="541566" y="43689"/>
                    <a:pt x="541566" y="45617"/>
                  </a:cubicBezTo>
                  <a:cubicBezTo>
                    <a:pt x="537068" y="58466"/>
                    <a:pt x="544135" y="71316"/>
                    <a:pt x="552488" y="82238"/>
                  </a:cubicBezTo>
                  <a:cubicBezTo>
                    <a:pt x="556343" y="87378"/>
                    <a:pt x="560198" y="92518"/>
                    <a:pt x="558913" y="98301"/>
                  </a:cubicBezTo>
                  <a:cubicBezTo>
                    <a:pt x="557628" y="104725"/>
                    <a:pt x="549918" y="107938"/>
                    <a:pt x="542851" y="109223"/>
                  </a:cubicBezTo>
                  <a:cubicBezTo>
                    <a:pt x="535783" y="110508"/>
                    <a:pt x="528716" y="109865"/>
                    <a:pt x="522291" y="112435"/>
                  </a:cubicBezTo>
                  <a:cubicBezTo>
                    <a:pt x="518436" y="122715"/>
                    <a:pt x="528073" y="132352"/>
                    <a:pt x="537711" y="138135"/>
                  </a:cubicBezTo>
                  <a:cubicBezTo>
                    <a:pt x="545421" y="143275"/>
                    <a:pt x="553773" y="147772"/>
                    <a:pt x="562125" y="151627"/>
                  </a:cubicBezTo>
                  <a:cubicBezTo>
                    <a:pt x="565980" y="153555"/>
                    <a:pt x="570478" y="155482"/>
                    <a:pt x="574975" y="155482"/>
                  </a:cubicBezTo>
                  <a:cubicBezTo>
                    <a:pt x="583327" y="155482"/>
                    <a:pt x="589752" y="150342"/>
                    <a:pt x="596177" y="145202"/>
                  </a:cubicBezTo>
                  <a:cubicBezTo>
                    <a:pt x="598104" y="143917"/>
                    <a:pt x="599389" y="142632"/>
                    <a:pt x="600032" y="140705"/>
                  </a:cubicBezTo>
                  <a:cubicBezTo>
                    <a:pt x="601317" y="136207"/>
                    <a:pt x="595534" y="132995"/>
                    <a:pt x="590395" y="132995"/>
                  </a:cubicBezTo>
                  <a:cubicBezTo>
                    <a:pt x="585897" y="132352"/>
                    <a:pt x="580115" y="131710"/>
                    <a:pt x="577545" y="127855"/>
                  </a:cubicBezTo>
                  <a:cubicBezTo>
                    <a:pt x="574975" y="123358"/>
                    <a:pt x="579472" y="118218"/>
                    <a:pt x="583970" y="115648"/>
                  </a:cubicBezTo>
                  <a:cubicBezTo>
                    <a:pt x="598104" y="107295"/>
                    <a:pt x="616737" y="106653"/>
                    <a:pt x="632156" y="113078"/>
                  </a:cubicBezTo>
                  <a:cubicBezTo>
                    <a:pt x="632156" y="114363"/>
                    <a:pt x="632799" y="115005"/>
                    <a:pt x="632799" y="116290"/>
                  </a:cubicBezTo>
                  <a:cubicBezTo>
                    <a:pt x="634084" y="125285"/>
                    <a:pt x="636011" y="134922"/>
                    <a:pt x="639866" y="143275"/>
                  </a:cubicBezTo>
                  <a:cubicBezTo>
                    <a:pt x="643721" y="152269"/>
                    <a:pt x="649503" y="159979"/>
                    <a:pt x="657856" y="165119"/>
                  </a:cubicBezTo>
                  <a:cubicBezTo>
                    <a:pt x="662996" y="167689"/>
                    <a:pt x="669421" y="169617"/>
                    <a:pt x="673918" y="173472"/>
                  </a:cubicBezTo>
                  <a:cubicBezTo>
                    <a:pt x="677773" y="177326"/>
                    <a:pt x="680343" y="182466"/>
                    <a:pt x="682270" y="187606"/>
                  </a:cubicBezTo>
                  <a:cubicBezTo>
                    <a:pt x="686125" y="197886"/>
                    <a:pt x="689980" y="207523"/>
                    <a:pt x="693835" y="217803"/>
                  </a:cubicBezTo>
                  <a:cubicBezTo>
                    <a:pt x="695763" y="222301"/>
                    <a:pt x="697048" y="226798"/>
                    <a:pt x="699617" y="230653"/>
                  </a:cubicBezTo>
                  <a:cubicBezTo>
                    <a:pt x="702187" y="233865"/>
                    <a:pt x="705400" y="236435"/>
                    <a:pt x="707327" y="240290"/>
                  </a:cubicBezTo>
                  <a:cubicBezTo>
                    <a:pt x="708612" y="248000"/>
                    <a:pt x="710540" y="254425"/>
                    <a:pt x="708612" y="260207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 465">
              <a:extLst>
                <a:ext uri="{FF2B5EF4-FFF2-40B4-BE49-F238E27FC236}">
                  <a16:creationId xmlns:a16="http://schemas.microsoft.com/office/drawing/2014/main" id="{6F30FE52-9D2D-374E-EFBC-62E987BB0BF1}"/>
                </a:ext>
              </a:extLst>
            </p:cNvPr>
            <p:cNvSpPr/>
            <p:nvPr/>
          </p:nvSpPr>
          <p:spPr>
            <a:xfrm>
              <a:off x="2297683" y="3687294"/>
              <a:ext cx="709427" cy="984161"/>
            </a:xfrm>
            <a:custGeom>
              <a:avLst/>
              <a:gdLst>
                <a:gd name="connsiteX0" fmla="*/ 708612 w 709427"/>
                <a:gd name="connsiteY0" fmla="*/ 260207 h 984161"/>
                <a:gd name="connsiteX1" fmla="*/ 704757 w 709427"/>
                <a:gd name="connsiteY1" fmla="*/ 267275 h 984161"/>
                <a:gd name="connsiteX2" fmla="*/ 691265 w 709427"/>
                <a:gd name="connsiteY2" fmla="*/ 285907 h 984161"/>
                <a:gd name="connsiteX3" fmla="*/ 673918 w 709427"/>
                <a:gd name="connsiteY3" fmla="*/ 307109 h 984161"/>
                <a:gd name="connsiteX4" fmla="*/ 663638 w 709427"/>
                <a:gd name="connsiteY4" fmla="*/ 321244 h 984161"/>
                <a:gd name="connsiteX5" fmla="*/ 643721 w 709427"/>
                <a:gd name="connsiteY5" fmla="*/ 354653 h 984161"/>
                <a:gd name="connsiteX6" fmla="*/ 639866 w 709427"/>
                <a:gd name="connsiteY6" fmla="*/ 425327 h 984161"/>
                <a:gd name="connsiteX7" fmla="*/ 640509 w 709427"/>
                <a:gd name="connsiteY7" fmla="*/ 427254 h 984161"/>
                <a:gd name="connsiteX8" fmla="*/ 650146 w 709427"/>
                <a:gd name="connsiteY8" fmla="*/ 428539 h 984161"/>
                <a:gd name="connsiteX9" fmla="*/ 659141 w 709427"/>
                <a:gd name="connsiteY9" fmla="*/ 422114 h 984161"/>
                <a:gd name="connsiteX10" fmla="*/ 666208 w 709427"/>
                <a:gd name="connsiteY10" fmla="*/ 422114 h 984161"/>
                <a:gd name="connsiteX11" fmla="*/ 682270 w 709427"/>
                <a:gd name="connsiteY11" fmla="*/ 440104 h 984161"/>
                <a:gd name="connsiteX12" fmla="*/ 671348 w 709427"/>
                <a:gd name="connsiteY12" fmla="*/ 465803 h 984161"/>
                <a:gd name="connsiteX13" fmla="*/ 668136 w 709427"/>
                <a:gd name="connsiteY13" fmla="*/ 483150 h 984161"/>
                <a:gd name="connsiteX14" fmla="*/ 670063 w 709427"/>
                <a:gd name="connsiteY14" fmla="*/ 498570 h 984161"/>
                <a:gd name="connsiteX15" fmla="*/ 670063 w 709427"/>
                <a:gd name="connsiteY15" fmla="*/ 498570 h 984161"/>
                <a:gd name="connsiteX16" fmla="*/ 652073 w 709427"/>
                <a:gd name="connsiteY16" fmla="*/ 529410 h 984161"/>
                <a:gd name="connsiteX17" fmla="*/ 619307 w 709427"/>
                <a:gd name="connsiteY17" fmla="*/ 548684 h 984161"/>
                <a:gd name="connsiteX18" fmla="*/ 551203 w 709427"/>
                <a:gd name="connsiteY18" fmla="*/ 618073 h 984161"/>
                <a:gd name="connsiteX19" fmla="*/ 530643 w 709427"/>
                <a:gd name="connsiteY19" fmla="*/ 618073 h 984161"/>
                <a:gd name="connsiteX20" fmla="*/ 511369 w 709427"/>
                <a:gd name="connsiteY20" fmla="*/ 618715 h 984161"/>
                <a:gd name="connsiteX21" fmla="*/ 511369 w 709427"/>
                <a:gd name="connsiteY21" fmla="*/ 643772 h 984161"/>
                <a:gd name="connsiteX22" fmla="*/ 520363 w 709427"/>
                <a:gd name="connsiteY22" fmla="*/ 668187 h 984161"/>
                <a:gd name="connsiteX23" fmla="*/ 496591 w 709427"/>
                <a:gd name="connsiteY23" fmla="*/ 675254 h 984161"/>
                <a:gd name="connsiteX24" fmla="*/ 469607 w 709427"/>
                <a:gd name="connsiteY24" fmla="*/ 663689 h 984161"/>
                <a:gd name="connsiteX25" fmla="*/ 425275 w 709427"/>
                <a:gd name="connsiteY25" fmla="*/ 654695 h 984161"/>
                <a:gd name="connsiteX26" fmla="*/ 364882 w 709427"/>
                <a:gd name="connsiteY26" fmla="*/ 675254 h 984161"/>
                <a:gd name="connsiteX27" fmla="*/ 360384 w 709427"/>
                <a:gd name="connsiteY27" fmla="*/ 712519 h 984161"/>
                <a:gd name="connsiteX28" fmla="*/ 386726 w 709427"/>
                <a:gd name="connsiteY28" fmla="*/ 799254 h 984161"/>
                <a:gd name="connsiteX29" fmla="*/ 401503 w 709427"/>
                <a:gd name="connsiteY29" fmla="*/ 833949 h 984161"/>
                <a:gd name="connsiteX30" fmla="*/ 390581 w 709427"/>
                <a:gd name="connsiteY30" fmla="*/ 873140 h 984161"/>
                <a:gd name="connsiteX31" fmla="*/ 392509 w 709427"/>
                <a:gd name="connsiteY31" fmla="*/ 894342 h 984161"/>
                <a:gd name="connsiteX32" fmla="*/ 401503 w 709427"/>
                <a:gd name="connsiteY32" fmla="*/ 904622 h 984161"/>
                <a:gd name="connsiteX33" fmla="*/ 401503 w 709427"/>
                <a:gd name="connsiteY33" fmla="*/ 904622 h 984161"/>
                <a:gd name="connsiteX34" fmla="*/ 406001 w 709427"/>
                <a:gd name="connsiteY34" fmla="*/ 922612 h 984161"/>
                <a:gd name="connsiteX35" fmla="*/ 385441 w 709427"/>
                <a:gd name="connsiteY35" fmla="*/ 932249 h 984161"/>
                <a:gd name="connsiteX36" fmla="*/ 359099 w 709427"/>
                <a:gd name="connsiteY36" fmla="*/ 932249 h 984161"/>
                <a:gd name="connsiteX37" fmla="*/ 350104 w 709427"/>
                <a:gd name="connsiteY37" fmla="*/ 945741 h 984161"/>
                <a:gd name="connsiteX38" fmla="*/ 359099 w 709427"/>
                <a:gd name="connsiteY38" fmla="*/ 959234 h 984161"/>
                <a:gd name="connsiteX39" fmla="*/ 340467 w 709427"/>
                <a:gd name="connsiteY39" fmla="*/ 962446 h 984161"/>
                <a:gd name="connsiteX40" fmla="*/ 324405 w 709427"/>
                <a:gd name="connsiteY40" fmla="*/ 981078 h 984161"/>
                <a:gd name="connsiteX41" fmla="*/ 305130 w 709427"/>
                <a:gd name="connsiteY41" fmla="*/ 978508 h 984161"/>
                <a:gd name="connsiteX42" fmla="*/ 314125 w 709427"/>
                <a:gd name="connsiteY42" fmla="*/ 948954 h 984161"/>
                <a:gd name="connsiteX43" fmla="*/ 289068 w 709427"/>
                <a:gd name="connsiteY43" fmla="*/ 925182 h 984161"/>
                <a:gd name="connsiteX44" fmla="*/ 271721 w 709427"/>
                <a:gd name="connsiteY44" fmla="*/ 900767 h 984161"/>
                <a:gd name="connsiteX45" fmla="*/ 274933 w 709427"/>
                <a:gd name="connsiteY45" fmla="*/ 882135 h 984161"/>
                <a:gd name="connsiteX46" fmla="*/ 239597 w 709427"/>
                <a:gd name="connsiteY46" fmla="*/ 884705 h 984161"/>
                <a:gd name="connsiteX47" fmla="*/ 198477 w 709427"/>
                <a:gd name="connsiteY47" fmla="*/ 894342 h 984161"/>
                <a:gd name="connsiteX48" fmla="*/ 191410 w 709427"/>
                <a:gd name="connsiteY48" fmla="*/ 895627 h 984161"/>
                <a:gd name="connsiteX49" fmla="*/ 190767 w 709427"/>
                <a:gd name="connsiteY49" fmla="*/ 893700 h 984161"/>
                <a:gd name="connsiteX50" fmla="*/ 170850 w 709427"/>
                <a:gd name="connsiteY50" fmla="*/ 852581 h 984161"/>
                <a:gd name="connsiteX51" fmla="*/ 189482 w 709427"/>
                <a:gd name="connsiteY51" fmla="*/ 808892 h 984161"/>
                <a:gd name="connsiteX52" fmla="*/ 167638 w 709427"/>
                <a:gd name="connsiteY52" fmla="*/ 737575 h 984161"/>
                <a:gd name="connsiteX53" fmla="*/ 124591 w 709427"/>
                <a:gd name="connsiteY53" fmla="*/ 700954 h 984161"/>
                <a:gd name="connsiteX54" fmla="*/ 69337 w 709427"/>
                <a:gd name="connsiteY54" fmla="*/ 724726 h 984161"/>
                <a:gd name="connsiteX55" fmla="*/ 17938 w 709427"/>
                <a:gd name="connsiteY55" fmla="*/ 718943 h 984161"/>
                <a:gd name="connsiteX56" fmla="*/ 591 w 709427"/>
                <a:gd name="connsiteY56" fmla="*/ 695171 h 984161"/>
                <a:gd name="connsiteX57" fmla="*/ 26933 w 709427"/>
                <a:gd name="connsiteY57" fmla="*/ 648270 h 984161"/>
                <a:gd name="connsiteX58" fmla="*/ 40425 w 709427"/>
                <a:gd name="connsiteY58" fmla="*/ 623213 h 984161"/>
                <a:gd name="connsiteX59" fmla="*/ 71265 w 709427"/>
                <a:gd name="connsiteY59" fmla="*/ 607793 h 984161"/>
                <a:gd name="connsiteX60" fmla="*/ 95679 w 709427"/>
                <a:gd name="connsiteY60" fmla="*/ 601368 h 984161"/>
                <a:gd name="connsiteX61" fmla="*/ 103389 w 709427"/>
                <a:gd name="connsiteY61" fmla="*/ 590446 h 984161"/>
                <a:gd name="connsiteX62" fmla="*/ 80260 w 709427"/>
                <a:gd name="connsiteY62" fmla="*/ 547399 h 984161"/>
                <a:gd name="connsiteX63" fmla="*/ 58415 w 709427"/>
                <a:gd name="connsiteY63" fmla="*/ 535192 h 984161"/>
                <a:gd name="connsiteX64" fmla="*/ 64197 w 709427"/>
                <a:gd name="connsiteY64" fmla="*/ 512062 h 984161"/>
                <a:gd name="connsiteX65" fmla="*/ 68695 w 709427"/>
                <a:gd name="connsiteY65" fmla="*/ 502425 h 984161"/>
                <a:gd name="connsiteX66" fmla="*/ 75120 w 709427"/>
                <a:gd name="connsiteY66" fmla="*/ 475441 h 984161"/>
                <a:gd name="connsiteX67" fmla="*/ 96964 w 709427"/>
                <a:gd name="connsiteY67" fmla="*/ 481223 h 984161"/>
                <a:gd name="connsiteX68" fmla="*/ 98892 w 709427"/>
                <a:gd name="connsiteY68" fmla="*/ 486363 h 984161"/>
                <a:gd name="connsiteX69" fmla="*/ 113027 w 709427"/>
                <a:gd name="connsiteY69" fmla="*/ 477368 h 984161"/>
                <a:gd name="connsiteX70" fmla="*/ 117524 w 709427"/>
                <a:gd name="connsiteY70" fmla="*/ 453596 h 984161"/>
                <a:gd name="connsiteX71" fmla="*/ 104032 w 709427"/>
                <a:gd name="connsiteY71" fmla="*/ 435606 h 984161"/>
                <a:gd name="connsiteX72" fmla="*/ 105317 w 709427"/>
                <a:gd name="connsiteY72" fmla="*/ 424042 h 984161"/>
                <a:gd name="connsiteX73" fmla="*/ 104674 w 709427"/>
                <a:gd name="connsiteY73" fmla="*/ 415047 h 984161"/>
                <a:gd name="connsiteX74" fmla="*/ 125234 w 709427"/>
                <a:gd name="connsiteY74" fmla="*/ 398985 h 984161"/>
                <a:gd name="connsiteX75" fmla="*/ 125234 w 709427"/>
                <a:gd name="connsiteY75" fmla="*/ 382280 h 984161"/>
                <a:gd name="connsiteX76" fmla="*/ 111099 w 709427"/>
                <a:gd name="connsiteY76" fmla="*/ 371358 h 984161"/>
                <a:gd name="connsiteX77" fmla="*/ 160571 w 709427"/>
                <a:gd name="connsiteY77" fmla="*/ 328311 h 984161"/>
                <a:gd name="connsiteX78" fmla="*/ 163141 w 709427"/>
                <a:gd name="connsiteY78" fmla="*/ 343088 h 984161"/>
                <a:gd name="connsiteX79" fmla="*/ 195265 w 709427"/>
                <a:gd name="connsiteY79" fmla="*/ 332166 h 984161"/>
                <a:gd name="connsiteX80" fmla="*/ 239597 w 709427"/>
                <a:gd name="connsiteY80" fmla="*/ 253783 h 984161"/>
                <a:gd name="connsiteX81" fmla="*/ 262726 w 709427"/>
                <a:gd name="connsiteY81" fmla="*/ 242218 h 984161"/>
                <a:gd name="connsiteX82" fmla="*/ 288426 w 709427"/>
                <a:gd name="connsiteY82" fmla="*/ 210736 h 984161"/>
                <a:gd name="connsiteX83" fmla="*/ 294208 w 709427"/>
                <a:gd name="connsiteY83" fmla="*/ 192104 h 984161"/>
                <a:gd name="connsiteX84" fmla="*/ 285856 w 709427"/>
                <a:gd name="connsiteY84" fmla="*/ 161907 h 984161"/>
                <a:gd name="connsiteX85" fmla="*/ 260156 w 709427"/>
                <a:gd name="connsiteY85" fmla="*/ 174757 h 984161"/>
                <a:gd name="connsiteX86" fmla="*/ 246021 w 709427"/>
                <a:gd name="connsiteY86" fmla="*/ 157409 h 984161"/>
                <a:gd name="connsiteX87" fmla="*/ 265296 w 709427"/>
                <a:gd name="connsiteY87" fmla="*/ 131067 h 984161"/>
                <a:gd name="connsiteX88" fmla="*/ 294208 w 709427"/>
                <a:gd name="connsiteY88" fmla="*/ 115648 h 984161"/>
                <a:gd name="connsiteX89" fmla="*/ 329545 w 709427"/>
                <a:gd name="connsiteY89" fmla="*/ 109223 h 984161"/>
                <a:gd name="connsiteX90" fmla="*/ 341752 w 709427"/>
                <a:gd name="connsiteY90" fmla="*/ 89948 h 984161"/>
                <a:gd name="connsiteX91" fmla="*/ 337897 w 709427"/>
                <a:gd name="connsiteY91" fmla="*/ 66819 h 984161"/>
                <a:gd name="connsiteX92" fmla="*/ 388654 w 709427"/>
                <a:gd name="connsiteY92" fmla="*/ 66819 h 984161"/>
                <a:gd name="connsiteX93" fmla="*/ 386084 w 709427"/>
                <a:gd name="connsiteY93" fmla="*/ 81596 h 984161"/>
                <a:gd name="connsiteX94" fmla="*/ 410498 w 709427"/>
                <a:gd name="connsiteY94" fmla="*/ 90591 h 984161"/>
                <a:gd name="connsiteX95" fmla="*/ 451617 w 709427"/>
                <a:gd name="connsiteY95" fmla="*/ 55254 h 984161"/>
                <a:gd name="connsiteX96" fmla="*/ 497876 w 709427"/>
                <a:gd name="connsiteY96" fmla="*/ 0 h 984161"/>
                <a:gd name="connsiteX97" fmla="*/ 500446 w 709427"/>
                <a:gd name="connsiteY97" fmla="*/ 1927 h 984161"/>
                <a:gd name="connsiteX98" fmla="*/ 533856 w 709427"/>
                <a:gd name="connsiteY98" fmla="*/ 7710 h 984161"/>
                <a:gd name="connsiteX99" fmla="*/ 554415 w 709427"/>
                <a:gd name="connsiteY99" fmla="*/ 14135 h 984161"/>
                <a:gd name="connsiteX100" fmla="*/ 565980 w 709427"/>
                <a:gd name="connsiteY100" fmla="*/ 26342 h 984161"/>
                <a:gd name="connsiteX101" fmla="*/ 558913 w 709427"/>
                <a:gd name="connsiteY101" fmla="*/ 39834 h 984161"/>
                <a:gd name="connsiteX102" fmla="*/ 544135 w 709427"/>
                <a:gd name="connsiteY102" fmla="*/ 41119 h 984161"/>
                <a:gd name="connsiteX103" fmla="*/ 541566 w 709427"/>
                <a:gd name="connsiteY103" fmla="*/ 45617 h 984161"/>
                <a:gd name="connsiteX104" fmla="*/ 552488 w 709427"/>
                <a:gd name="connsiteY104" fmla="*/ 82238 h 984161"/>
                <a:gd name="connsiteX105" fmla="*/ 558913 w 709427"/>
                <a:gd name="connsiteY105" fmla="*/ 98301 h 984161"/>
                <a:gd name="connsiteX106" fmla="*/ 542851 w 709427"/>
                <a:gd name="connsiteY106" fmla="*/ 109223 h 984161"/>
                <a:gd name="connsiteX107" fmla="*/ 522291 w 709427"/>
                <a:gd name="connsiteY107" fmla="*/ 112435 h 984161"/>
                <a:gd name="connsiteX108" fmla="*/ 537711 w 709427"/>
                <a:gd name="connsiteY108" fmla="*/ 138135 h 984161"/>
                <a:gd name="connsiteX109" fmla="*/ 562125 w 709427"/>
                <a:gd name="connsiteY109" fmla="*/ 151627 h 984161"/>
                <a:gd name="connsiteX110" fmla="*/ 574975 w 709427"/>
                <a:gd name="connsiteY110" fmla="*/ 155482 h 984161"/>
                <a:gd name="connsiteX111" fmla="*/ 596177 w 709427"/>
                <a:gd name="connsiteY111" fmla="*/ 145202 h 984161"/>
                <a:gd name="connsiteX112" fmla="*/ 600032 w 709427"/>
                <a:gd name="connsiteY112" fmla="*/ 140705 h 984161"/>
                <a:gd name="connsiteX113" fmla="*/ 590395 w 709427"/>
                <a:gd name="connsiteY113" fmla="*/ 132995 h 984161"/>
                <a:gd name="connsiteX114" fmla="*/ 577545 w 709427"/>
                <a:gd name="connsiteY114" fmla="*/ 127855 h 984161"/>
                <a:gd name="connsiteX115" fmla="*/ 583970 w 709427"/>
                <a:gd name="connsiteY115" fmla="*/ 115648 h 984161"/>
                <a:gd name="connsiteX116" fmla="*/ 632156 w 709427"/>
                <a:gd name="connsiteY116" fmla="*/ 113078 h 984161"/>
                <a:gd name="connsiteX117" fmla="*/ 632799 w 709427"/>
                <a:gd name="connsiteY117" fmla="*/ 116290 h 984161"/>
                <a:gd name="connsiteX118" fmla="*/ 639866 w 709427"/>
                <a:gd name="connsiteY118" fmla="*/ 143275 h 984161"/>
                <a:gd name="connsiteX119" fmla="*/ 657856 w 709427"/>
                <a:gd name="connsiteY119" fmla="*/ 165119 h 984161"/>
                <a:gd name="connsiteX120" fmla="*/ 673918 w 709427"/>
                <a:gd name="connsiteY120" fmla="*/ 173472 h 984161"/>
                <a:gd name="connsiteX121" fmla="*/ 682270 w 709427"/>
                <a:gd name="connsiteY121" fmla="*/ 187606 h 984161"/>
                <a:gd name="connsiteX122" fmla="*/ 693835 w 709427"/>
                <a:gd name="connsiteY122" fmla="*/ 217803 h 984161"/>
                <a:gd name="connsiteX123" fmla="*/ 699617 w 709427"/>
                <a:gd name="connsiteY123" fmla="*/ 230653 h 984161"/>
                <a:gd name="connsiteX124" fmla="*/ 707327 w 709427"/>
                <a:gd name="connsiteY124" fmla="*/ 240290 h 984161"/>
                <a:gd name="connsiteX125" fmla="*/ 708612 w 709427"/>
                <a:gd name="connsiteY125" fmla="*/ 260207 h 98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709427" h="984161">
                  <a:moveTo>
                    <a:pt x="708612" y="260207"/>
                  </a:moveTo>
                  <a:cubicBezTo>
                    <a:pt x="707970" y="262777"/>
                    <a:pt x="706042" y="264705"/>
                    <a:pt x="704757" y="267275"/>
                  </a:cubicBezTo>
                  <a:cubicBezTo>
                    <a:pt x="700902" y="273700"/>
                    <a:pt x="695763" y="280124"/>
                    <a:pt x="691265" y="285907"/>
                  </a:cubicBezTo>
                  <a:cubicBezTo>
                    <a:pt x="685483" y="292974"/>
                    <a:pt x="679058" y="300042"/>
                    <a:pt x="673918" y="307109"/>
                  </a:cubicBezTo>
                  <a:cubicBezTo>
                    <a:pt x="670063" y="311606"/>
                    <a:pt x="666851" y="316104"/>
                    <a:pt x="663638" y="321244"/>
                  </a:cubicBezTo>
                  <a:cubicBezTo>
                    <a:pt x="655928" y="332166"/>
                    <a:pt x="648219" y="342446"/>
                    <a:pt x="643721" y="354653"/>
                  </a:cubicBezTo>
                  <a:cubicBezTo>
                    <a:pt x="635369" y="377140"/>
                    <a:pt x="637296" y="402197"/>
                    <a:pt x="639866" y="425327"/>
                  </a:cubicBezTo>
                  <a:cubicBezTo>
                    <a:pt x="639866" y="425969"/>
                    <a:pt x="639866" y="426612"/>
                    <a:pt x="640509" y="427254"/>
                  </a:cubicBezTo>
                  <a:cubicBezTo>
                    <a:pt x="641794" y="430467"/>
                    <a:pt x="647576" y="430467"/>
                    <a:pt x="650146" y="428539"/>
                  </a:cubicBezTo>
                  <a:cubicBezTo>
                    <a:pt x="653358" y="426612"/>
                    <a:pt x="655928" y="423399"/>
                    <a:pt x="659141" y="422114"/>
                  </a:cubicBezTo>
                  <a:cubicBezTo>
                    <a:pt x="661068" y="421472"/>
                    <a:pt x="663638" y="421472"/>
                    <a:pt x="666208" y="422114"/>
                  </a:cubicBezTo>
                  <a:cubicBezTo>
                    <a:pt x="674561" y="424684"/>
                    <a:pt x="681628" y="431751"/>
                    <a:pt x="682270" y="440104"/>
                  </a:cubicBezTo>
                  <a:cubicBezTo>
                    <a:pt x="683555" y="451669"/>
                    <a:pt x="674561" y="456166"/>
                    <a:pt x="671348" y="465803"/>
                  </a:cubicBezTo>
                  <a:cubicBezTo>
                    <a:pt x="669421" y="471586"/>
                    <a:pt x="668136" y="477368"/>
                    <a:pt x="668136" y="483150"/>
                  </a:cubicBezTo>
                  <a:cubicBezTo>
                    <a:pt x="668136" y="485078"/>
                    <a:pt x="670706" y="496643"/>
                    <a:pt x="670063" y="498570"/>
                  </a:cubicBezTo>
                  <a:lnTo>
                    <a:pt x="670063" y="498570"/>
                  </a:lnTo>
                  <a:cubicBezTo>
                    <a:pt x="670063" y="498570"/>
                    <a:pt x="663638" y="522342"/>
                    <a:pt x="652073" y="529410"/>
                  </a:cubicBezTo>
                  <a:cubicBezTo>
                    <a:pt x="640509" y="536477"/>
                    <a:pt x="622519" y="544829"/>
                    <a:pt x="619307" y="548684"/>
                  </a:cubicBezTo>
                  <a:cubicBezTo>
                    <a:pt x="616094" y="553182"/>
                    <a:pt x="556985" y="617430"/>
                    <a:pt x="551203" y="618073"/>
                  </a:cubicBezTo>
                  <a:cubicBezTo>
                    <a:pt x="545421" y="619358"/>
                    <a:pt x="537068" y="617430"/>
                    <a:pt x="530643" y="618073"/>
                  </a:cubicBezTo>
                  <a:cubicBezTo>
                    <a:pt x="524218" y="618715"/>
                    <a:pt x="512654" y="612290"/>
                    <a:pt x="511369" y="618715"/>
                  </a:cubicBezTo>
                  <a:cubicBezTo>
                    <a:pt x="509441" y="624498"/>
                    <a:pt x="505586" y="639275"/>
                    <a:pt x="511369" y="643772"/>
                  </a:cubicBezTo>
                  <a:cubicBezTo>
                    <a:pt x="517151" y="648270"/>
                    <a:pt x="520363" y="665617"/>
                    <a:pt x="520363" y="668187"/>
                  </a:cubicBezTo>
                  <a:cubicBezTo>
                    <a:pt x="520363" y="670757"/>
                    <a:pt x="509441" y="675897"/>
                    <a:pt x="496591" y="675254"/>
                  </a:cubicBezTo>
                  <a:cubicBezTo>
                    <a:pt x="483742" y="673969"/>
                    <a:pt x="482457" y="668187"/>
                    <a:pt x="469607" y="663689"/>
                  </a:cubicBezTo>
                  <a:cubicBezTo>
                    <a:pt x="456115" y="659834"/>
                    <a:pt x="437483" y="652125"/>
                    <a:pt x="425275" y="654695"/>
                  </a:cubicBezTo>
                  <a:cubicBezTo>
                    <a:pt x="413068" y="657265"/>
                    <a:pt x="369379" y="669472"/>
                    <a:pt x="364882" y="675254"/>
                  </a:cubicBezTo>
                  <a:cubicBezTo>
                    <a:pt x="360384" y="681037"/>
                    <a:pt x="355887" y="692601"/>
                    <a:pt x="360384" y="712519"/>
                  </a:cubicBezTo>
                  <a:cubicBezTo>
                    <a:pt x="365524" y="732436"/>
                    <a:pt x="377089" y="785119"/>
                    <a:pt x="386726" y="799254"/>
                  </a:cubicBezTo>
                  <a:cubicBezTo>
                    <a:pt x="396363" y="813389"/>
                    <a:pt x="405358" y="817886"/>
                    <a:pt x="401503" y="833949"/>
                  </a:cubicBezTo>
                  <a:cubicBezTo>
                    <a:pt x="397648" y="850011"/>
                    <a:pt x="391224" y="865430"/>
                    <a:pt x="390581" y="873140"/>
                  </a:cubicBezTo>
                  <a:cubicBezTo>
                    <a:pt x="389296" y="880850"/>
                    <a:pt x="388011" y="889203"/>
                    <a:pt x="392509" y="894342"/>
                  </a:cubicBezTo>
                  <a:cubicBezTo>
                    <a:pt x="394436" y="896270"/>
                    <a:pt x="398291" y="900767"/>
                    <a:pt x="401503" y="904622"/>
                  </a:cubicBezTo>
                  <a:cubicBezTo>
                    <a:pt x="401503" y="904622"/>
                    <a:pt x="401503" y="904622"/>
                    <a:pt x="401503" y="904622"/>
                  </a:cubicBezTo>
                  <a:cubicBezTo>
                    <a:pt x="398933" y="907835"/>
                    <a:pt x="406001" y="916829"/>
                    <a:pt x="406001" y="922612"/>
                  </a:cubicBezTo>
                  <a:cubicBezTo>
                    <a:pt x="406001" y="929037"/>
                    <a:pt x="395078" y="930322"/>
                    <a:pt x="385441" y="932249"/>
                  </a:cubicBezTo>
                  <a:cubicBezTo>
                    <a:pt x="375804" y="933534"/>
                    <a:pt x="365524" y="932892"/>
                    <a:pt x="359099" y="932249"/>
                  </a:cubicBezTo>
                  <a:cubicBezTo>
                    <a:pt x="353317" y="931607"/>
                    <a:pt x="349462" y="943171"/>
                    <a:pt x="350104" y="945741"/>
                  </a:cubicBezTo>
                  <a:cubicBezTo>
                    <a:pt x="350747" y="948311"/>
                    <a:pt x="359099" y="959234"/>
                    <a:pt x="359099" y="959234"/>
                  </a:cubicBezTo>
                  <a:cubicBezTo>
                    <a:pt x="359099" y="959234"/>
                    <a:pt x="348819" y="960519"/>
                    <a:pt x="340467" y="962446"/>
                  </a:cubicBezTo>
                  <a:cubicBezTo>
                    <a:pt x="332115" y="963731"/>
                    <a:pt x="332115" y="975296"/>
                    <a:pt x="324405" y="981078"/>
                  </a:cubicBezTo>
                  <a:cubicBezTo>
                    <a:pt x="316695" y="986860"/>
                    <a:pt x="310913" y="983648"/>
                    <a:pt x="305130" y="978508"/>
                  </a:cubicBezTo>
                  <a:cubicBezTo>
                    <a:pt x="298705" y="973368"/>
                    <a:pt x="310913" y="957306"/>
                    <a:pt x="314125" y="948954"/>
                  </a:cubicBezTo>
                  <a:cubicBezTo>
                    <a:pt x="317338" y="940601"/>
                    <a:pt x="299990" y="930964"/>
                    <a:pt x="289068" y="925182"/>
                  </a:cubicBezTo>
                  <a:cubicBezTo>
                    <a:pt x="278146" y="920042"/>
                    <a:pt x="274933" y="912332"/>
                    <a:pt x="271721" y="900767"/>
                  </a:cubicBezTo>
                  <a:cubicBezTo>
                    <a:pt x="269151" y="889203"/>
                    <a:pt x="276218" y="886633"/>
                    <a:pt x="274933" y="882135"/>
                  </a:cubicBezTo>
                  <a:cubicBezTo>
                    <a:pt x="273648" y="877638"/>
                    <a:pt x="249876" y="880850"/>
                    <a:pt x="239597" y="884705"/>
                  </a:cubicBezTo>
                  <a:cubicBezTo>
                    <a:pt x="229317" y="888560"/>
                    <a:pt x="209400" y="893057"/>
                    <a:pt x="198477" y="894342"/>
                  </a:cubicBezTo>
                  <a:cubicBezTo>
                    <a:pt x="196550" y="894342"/>
                    <a:pt x="193980" y="894985"/>
                    <a:pt x="191410" y="895627"/>
                  </a:cubicBezTo>
                  <a:cubicBezTo>
                    <a:pt x="191410" y="894985"/>
                    <a:pt x="190767" y="894342"/>
                    <a:pt x="190767" y="893700"/>
                  </a:cubicBezTo>
                  <a:cubicBezTo>
                    <a:pt x="188198" y="889203"/>
                    <a:pt x="167638" y="864788"/>
                    <a:pt x="170850" y="852581"/>
                  </a:cubicBezTo>
                  <a:cubicBezTo>
                    <a:pt x="173420" y="839731"/>
                    <a:pt x="189482" y="823026"/>
                    <a:pt x="189482" y="808892"/>
                  </a:cubicBezTo>
                  <a:cubicBezTo>
                    <a:pt x="189482" y="794757"/>
                    <a:pt x="180488" y="756850"/>
                    <a:pt x="167638" y="737575"/>
                  </a:cubicBezTo>
                  <a:cubicBezTo>
                    <a:pt x="154788" y="718943"/>
                    <a:pt x="136156" y="700311"/>
                    <a:pt x="124591" y="700954"/>
                  </a:cubicBezTo>
                  <a:cubicBezTo>
                    <a:pt x="113669" y="701596"/>
                    <a:pt x="88612" y="721513"/>
                    <a:pt x="69337" y="724726"/>
                  </a:cubicBezTo>
                  <a:cubicBezTo>
                    <a:pt x="50705" y="728581"/>
                    <a:pt x="23078" y="725368"/>
                    <a:pt x="17938" y="718943"/>
                  </a:cubicBezTo>
                  <a:cubicBezTo>
                    <a:pt x="12798" y="712519"/>
                    <a:pt x="-3264" y="709306"/>
                    <a:pt x="591" y="695171"/>
                  </a:cubicBezTo>
                  <a:cubicBezTo>
                    <a:pt x="4446" y="681037"/>
                    <a:pt x="18581" y="663689"/>
                    <a:pt x="26933" y="648270"/>
                  </a:cubicBezTo>
                  <a:cubicBezTo>
                    <a:pt x="35286" y="632850"/>
                    <a:pt x="34001" y="627710"/>
                    <a:pt x="40425" y="623213"/>
                  </a:cubicBezTo>
                  <a:cubicBezTo>
                    <a:pt x="46850" y="618715"/>
                    <a:pt x="63555" y="611648"/>
                    <a:pt x="71265" y="607793"/>
                  </a:cubicBezTo>
                  <a:cubicBezTo>
                    <a:pt x="78975" y="603938"/>
                    <a:pt x="86042" y="602653"/>
                    <a:pt x="95679" y="601368"/>
                  </a:cubicBezTo>
                  <a:cubicBezTo>
                    <a:pt x="105317" y="600083"/>
                    <a:pt x="107887" y="596871"/>
                    <a:pt x="103389" y="590446"/>
                  </a:cubicBezTo>
                  <a:cubicBezTo>
                    <a:pt x="98892" y="584021"/>
                    <a:pt x="88612" y="551254"/>
                    <a:pt x="80260" y="547399"/>
                  </a:cubicBezTo>
                  <a:cubicBezTo>
                    <a:pt x="71265" y="542902"/>
                    <a:pt x="59058" y="548042"/>
                    <a:pt x="58415" y="535192"/>
                  </a:cubicBezTo>
                  <a:cubicBezTo>
                    <a:pt x="57773" y="522342"/>
                    <a:pt x="62270" y="513347"/>
                    <a:pt x="64197" y="512062"/>
                  </a:cubicBezTo>
                  <a:cubicBezTo>
                    <a:pt x="66767" y="510778"/>
                    <a:pt x="67410" y="510778"/>
                    <a:pt x="68695" y="502425"/>
                  </a:cubicBezTo>
                  <a:cubicBezTo>
                    <a:pt x="69980" y="494073"/>
                    <a:pt x="70622" y="476083"/>
                    <a:pt x="75120" y="475441"/>
                  </a:cubicBezTo>
                  <a:cubicBezTo>
                    <a:pt x="78975" y="474798"/>
                    <a:pt x="96964" y="479295"/>
                    <a:pt x="96964" y="481223"/>
                  </a:cubicBezTo>
                  <a:cubicBezTo>
                    <a:pt x="96964" y="483150"/>
                    <a:pt x="93752" y="487005"/>
                    <a:pt x="98892" y="486363"/>
                  </a:cubicBezTo>
                  <a:cubicBezTo>
                    <a:pt x="104674" y="485720"/>
                    <a:pt x="110457" y="484435"/>
                    <a:pt x="113027" y="477368"/>
                  </a:cubicBezTo>
                  <a:cubicBezTo>
                    <a:pt x="115596" y="470301"/>
                    <a:pt x="117524" y="453596"/>
                    <a:pt x="117524" y="453596"/>
                  </a:cubicBezTo>
                  <a:cubicBezTo>
                    <a:pt x="117524" y="453596"/>
                    <a:pt x="105959" y="438819"/>
                    <a:pt x="104032" y="435606"/>
                  </a:cubicBezTo>
                  <a:cubicBezTo>
                    <a:pt x="102104" y="431751"/>
                    <a:pt x="105317" y="429824"/>
                    <a:pt x="105317" y="424042"/>
                  </a:cubicBezTo>
                  <a:cubicBezTo>
                    <a:pt x="105317" y="422114"/>
                    <a:pt x="105317" y="418902"/>
                    <a:pt x="104674" y="415047"/>
                  </a:cubicBezTo>
                  <a:cubicBezTo>
                    <a:pt x="113027" y="413119"/>
                    <a:pt x="122664" y="407337"/>
                    <a:pt x="125234" y="398985"/>
                  </a:cubicBezTo>
                  <a:cubicBezTo>
                    <a:pt x="129089" y="387420"/>
                    <a:pt x="134871" y="383565"/>
                    <a:pt x="125234" y="382280"/>
                  </a:cubicBezTo>
                  <a:cubicBezTo>
                    <a:pt x="115596" y="380995"/>
                    <a:pt x="104032" y="381638"/>
                    <a:pt x="111099" y="371358"/>
                  </a:cubicBezTo>
                  <a:cubicBezTo>
                    <a:pt x="118166" y="361078"/>
                    <a:pt x="159286" y="325741"/>
                    <a:pt x="160571" y="328311"/>
                  </a:cubicBezTo>
                  <a:cubicBezTo>
                    <a:pt x="161856" y="330881"/>
                    <a:pt x="154146" y="342446"/>
                    <a:pt x="163141" y="343088"/>
                  </a:cubicBezTo>
                  <a:cubicBezTo>
                    <a:pt x="172135" y="343731"/>
                    <a:pt x="191410" y="340518"/>
                    <a:pt x="195265" y="332166"/>
                  </a:cubicBezTo>
                  <a:cubicBezTo>
                    <a:pt x="199120" y="323814"/>
                    <a:pt x="231244" y="260207"/>
                    <a:pt x="239597" y="253783"/>
                  </a:cubicBezTo>
                  <a:cubicBezTo>
                    <a:pt x="248591" y="247358"/>
                    <a:pt x="252446" y="251212"/>
                    <a:pt x="262726" y="242218"/>
                  </a:cubicBezTo>
                  <a:cubicBezTo>
                    <a:pt x="273006" y="233223"/>
                    <a:pt x="285856" y="213948"/>
                    <a:pt x="288426" y="210736"/>
                  </a:cubicBezTo>
                  <a:cubicBezTo>
                    <a:pt x="291638" y="207523"/>
                    <a:pt x="296135" y="202384"/>
                    <a:pt x="294208" y="192104"/>
                  </a:cubicBezTo>
                  <a:cubicBezTo>
                    <a:pt x="292280" y="181824"/>
                    <a:pt x="292923" y="158694"/>
                    <a:pt x="285856" y="161907"/>
                  </a:cubicBezTo>
                  <a:cubicBezTo>
                    <a:pt x="278788" y="165119"/>
                    <a:pt x="268508" y="175399"/>
                    <a:pt x="260156" y="174757"/>
                  </a:cubicBezTo>
                  <a:cubicBezTo>
                    <a:pt x="252446" y="174114"/>
                    <a:pt x="239597" y="172187"/>
                    <a:pt x="246021" y="157409"/>
                  </a:cubicBezTo>
                  <a:cubicBezTo>
                    <a:pt x="252446" y="142632"/>
                    <a:pt x="256301" y="140705"/>
                    <a:pt x="265296" y="131067"/>
                  </a:cubicBezTo>
                  <a:cubicBezTo>
                    <a:pt x="274291" y="121430"/>
                    <a:pt x="283928" y="113720"/>
                    <a:pt x="294208" y="115648"/>
                  </a:cubicBezTo>
                  <a:cubicBezTo>
                    <a:pt x="304488" y="117575"/>
                    <a:pt x="322477" y="116290"/>
                    <a:pt x="329545" y="109223"/>
                  </a:cubicBezTo>
                  <a:cubicBezTo>
                    <a:pt x="336612" y="102156"/>
                    <a:pt x="344964" y="96373"/>
                    <a:pt x="341752" y="89948"/>
                  </a:cubicBezTo>
                  <a:cubicBezTo>
                    <a:pt x="338540" y="83523"/>
                    <a:pt x="321835" y="71959"/>
                    <a:pt x="337897" y="66819"/>
                  </a:cubicBezTo>
                  <a:cubicBezTo>
                    <a:pt x="353959" y="61036"/>
                    <a:pt x="387369" y="56539"/>
                    <a:pt x="388654" y="66819"/>
                  </a:cubicBezTo>
                  <a:cubicBezTo>
                    <a:pt x="389939" y="77099"/>
                    <a:pt x="382229" y="71959"/>
                    <a:pt x="386084" y="81596"/>
                  </a:cubicBezTo>
                  <a:cubicBezTo>
                    <a:pt x="390581" y="91233"/>
                    <a:pt x="398933" y="103440"/>
                    <a:pt x="410498" y="90591"/>
                  </a:cubicBezTo>
                  <a:cubicBezTo>
                    <a:pt x="422063" y="77741"/>
                    <a:pt x="438125" y="71959"/>
                    <a:pt x="451617" y="55254"/>
                  </a:cubicBezTo>
                  <a:cubicBezTo>
                    <a:pt x="459970" y="44974"/>
                    <a:pt x="481814" y="18632"/>
                    <a:pt x="497876" y="0"/>
                  </a:cubicBezTo>
                  <a:cubicBezTo>
                    <a:pt x="498519" y="643"/>
                    <a:pt x="499804" y="1285"/>
                    <a:pt x="500446" y="1927"/>
                  </a:cubicBezTo>
                  <a:cubicBezTo>
                    <a:pt x="509441" y="8995"/>
                    <a:pt x="522291" y="7067"/>
                    <a:pt x="533856" y="7710"/>
                  </a:cubicBezTo>
                  <a:cubicBezTo>
                    <a:pt x="540923" y="8352"/>
                    <a:pt x="547990" y="10280"/>
                    <a:pt x="554415" y="14135"/>
                  </a:cubicBezTo>
                  <a:cubicBezTo>
                    <a:pt x="559555" y="16705"/>
                    <a:pt x="564695" y="20560"/>
                    <a:pt x="565980" y="26342"/>
                  </a:cubicBezTo>
                  <a:cubicBezTo>
                    <a:pt x="567908" y="31482"/>
                    <a:pt x="564695" y="38549"/>
                    <a:pt x="558913" y="39834"/>
                  </a:cubicBezTo>
                  <a:cubicBezTo>
                    <a:pt x="553773" y="41119"/>
                    <a:pt x="547990" y="37907"/>
                    <a:pt x="544135" y="41119"/>
                  </a:cubicBezTo>
                  <a:cubicBezTo>
                    <a:pt x="542851" y="42404"/>
                    <a:pt x="541566" y="43689"/>
                    <a:pt x="541566" y="45617"/>
                  </a:cubicBezTo>
                  <a:cubicBezTo>
                    <a:pt x="537068" y="58466"/>
                    <a:pt x="544135" y="71316"/>
                    <a:pt x="552488" y="82238"/>
                  </a:cubicBezTo>
                  <a:cubicBezTo>
                    <a:pt x="556343" y="87378"/>
                    <a:pt x="560198" y="92518"/>
                    <a:pt x="558913" y="98301"/>
                  </a:cubicBezTo>
                  <a:cubicBezTo>
                    <a:pt x="557628" y="104725"/>
                    <a:pt x="549918" y="107938"/>
                    <a:pt x="542851" y="109223"/>
                  </a:cubicBezTo>
                  <a:cubicBezTo>
                    <a:pt x="535783" y="110508"/>
                    <a:pt x="528716" y="109865"/>
                    <a:pt x="522291" y="112435"/>
                  </a:cubicBezTo>
                  <a:cubicBezTo>
                    <a:pt x="518436" y="122715"/>
                    <a:pt x="528073" y="132352"/>
                    <a:pt x="537711" y="138135"/>
                  </a:cubicBezTo>
                  <a:cubicBezTo>
                    <a:pt x="545421" y="143275"/>
                    <a:pt x="553773" y="147772"/>
                    <a:pt x="562125" y="151627"/>
                  </a:cubicBezTo>
                  <a:cubicBezTo>
                    <a:pt x="565980" y="153555"/>
                    <a:pt x="570478" y="155482"/>
                    <a:pt x="574975" y="155482"/>
                  </a:cubicBezTo>
                  <a:cubicBezTo>
                    <a:pt x="583327" y="155482"/>
                    <a:pt x="589752" y="150342"/>
                    <a:pt x="596177" y="145202"/>
                  </a:cubicBezTo>
                  <a:cubicBezTo>
                    <a:pt x="598104" y="143917"/>
                    <a:pt x="599389" y="142632"/>
                    <a:pt x="600032" y="140705"/>
                  </a:cubicBezTo>
                  <a:cubicBezTo>
                    <a:pt x="601317" y="136207"/>
                    <a:pt x="595534" y="132995"/>
                    <a:pt x="590395" y="132995"/>
                  </a:cubicBezTo>
                  <a:cubicBezTo>
                    <a:pt x="585897" y="132352"/>
                    <a:pt x="580115" y="131710"/>
                    <a:pt x="577545" y="127855"/>
                  </a:cubicBezTo>
                  <a:cubicBezTo>
                    <a:pt x="574975" y="123358"/>
                    <a:pt x="579472" y="118218"/>
                    <a:pt x="583970" y="115648"/>
                  </a:cubicBezTo>
                  <a:cubicBezTo>
                    <a:pt x="598104" y="107295"/>
                    <a:pt x="616737" y="106653"/>
                    <a:pt x="632156" y="113078"/>
                  </a:cubicBezTo>
                  <a:cubicBezTo>
                    <a:pt x="632156" y="114363"/>
                    <a:pt x="632799" y="115005"/>
                    <a:pt x="632799" y="116290"/>
                  </a:cubicBezTo>
                  <a:cubicBezTo>
                    <a:pt x="634084" y="125285"/>
                    <a:pt x="636011" y="134922"/>
                    <a:pt x="639866" y="143275"/>
                  </a:cubicBezTo>
                  <a:cubicBezTo>
                    <a:pt x="643721" y="152269"/>
                    <a:pt x="649503" y="159979"/>
                    <a:pt x="657856" y="165119"/>
                  </a:cubicBezTo>
                  <a:cubicBezTo>
                    <a:pt x="662996" y="167689"/>
                    <a:pt x="669421" y="169617"/>
                    <a:pt x="673918" y="173472"/>
                  </a:cubicBezTo>
                  <a:cubicBezTo>
                    <a:pt x="677773" y="177326"/>
                    <a:pt x="680343" y="182466"/>
                    <a:pt x="682270" y="187606"/>
                  </a:cubicBezTo>
                  <a:cubicBezTo>
                    <a:pt x="686125" y="197886"/>
                    <a:pt x="689980" y="207523"/>
                    <a:pt x="693835" y="217803"/>
                  </a:cubicBezTo>
                  <a:cubicBezTo>
                    <a:pt x="695763" y="222301"/>
                    <a:pt x="697048" y="226798"/>
                    <a:pt x="699617" y="230653"/>
                  </a:cubicBezTo>
                  <a:cubicBezTo>
                    <a:pt x="702187" y="233865"/>
                    <a:pt x="705400" y="236435"/>
                    <a:pt x="707327" y="240290"/>
                  </a:cubicBezTo>
                  <a:cubicBezTo>
                    <a:pt x="708612" y="248000"/>
                    <a:pt x="710540" y="254425"/>
                    <a:pt x="708612" y="260207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 466">
              <a:extLst>
                <a:ext uri="{FF2B5EF4-FFF2-40B4-BE49-F238E27FC236}">
                  <a16:creationId xmlns:a16="http://schemas.microsoft.com/office/drawing/2014/main" id="{09202F6C-6296-805B-4FD3-6F0FA7170047}"/>
                </a:ext>
              </a:extLst>
            </p:cNvPr>
            <p:cNvSpPr/>
            <p:nvPr/>
          </p:nvSpPr>
          <p:spPr>
            <a:xfrm>
              <a:off x="1854231" y="4557865"/>
              <a:ext cx="317190" cy="231937"/>
            </a:xfrm>
            <a:custGeom>
              <a:avLst/>
              <a:gdLst>
                <a:gd name="connsiteX0" fmla="*/ 313618 w 317190"/>
                <a:gd name="connsiteY0" fmla="*/ 212663 h 231937"/>
                <a:gd name="connsiteX1" fmla="*/ 314261 w 317190"/>
                <a:gd name="connsiteY1" fmla="*/ 213306 h 231937"/>
                <a:gd name="connsiteX2" fmla="*/ 312333 w 317190"/>
                <a:gd name="connsiteY2" fmla="*/ 215876 h 231937"/>
                <a:gd name="connsiteX3" fmla="*/ 291774 w 317190"/>
                <a:gd name="connsiteY3" fmla="*/ 226798 h 231937"/>
                <a:gd name="connsiteX4" fmla="*/ 266717 w 317190"/>
                <a:gd name="connsiteY4" fmla="*/ 231938 h 231937"/>
                <a:gd name="connsiteX5" fmla="*/ 255152 w 317190"/>
                <a:gd name="connsiteY5" fmla="*/ 228083 h 231937"/>
                <a:gd name="connsiteX6" fmla="*/ 229452 w 317190"/>
                <a:gd name="connsiteY6" fmla="*/ 226155 h 231937"/>
                <a:gd name="connsiteX7" fmla="*/ 211463 w 317190"/>
                <a:gd name="connsiteY7" fmla="*/ 213948 h 231937"/>
                <a:gd name="connsiteX8" fmla="*/ 201826 w 317190"/>
                <a:gd name="connsiteY8" fmla="*/ 197886 h 231937"/>
                <a:gd name="connsiteX9" fmla="*/ 184478 w 317190"/>
                <a:gd name="connsiteY9" fmla="*/ 183751 h 231937"/>
                <a:gd name="connsiteX10" fmla="*/ 166489 w 317190"/>
                <a:gd name="connsiteY10" fmla="*/ 176684 h 231937"/>
                <a:gd name="connsiteX11" fmla="*/ 154281 w 317190"/>
                <a:gd name="connsiteY11" fmla="*/ 190819 h 231937"/>
                <a:gd name="connsiteX12" fmla="*/ 155566 w 317190"/>
                <a:gd name="connsiteY12" fmla="*/ 204953 h 231937"/>
                <a:gd name="connsiteX13" fmla="*/ 127297 w 317190"/>
                <a:gd name="connsiteY13" fmla="*/ 206881 h 231937"/>
                <a:gd name="connsiteX14" fmla="*/ 110592 w 317190"/>
                <a:gd name="connsiteY14" fmla="*/ 199813 h 231937"/>
                <a:gd name="connsiteX15" fmla="*/ 109307 w 317190"/>
                <a:gd name="connsiteY15" fmla="*/ 186964 h 231937"/>
                <a:gd name="connsiteX16" fmla="*/ 102882 w 317190"/>
                <a:gd name="connsiteY16" fmla="*/ 177969 h 231937"/>
                <a:gd name="connsiteX17" fmla="*/ 99028 w 317190"/>
                <a:gd name="connsiteY17" fmla="*/ 168332 h 231937"/>
                <a:gd name="connsiteX18" fmla="*/ 94530 w 317190"/>
                <a:gd name="connsiteY18" fmla="*/ 151627 h 231937"/>
                <a:gd name="connsiteX19" fmla="*/ 82965 w 317190"/>
                <a:gd name="connsiteY19" fmla="*/ 131067 h 231937"/>
                <a:gd name="connsiteX20" fmla="*/ 75256 w 317190"/>
                <a:gd name="connsiteY20" fmla="*/ 118860 h 231937"/>
                <a:gd name="connsiteX21" fmla="*/ 70116 w 317190"/>
                <a:gd name="connsiteY21" fmla="*/ 106010 h 231937"/>
                <a:gd name="connsiteX22" fmla="*/ 62406 w 317190"/>
                <a:gd name="connsiteY22" fmla="*/ 93161 h 231937"/>
                <a:gd name="connsiteX23" fmla="*/ 46344 w 317190"/>
                <a:gd name="connsiteY23" fmla="*/ 75171 h 231937"/>
                <a:gd name="connsiteX24" fmla="*/ 26427 w 317190"/>
                <a:gd name="connsiteY24" fmla="*/ 68104 h 231937"/>
                <a:gd name="connsiteX25" fmla="*/ 7152 w 317190"/>
                <a:gd name="connsiteY25" fmla="*/ 71958 h 231937"/>
                <a:gd name="connsiteX26" fmla="*/ 2654 w 317190"/>
                <a:gd name="connsiteY26" fmla="*/ 61679 h 231937"/>
                <a:gd name="connsiteX27" fmla="*/ 12292 w 317190"/>
                <a:gd name="connsiteY27" fmla="*/ 44332 h 231937"/>
                <a:gd name="connsiteX28" fmla="*/ 11007 w 317190"/>
                <a:gd name="connsiteY28" fmla="*/ 34052 h 231937"/>
                <a:gd name="connsiteX29" fmla="*/ 68831 w 317190"/>
                <a:gd name="connsiteY29" fmla="*/ 39834 h 231937"/>
                <a:gd name="connsiteX30" fmla="*/ 152354 w 317190"/>
                <a:gd name="connsiteY30" fmla="*/ 20559 h 231937"/>
                <a:gd name="connsiteX31" fmla="*/ 188333 w 317190"/>
                <a:gd name="connsiteY31" fmla="*/ 0 h 231937"/>
                <a:gd name="connsiteX32" fmla="*/ 247442 w 317190"/>
                <a:gd name="connsiteY32" fmla="*/ 20559 h 231937"/>
                <a:gd name="connsiteX33" fmla="*/ 287276 w 317190"/>
                <a:gd name="connsiteY33" fmla="*/ 37264 h 231937"/>
                <a:gd name="connsiteX34" fmla="*/ 300126 w 317190"/>
                <a:gd name="connsiteY34" fmla="*/ 97015 h 231937"/>
                <a:gd name="connsiteX35" fmla="*/ 315546 w 317190"/>
                <a:gd name="connsiteY35" fmla="*/ 122073 h 231937"/>
                <a:gd name="connsiteX36" fmla="*/ 312333 w 317190"/>
                <a:gd name="connsiteY36" fmla="*/ 146487 h 231937"/>
                <a:gd name="connsiteX37" fmla="*/ 283421 w 317190"/>
                <a:gd name="connsiteY37" fmla="*/ 174114 h 231937"/>
                <a:gd name="connsiteX38" fmla="*/ 313618 w 317190"/>
                <a:gd name="connsiteY38" fmla="*/ 212663 h 23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17190" h="231937">
                  <a:moveTo>
                    <a:pt x="313618" y="212663"/>
                  </a:moveTo>
                  <a:cubicBezTo>
                    <a:pt x="313618" y="212663"/>
                    <a:pt x="314261" y="213306"/>
                    <a:pt x="314261" y="213306"/>
                  </a:cubicBezTo>
                  <a:cubicBezTo>
                    <a:pt x="313618" y="213948"/>
                    <a:pt x="312976" y="214591"/>
                    <a:pt x="312333" y="215876"/>
                  </a:cubicBezTo>
                  <a:cubicBezTo>
                    <a:pt x="307836" y="221016"/>
                    <a:pt x="293701" y="225513"/>
                    <a:pt x="291774" y="226798"/>
                  </a:cubicBezTo>
                  <a:cubicBezTo>
                    <a:pt x="289846" y="228083"/>
                    <a:pt x="270572" y="231938"/>
                    <a:pt x="266717" y="231938"/>
                  </a:cubicBezTo>
                  <a:cubicBezTo>
                    <a:pt x="262862" y="231938"/>
                    <a:pt x="256437" y="228725"/>
                    <a:pt x="255152" y="228083"/>
                  </a:cubicBezTo>
                  <a:cubicBezTo>
                    <a:pt x="253867" y="228083"/>
                    <a:pt x="238447" y="230010"/>
                    <a:pt x="229452" y="226155"/>
                  </a:cubicBezTo>
                  <a:cubicBezTo>
                    <a:pt x="220458" y="222300"/>
                    <a:pt x="211463" y="213948"/>
                    <a:pt x="211463" y="213948"/>
                  </a:cubicBezTo>
                  <a:cubicBezTo>
                    <a:pt x="211463" y="213948"/>
                    <a:pt x="206323" y="203668"/>
                    <a:pt x="201826" y="197886"/>
                  </a:cubicBezTo>
                  <a:cubicBezTo>
                    <a:pt x="197328" y="191461"/>
                    <a:pt x="188976" y="185679"/>
                    <a:pt x="184478" y="183751"/>
                  </a:cubicBezTo>
                  <a:cubicBezTo>
                    <a:pt x="179981" y="182466"/>
                    <a:pt x="169059" y="174756"/>
                    <a:pt x="166489" y="176684"/>
                  </a:cubicBezTo>
                  <a:cubicBezTo>
                    <a:pt x="163919" y="178611"/>
                    <a:pt x="152354" y="184394"/>
                    <a:pt x="154281" y="190819"/>
                  </a:cubicBezTo>
                  <a:cubicBezTo>
                    <a:pt x="156209" y="197243"/>
                    <a:pt x="161991" y="200456"/>
                    <a:pt x="155566" y="204953"/>
                  </a:cubicBezTo>
                  <a:cubicBezTo>
                    <a:pt x="149142" y="209451"/>
                    <a:pt x="131794" y="210093"/>
                    <a:pt x="127297" y="206881"/>
                  </a:cubicBezTo>
                  <a:cubicBezTo>
                    <a:pt x="122800" y="203668"/>
                    <a:pt x="111877" y="208166"/>
                    <a:pt x="110592" y="199813"/>
                  </a:cubicBezTo>
                  <a:cubicBezTo>
                    <a:pt x="109307" y="191461"/>
                    <a:pt x="109950" y="188891"/>
                    <a:pt x="109307" y="186964"/>
                  </a:cubicBezTo>
                  <a:cubicBezTo>
                    <a:pt x="109307" y="185036"/>
                    <a:pt x="104810" y="180539"/>
                    <a:pt x="102882" y="177969"/>
                  </a:cubicBezTo>
                  <a:cubicBezTo>
                    <a:pt x="100955" y="174756"/>
                    <a:pt x="99028" y="168332"/>
                    <a:pt x="99028" y="168332"/>
                  </a:cubicBezTo>
                  <a:cubicBezTo>
                    <a:pt x="99028" y="168332"/>
                    <a:pt x="97743" y="159337"/>
                    <a:pt x="94530" y="151627"/>
                  </a:cubicBezTo>
                  <a:cubicBezTo>
                    <a:pt x="91318" y="143917"/>
                    <a:pt x="86178" y="134922"/>
                    <a:pt x="82965" y="131067"/>
                  </a:cubicBezTo>
                  <a:cubicBezTo>
                    <a:pt x="79753" y="127855"/>
                    <a:pt x="75898" y="122073"/>
                    <a:pt x="75256" y="118860"/>
                  </a:cubicBezTo>
                  <a:cubicBezTo>
                    <a:pt x="74613" y="115648"/>
                    <a:pt x="71401" y="107295"/>
                    <a:pt x="70116" y="106010"/>
                  </a:cubicBezTo>
                  <a:cubicBezTo>
                    <a:pt x="68831" y="104725"/>
                    <a:pt x="62406" y="93161"/>
                    <a:pt x="62406" y="93161"/>
                  </a:cubicBezTo>
                  <a:cubicBezTo>
                    <a:pt x="62406" y="93161"/>
                    <a:pt x="50199" y="77741"/>
                    <a:pt x="46344" y="75171"/>
                  </a:cubicBezTo>
                  <a:cubicBezTo>
                    <a:pt x="43131" y="73244"/>
                    <a:pt x="32851" y="68104"/>
                    <a:pt x="26427" y="68104"/>
                  </a:cubicBezTo>
                  <a:cubicBezTo>
                    <a:pt x="20002" y="68104"/>
                    <a:pt x="9722" y="71958"/>
                    <a:pt x="7152" y="71958"/>
                  </a:cubicBezTo>
                  <a:cubicBezTo>
                    <a:pt x="4582" y="71958"/>
                    <a:pt x="-4413" y="71958"/>
                    <a:pt x="2654" y="61679"/>
                  </a:cubicBezTo>
                  <a:cubicBezTo>
                    <a:pt x="9722" y="51399"/>
                    <a:pt x="12292" y="48829"/>
                    <a:pt x="12292" y="44332"/>
                  </a:cubicBezTo>
                  <a:cubicBezTo>
                    <a:pt x="12292" y="41762"/>
                    <a:pt x="11007" y="38549"/>
                    <a:pt x="11007" y="34052"/>
                  </a:cubicBezTo>
                  <a:cubicBezTo>
                    <a:pt x="30281" y="37264"/>
                    <a:pt x="59836" y="41762"/>
                    <a:pt x="68831" y="39834"/>
                  </a:cubicBezTo>
                  <a:cubicBezTo>
                    <a:pt x="82965" y="37264"/>
                    <a:pt x="134364" y="32124"/>
                    <a:pt x="152354" y="20559"/>
                  </a:cubicBezTo>
                  <a:cubicBezTo>
                    <a:pt x="170344" y="8995"/>
                    <a:pt x="164561" y="0"/>
                    <a:pt x="188333" y="0"/>
                  </a:cubicBezTo>
                  <a:cubicBezTo>
                    <a:pt x="212105" y="0"/>
                    <a:pt x="229452" y="12850"/>
                    <a:pt x="247442" y="20559"/>
                  </a:cubicBezTo>
                  <a:cubicBezTo>
                    <a:pt x="265432" y="27627"/>
                    <a:pt x="283421" y="29554"/>
                    <a:pt x="287276" y="37264"/>
                  </a:cubicBezTo>
                  <a:cubicBezTo>
                    <a:pt x="291131" y="44974"/>
                    <a:pt x="296914" y="84808"/>
                    <a:pt x="300126" y="97015"/>
                  </a:cubicBezTo>
                  <a:cubicBezTo>
                    <a:pt x="303338" y="109865"/>
                    <a:pt x="312976" y="118860"/>
                    <a:pt x="315546" y="122073"/>
                  </a:cubicBezTo>
                  <a:cubicBezTo>
                    <a:pt x="318116" y="125285"/>
                    <a:pt x="318116" y="140062"/>
                    <a:pt x="312333" y="146487"/>
                  </a:cubicBezTo>
                  <a:cubicBezTo>
                    <a:pt x="306551" y="152912"/>
                    <a:pt x="280851" y="159337"/>
                    <a:pt x="283421" y="174114"/>
                  </a:cubicBezTo>
                  <a:cubicBezTo>
                    <a:pt x="287919" y="187606"/>
                    <a:pt x="298199" y="199171"/>
                    <a:pt x="313618" y="212663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 467">
              <a:extLst>
                <a:ext uri="{FF2B5EF4-FFF2-40B4-BE49-F238E27FC236}">
                  <a16:creationId xmlns:a16="http://schemas.microsoft.com/office/drawing/2014/main" id="{923E5C5C-F69D-20CC-8609-24B622FB02A0}"/>
                </a:ext>
              </a:extLst>
            </p:cNvPr>
            <p:cNvSpPr/>
            <p:nvPr/>
          </p:nvSpPr>
          <p:spPr>
            <a:xfrm>
              <a:off x="1854231" y="4557865"/>
              <a:ext cx="317190" cy="231937"/>
            </a:xfrm>
            <a:custGeom>
              <a:avLst/>
              <a:gdLst>
                <a:gd name="connsiteX0" fmla="*/ 313618 w 317190"/>
                <a:gd name="connsiteY0" fmla="*/ 212663 h 231937"/>
                <a:gd name="connsiteX1" fmla="*/ 314261 w 317190"/>
                <a:gd name="connsiteY1" fmla="*/ 213306 h 231937"/>
                <a:gd name="connsiteX2" fmla="*/ 312333 w 317190"/>
                <a:gd name="connsiteY2" fmla="*/ 215876 h 231937"/>
                <a:gd name="connsiteX3" fmla="*/ 291774 w 317190"/>
                <a:gd name="connsiteY3" fmla="*/ 226798 h 231937"/>
                <a:gd name="connsiteX4" fmla="*/ 266717 w 317190"/>
                <a:gd name="connsiteY4" fmla="*/ 231938 h 231937"/>
                <a:gd name="connsiteX5" fmla="*/ 255152 w 317190"/>
                <a:gd name="connsiteY5" fmla="*/ 228083 h 231937"/>
                <a:gd name="connsiteX6" fmla="*/ 229452 w 317190"/>
                <a:gd name="connsiteY6" fmla="*/ 226155 h 231937"/>
                <a:gd name="connsiteX7" fmla="*/ 211463 w 317190"/>
                <a:gd name="connsiteY7" fmla="*/ 213948 h 231937"/>
                <a:gd name="connsiteX8" fmla="*/ 201826 w 317190"/>
                <a:gd name="connsiteY8" fmla="*/ 197886 h 231937"/>
                <a:gd name="connsiteX9" fmla="*/ 184478 w 317190"/>
                <a:gd name="connsiteY9" fmla="*/ 183751 h 231937"/>
                <a:gd name="connsiteX10" fmla="*/ 166489 w 317190"/>
                <a:gd name="connsiteY10" fmla="*/ 176684 h 231937"/>
                <a:gd name="connsiteX11" fmla="*/ 154281 w 317190"/>
                <a:gd name="connsiteY11" fmla="*/ 190819 h 231937"/>
                <a:gd name="connsiteX12" fmla="*/ 155566 w 317190"/>
                <a:gd name="connsiteY12" fmla="*/ 204953 h 231937"/>
                <a:gd name="connsiteX13" fmla="*/ 127297 w 317190"/>
                <a:gd name="connsiteY13" fmla="*/ 206881 h 231937"/>
                <a:gd name="connsiteX14" fmla="*/ 110592 w 317190"/>
                <a:gd name="connsiteY14" fmla="*/ 199813 h 231937"/>
                <a:gd name="connsiteX15" fmla="*/ 109307 w 317190"/>
                <a:gd name="connsiteY15" fmla="*/ 186964 h 231937"/>
                <a:gd name="connsiteX16" fmla="*/ 102882 w 317190"/>
                <a:gd name="connsiteY16" fmla="*/ 177969 h 231937"/>
                <a:gd name="connsiteX17" fmla="*/ 99028 w 317190"/>
                <a:gd name="connsiteY17" fmla="*/ 168332 h 231937"/>
                <a:gd name="connsiteX18" fmla="*/ 94530 w 317190"/>
                <a:gd name="connsiteY18" fmla="*/ 151627 h 231937"/>
                <a:gd name="connsiteX19" fmla="*/ 82965 w 317190"/>
                <a:gd name="connsiteY19" fmla="*/ 131067 h 231937"/>
                <a:gd name="connsiteX20" fmla="*/ 75256 w 317190"/>
                <a:gd name="connsiteY20" fmla="*/ 118860 h 231937"/>
                <a:gd name="connsiteX21" fmla="*/ 70116 w 317190"/>
                <a:gd name="connsiteY21" fmla="*/ 106010 h 231937"/>
                <a:gd name="connsiteX22" fmla="*/ 62406 w 317190"/>
                <a:gd name="connsiteY22" fmla="*/ 93161 h 231937"/>
                <a:gd name="connsiteX23" fmla="*/ 46344 w 317190"/>
                <a:gd name="connsiteY23" fmla="*/ 75171 h 231937"/>
                <a:gd name="connsiteX24" fmla="*/ 26427 w 317190"/>
                <a:gd name="connsiteY24" fmla="*/ 68104 h 231937"/>
                <a:gd name="connsiteX25" fmla="*/ 7152 w 317190"/>
                <a:gd name="connsiteY25" fmla="*/ 71958 h 231937"/>
                <a:gd name="connsiteX26" fmla="*/ 2654 w 317190"/>
                <a:gd name="connsiteY26" fmla="*/ 61679 h 231937"/>
                <a:gd name="connsiteX27" fmla="*/ 12292 w 317190"/>
                <a:gd name="connsiteY27" fmla="*/ 44332 h 231937"/>
                <a:gd name="connsiteX28" fmla="*/ 11007 w 317190"/>
                <a:gd name="connsiteY28" fmla="*/ 34052 h 231937"/>
                <a:gd name="connsiteX29" fmla="*/ 68831 w 317190"/>
                <a:gd name="connsiteY29" fmla="*/ 39834 h 231937"/>
                <a:gd name="connsiteX30" fmla="*/ 152354 w 317190"/>
                <a:gd name="connsiteY30" fmla="*/ 20559 h 231937"/>
                <a:gd name="connsiteX31" fmla="*/ 188333 w 317190"/>
                <a:gd name="connsiteY31" fmla="*/ 0 h 231937"/>
                <a:gd name="connsiteX32" fmla="*/ 247442 w 317190"/>
                <a:gd name="connsiteY32" fmla="*/ 20559 h 231937"/>
                <a:gd name="connsiteX33" fmla="*/ 287276 w 317190"/>
                <a:gd name="connsiteY33" fmla="*/ 37264 h 231937"/>
                <a:gd name="connsiteX34" fmla="*/ 300126 w 317190"/>
                <a:gd name="connsiteY34" fmla="*/ 97015 h 231937"/>
                <a:gd name="connsiteX35" fmla="*/ 315546 w 317190"/>
                <a:gd name="connsiteY35" fmla="*/ 122073 h 231937"/>
                <a:gd name="connsiteX36" fmla="*/ 312333 w 317190"/>
                <a:gd name="connsiteY36" fmla="*/ 146487 h 231937"/>
                <a:gd name="connsiteX37" fmla="*/ 283421 w 317190"/>
                <a:gd name="connsiteY37" fmla="*/ 174114 h 231937"/>
                <a:gd name="connsiteX38" fmla="*/ 313618 w 317190"/>
                <a:gd name="connsiteY38" fmla="*/ 212663 h 23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17190" h="231937">
                  <a:moveTo>
                    <a:pt x="313618" y="212663"/>
                  </a:moveTo>
                  <a:cubicBezTo>
                    <a:pt x="313618" y="212663"/>
                    <a:pt x="314261" y="213306"/>
                    <a:pt x="314261" y="213306"/>
                  </a:cubicBezTo>
                  <a:cubicBezTo>
                    <a:pt x="313618" y="213948"/>
                    <a:pt x="312976" y="214591"/>
                    <a:pt x="312333" y="215876"/>
                  </a:cubicBezTo>
                  <a:cubicBezTo>
                    <a:pt x="307836" y="221016"/>
                    <a:pt x="293701" y="225513"/>
                    <a:pt x="291774" y="226798"/>
                  </a:cubicBezTo>
                  <a:cubicBezTo>
                    <a:pt x="289846" y="228083"/>
                    <a:pt x="270572" y="231938"/>
                    <a:pt x="266717" y="231938"/>
                  </a:cubicBezTo>
                  <a:cubicBezTo>
                    <a:pt x="262862" y="231938"/>
                    <a:pt x="256437" y="228725"/>
                    <a:pt x="255152" y="228083"/>
                  </a:cubicBezTo>
                  <a:cubicBezTo>
                    <a:pt x="253867" y="228083"/>
                    <a:pt x="238447" y="230010"/>
                    <a:pt x="229452" y="226155"/>
                  </a:cubicBezTo>
                  <a:cubicBezTo>
                    <a:pt x="220458" y="222300"/>
                    <a:pt x="211463" y="213948"/>
                    <a:pt x="211463" y="213948"/>
                  </a:cubicBezTo>
                  <a:cubicBezTo>
                    <a:pt x="211463" y="213948"/>
                    <a:pt x="206323" y="203668"/>
                    <a:pt x="201826" y="197886"/>
                  </a:cubicBezTo>
                  <a:cubicBezTo>
                    <a:pt x="197328" y="191461"/>
                    <a:pt x="188976" y="185679"/>
                    <a:pt x="184478" y="183751"/>
                  </a:cubicBezTo>
                  <a:cubicBezTo>
                    <a:pt x="179981" y="182466"/>
                    <a:pt x="169059" y="174756"/>
                    <a:pt x="166489" y="176684"/>
                  </a:cubicBezTo>
                  <a:cubicBezTo>
                    <a:pt x="163919" y="178611"/>
                    <a:pt x="152354" y="184394"/>
                    <a:pt x="154281" y="190819"/>
                  </a:cubicBezTo>
                  <a:cubicBezTo>
                    <a:pt x="156209" y="197243"/>
                    <a:pt x="161991" y="200456"/>
                    <a:pt x="155566" y="204953"/>
                  </a:cubicBezTo>
                  <a:cubicBezTo>
                    <a:pt x="149142" y="209451"/>
                    <a:pt x="131794" y="210093"/>
                    <a:pt x="127297" y="206881"/>
                  </a:cubicBezTo>
                  <a:cubicBezTo>
                    <a:pt x="122800" y="203668"/>
                    <a:pt x="111877" y="208166"/>
                    <a:pt x="110592" y="199813"/>
                  </a:cubicBezTo>
                  <a:cubicBezTo>
                    <a:pt x="109307" y="191461"/>
                    <a:pt x="109950" y="188891"/>
                    <a:pt x="109307" y="186964"/>
                  </a:cubicBezTo>
                  <a:cubicBezTo>
                    <a:pt x="109307" y="185036"/>
                    <a:pt x="104810" y="180539"/>
                    <a:pt x="102882" y="177969"/>
                  </a:cubicBezTo>
                  <a:cubicBezTo>
                    <a:pt x="100955" y="174756"/>
                    <a:pt x="99028" y="168332"/>
                    <a:pt x="99028" y="168332"/>
                  </a:cubicBezTo>
                  <a:cubicBezTo>
                    <a:pt x="99028" y="168332"/>
                    <a:pt x="97743" y="159337"/>
                    <a:pt x="94530" y="151627"/>
                  </a:cubicBezTo>
                  <a:cubicBezTo>
                    <a:pt x="91318" y="143917"/>
                    <a:pt x="86178" y="134922"/>
                    <a:pt x="82965" y="131067"/>
                  </a:cubicBezTo>
                  <a:cubicBezTo>
                    <a:pt x="79753" y="127855"/>
                    <a:pt x="75898" y="122073"/>
                    <a:pt x="75256" y="118860"/>
                  </a:cubicBezTo>
                  <a:cubicBezTo>
                    <a:pt x="74613" y="115648"/>
                    <a:pt x="71401" y="107295"/>
                    <a:pt x="70116" y="106010"/>
                  </a:cubicBezTo>
                  <a:cubicBezTo>
                    <a:pt x="68831" y="104725"/>
                    <a:pt x="62406" y="93161"/>
                    <a:pt x="62406" y="93161"/>
                  </a:cubicBezTo>
                  <a:cubicBezTo>
                    <a:pt x="62406" y="93161"/>
                    <a:pt x="50199" y="77741"/>
                    <a:pt x="46344" y="75171"/>
                  </a:cubicBezTo>
                  <a:cubicBezTo>
                    <a:pt x="43131" y="73244"/>
                    <a:pt x="32851" y="68104"/>
                    <a:pt x="26427" y="68104"/>
                  </a:cubicBezTo>
                  <a:cubicBezTo>
                    <a:pt x="20002" y="68104"/>
                    <a:pt x="9722" y="71958"/>
                    <a:pt x="7152" y="71958"/>
                  </a:cubicBezTo>
                  <a:cubicBezTo>
                    <a:pt x="4582" y="71958"/>
                    <a:pt x="-4413" y="71958"/>
                    <a:pt x="2654" y="61679"/>
                  </a:cubicBezTo>
                  <a:cubicBezTo>
                    <a:pt x="9722" y="51399"/>
                    <a:pt x="12292" y="48829"/>
                    <a:pt x="12292" y="44332"/>
                  </a:cubicBezTo>
                  <a:cubicBezTo>
                    <a:pt x="12292" y="41762"/>
                    <a:pt x="11007" y="38549"/>
                    <a:pt x="11007" y="34052"/>
                  </a:cubicBezTo>
                  <a:cubicBezTo>
                    <a:pt x="30281" y="37264"/>
                    <a:pt x="59836" y="41762"/>
                    <a:pt x="68831" y="39834"/>
                  </a:cubicBezTo>
                  <a:cubicBezTo>
                    <a:pt x="82965" y="37264"/>
                    <a:pt x="134364" y="32124"/>
                    <a:pt x="152354" y="20559"/>
                  </a:cubicBezTo>
                  <a:cubicBezTo>
                    <a:pt x="170344" y="8995"/>
                    <a:pt x="164561" y="0"/>
                    <a:pt x="188333" y="0"/>
                  </a:cubicBezTo>
                  <a:cubicBezTo>
                    <a:pt x="212105" y="0"/>
                    <a:pt x="229452" y="12850"/>
                    <a:pt x="247442" y="20559"/>
                  </a:cubicBezTo>
                  <a:cubicBezTo>
                    <a:pt x="265432" y="27627"/>
                    <a:pt x="283421" y="29554"/>
                    <a:pt x="287276" y="37264"/>
                  </a:cubicBezTo>
                  <a:cubicBezTo>
                    <a:pt x="291131" y="44974"/>
                    <a:pt x="296914" y="84808"/>
                    <a:pt x="300126" y="97015"/>
                  </a:cubicBezTo>
                  <a:cubicBezTo>
                    <a:pt x="303338" y="109865"/>
                    <a:pt x="312976" y="118860"/>
                    <a:pt x="315546" y="122073"/>
                  </a:cubicBezTo>
                  <a:cubicBezTo>
                    <a:pt x="318116" y="125285"/>
                    <a:pt x="318116" y="140062"/>
                    <a:pt x="312333" y="146487"/>
                  </a:cubicBezTo>
                  <a:cubicBezTo>
                    <a:pt x="306551" y="152912"/>
                    <a:pt x="280851" y="159337"/>
                    <a:pt x="283421" y="174114"/>
                  </a:cubicBezTo>
                  <a:cubicBezTo>
                    <a:pt x="287919" y="187606"/>
                    <a:pt x="298199" y="199171"/>
                    <a:pt x="313618" y="212663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 468">
              <a:extLst>
                <a:ext uri="{FF2B5EF4-FFF2-40B4-BE49-F238E27FC236}">
                  <a16:creationId xmlns:a16="http://schemas.microsoft.com/office/drawing/2014/main" id="{227F54B7-CEF1-9274-94FB-A2EE1FF0DD6F}"/>
                </a:ext>
              </a:extLst>
            </p:cNvPr>
            <p:cNvSpPr/>
            <p:nvPr/>
          </p:nvSpPr>
          <p:spPr>
            <a:xfrm>
              <a:off x="1798930" y="3998730"/>
              <a:ext cx="714516" cy="858533"/>
            </a:xfrm>
            <a:custGeom>
              <a:avLst/>
              <a:gdLst>
                <a:gd name="connsiteX0" fmla="*/ 701727 w 714516"/>
                <a:gd name="connsiteY0" fmla="*/ 708191 h 858533"/>
                <a:gd name="connsiteX1" fmla="*/ 673458 w 714516"/>
                <a:gd name="connsiteY1" fmla="*/ 740958 h 858533"/>
                <a:gd name="connsiteX2" fmla="*/ 670245 w 714516"/>
                <a:gd name="connsiteY2" fmla="*/ 768585 h 858533"/>
                <a:gd name="connsiteX3" fmla="*/ 662536 w 714516"/>
                <a:gd name="connsiteY3" fmla="*/ 804565 h 858533"/>
                <a:gd name="connsiteX4" fmla="*/ 623986 w 714516"/>
                <a:gd name="connsiteY4" fmla="*/ 854679 h 858533"/>
                <a:gd name="connsiteX5" fmla="*/ 613064 w 714516"/>
                <a:gd name="connsiteY5" fmla="*/ 858533 h 858533"/>
                <a:gd name="connsiteX6" fmla="*/ 612422 w 714516"/>
                <a:gd name="connsiteY6" fmla="*/ 855964 h 858533"/>
                <a:gd name="connsiteX7" fmla="*/ 602784 w 714516"/>
                <a:gd name="connsiteY7" fmla="*/ 847611 h 858533"/>
                <a:gd name="connsiteX8" fmla="*/ 554598 w 714516"/>
                <a:gd name="connsiteY8" fmla="*/ 830264 h 858533"/>
                <a:gd name="connsiteX9" fmla="*/ 541105 w 714516"/>
                <a:gd name="connsiteY9" fmla="*/ 819342 h 858533"/>
                <a:gd name="connsiteX10" fmla="*/ 514121 w 714516"/>
                <a:gd name="connsiteY10" fmla="*/ 818057 h 858533"/>
                <a:gd name="connsiteX11" fmla="*/ 512836 w 714516"/>
                <a:gd name="connsiteY11" fmla="*/ 818057 h 858533"/>
                <a:gd name="connsiteX12" fmla="*/ 512194 w 714516"/>
                <a:gd name="connsiteY12" fmla="*/ 818057 h 858533"/>
                <a:gd name="connsiteX13" fmla="*/ 510266 w 714516"/>
                <a:gd name="connsiteY13" fmla="*/ 818057 h 858533"/>
                <a:gd name="connsiteX14" fmla="*/ 508981 w 714516"/>
                <a:gd name="connsiteY14" fmla="*/ 818057 h 858533"/>
                <a:gd name="connsiteX15" fmla="*/ 506411 w 714516"/>
                <a:gd name="connsiteY15" fmla="*/ 818057 h 858533"/>
                <a:gd name="connsiteX16" fmla="*/ 502556 w 714516"/>
                <a:gd name="connsiteY16" fmla="*/ 818057 h 858533"/>
                <a:gd name="connsiteX17" fmla="*/ 449872 w 714516"/>
                <a:gd name="connsiteY17" fmla="*/ 814202 h 858533"/>
                <a:gd name="connsiteX18" fmla="*/ 429955 w 714516"/>
                <a:gd name="connsiteY18" fmla="*/ 796212 h 858533"/>
                <a:gd name="connsiteX19" fmla="*/ 402328 w 714516"/>
                <a:gd name="connsiteY19" fmla="*/ 766015 h 858533"/>
                <a:gd name="connsiteX20" fmla="*/ 378556 w 714516"/>
                <a:gd name="connsiteY20" fmla="*/ 760233 h 858533"/>
                <a:gd name="connsiteX21" fmla="*/ 370846 w 714516"/>
                <a:gd name="connsiteY21" fmla="*/ 770513 h 858533"/>
                <a:gd name="connsiteX22" fmla="*/ 370204 w 714516"/>
                <a:gd name="connsiteY22" fmla="*/ 769870 h 858533"/>
                <a:gd name="connsiteX23" fmla="*/ 341292 w 714516"/>
                <a:gd name="connsiteY23" fmla="*/ 730679 h 858533"/>
                <a:gd name="connsiteX24" fmla="*/ 370204 w 714516"/>
                <a:gd name="connsiteY24" fmla="*/ 703052 h 858533"/>
                <a:gd name="connsiteX25" fmla="*/ 373416 w 714516"/>
                <a:gd name="connsiteY25" fmla="*/ 678637 h 858533"/>
                <a:gd name="connsiteX26" fmla="*/ 357997 w 714516"/>
                <a:gd name="connsiteY26" fmla="*/ 653580 h 858533"/>
                <a:gd name="connsiteX27" fmla="*/ 345147 w 714516"/>
                <a:gd name="connsiteY27" fmla="*/ 593186 h 858533"/>
                <a:gd name="connsiteX28" fmla="*/ 305313 w 714516"/>
                <a:gd name="connsiteY28" fmla="*/ 576482 h 858533"/>
                <a:gd name="connsiteX29" fmla="*/ 246204 w 714516"/>
                <a:gd name="connsiteY29" fmla="*/ 555922 h 858533"/>
                <a:gd name="connsiteX30" fmla="*/ 210224 w 714516"/>
                <a:gd name="connsiteY30" fmla="*/ 576482 h 858533"/>
                <a:gd name="connsiteX31" fmla="*/ 126701 w 714516"/>
                <a:gd name="connsiteY31" fmla="*/ 595756 h 858533"/>
                <a:gd name="connsiteX32" fmla="*/ 68877 w 714516"/>
                <a:gd name="connsiteY32" fmla="*/ 589974 h 858533"/>
                <a:gd name="connsiteX33" fmla="*/ 70805 w 714516"/>
                <a:gd name="connsiteY33" fmla="*/ 580337 h 858533"/>
                <a:gd name="connsiteX34" fmla="*/ 80442 w 714516"/>
                <a:gd name="connsiteY34" fmla="*/ 554637 h 858533"/>
                <a:gd name="connsiteX35" fmla="*/ 102929 w 714516"/>
                <a:gd name="connsiteY35" fmla="*/ 525725 h 858533"/>
                <a:gd name="connsiteX36" fmla="*/ 113209 w 714516"/>
                <a:gd name="connsiteY36" fmla="*/ 511590 h 858533"/>
                <a:gd name="connsiteX37" fmla="*/ 115779 w 714516"/>
                <a:gd name="connsiteY37" fmla="*/ 493601 h 858533"/>
                <a:gd name="connsiteX38" fmla="*/ 115136 w 714516"/>
                <a:gd name="connsiteY38" fmla="*/ 480108 h 858533"/>
                <a:gd name="connsiteX39" fmla="*/ 99074 w 714516"/>
                <a:gd name="connsiteY39" fmla="*/ 476896 h 858533"/>
                <a:gd name="connsiteX40" fmla="*/ 79800 w 714516"/>
                <a:gd name="connsiteY40" fmla="*/ 468544 h 858533"/>
                <a:gd name="connsiteX41" fmla="*/ 50888 w 714516"/>
                <a:gd name="connsiteY41" fmla="*/ 455694 h 858533"/>
                <a:gd name="connsiteX42" fmla="*/ 29043 w 714516"/>
                <a:gd name="connsiteY42" fmla="*/ 431279 h 858533"/>
                <a:gd name="connsiteX43" fmla="*/ 18121 w 714516"/>
                <a:gd name="connsiteY43" fmla="*/ 414575 h 858533"/>
                <a:gd name="connsiteX44" fmla="*/ 9768 w 714516"/>
                <a:gd name="connsiteY44" fmla="*/ 390160 h 858533"/>
                <a:gd name="connsiteX45" fmla="*/ 131 w 714516"/>
                <a:gd name="connsiteY45" fmla="*/ 371528 h 858533"/>
                <a:gd name="connsiteX46" fmla="*/ 1416 w 714516"/>
                <a:gd name="connsiteY46" fmla="*/ 353539 h 858533"/>
                <a:gd name="connsiteX47" fmla="*/ 7198 w 714516"/>
                <a:gd name="connsiteY47" fmla="*/ 341331 h 858533"/>
                <a:gd name="connsiteX48" fmla="*/ 14266 w 714516"/>
                <a:gd name="connsiteY48" fmla="*/ 305352 h 858533"/>
                <a:gd name="connsiteX49" fmla="*/ 40608 w 714516"/>
                <a:gd name="connsiteY49" fmla="*/ 273870 h 858533"/>
                <a:gd name="connsiteX50" fmla="*/ 84939 w 714516"/>
                <a:gd name="connsiteY50" fmla="*/ 249456 h 858533"/>
                <a:gd name="connsiteX51" fmla="*/ 84939 w 714516"/>
                <a:gd name="connsiteY51" fmla="*/ 248813 h 858533"/>
                <a:gd name="connsiteX52" fmla="*/ 90722 w 714516"/>
                <a:gd name="connsiteY52" fmla="*/ 246886 h 858533"/>
                <a:gd name="connsiteX53" fmla="*/ 146618 w 714516"/>
                <a:gd name="connsiteY53" fmla="*/ 231466 h 858533"/>
                <a:gd name="connsiteX54" fmla="*/ 196732 w 714516"/>
                <a:gd name="connsiteY54" fmla="*/ 252668 h 858533"/>
                <a:gd name="connsiteX55" fmla="*/ 213437 w 714516"/>
                <a:gd name="connsiteY55" fmla="*/ 234036 h 858533"/>
                <a:gd name="connsiteX56" fmla="*/ 205085 w 714516"/>
                <a:gd name="connsiteY56" fmla="*/ 208336 h 858533"/>
                <a:gd name="connsiteX57" fmla="*/ 253271 w 714516"/>
                <a:gd name="connsiteY57" fmla="*/ 158222 h 858533"/>
                <a:gd name="connsiteX58" fmla="*/ 336794 w 714516"/>
                <a:gd name="connsiteY58" fmla="*/ 138948 h 858533"/>
                <a:gd name="connsiteX59" fmla="*/ 389478 w 714516"/>
                <a:gd name="connsiteY59" fmla="*/ 117746 h 858533"/>
                <a:gd name="connsiteX60" fmla="*/ 408753 w 714516"/>
                <a:gd name="connsiteY60" fmla="*/ 93331 h 858533"/>
                <a:gd name="connsiteX61" fmla="*/ 451157 w 714516"/>
                <a:gd name="connsiteY61" fmla="*/ 84979 h 858533"/>
                <a:gd name="connsiteX62" fmla="*/ 500629 w 714516"/>
                <a:gd name="connsiteY62" fmla="*/ 48357 h 858533"/>
                <a:gd name="connsiteX63" fmla="*/ 503841 w 714516"/>
                <a:gd name="connsiteY63" fmla="*/ 34222 h 858533"/>
                <a:gd name="connsiteX64" fmla="*/ 497416 w 714516"/>
                <a:gd name="connsiteY64" fmla="*/ 12378 h 858533"/>
                <a:gd name="connsiteX65" fmla="*/ 528898 w 714516"/>
                <a:gd name="connsiteY65" fmla="*/ 5310 h 858533"/>
                <a:gd name="connsiteX66" fmla="*/ 553313 w 714516"/>
                <a:gd name="connsiteY66" fmla="*/ 61849 h 858533"/>
                <a:gd name="connsiteX67" fmla="*/ 593147 w 714516"/>
                <a:gd name="connsiteY67" fmla="*/ 104896 h 858533"/>
                <a:gd name="connsiteX68" fmla="*/ 601499 w 714516"/>
                <a:gd name="connsiteY68" fmla="*/ 104253 h 858533"/>
                <a:gd name="connsiteX69" fmla="*/ 602142 w 714516"/>
                <a:gd name="connsiteY69" fmla="*/ 113248 h 858533"/>
                <a:gd name="connsiteX70" fmla="*/ 600857 w 714516"/>
                <a:gd name="connsiteY70" fmla="*/ 124813 h 858533"/>
                <a:gd name="connsiteX71" fmla="*/ 614349 w 714516"/>
                <a:gd name="connsiteY71" fmla="*/ 142803 h 858533"/>
                <a:gd name="connsiteX72" fmla="*/ 609852 w 714516"/>
                <a:gd name="connsiteY72" fmla="*/ 166575 h 858533"/>
                <a:gd name="connsiteX73" fmla="*/ 595717 w 714516"/>
                <a:gd name="connsiteY73" fmla="*/ 175570 h 858533"/>
                <a:gd name="connsiteX74" fmla="*/ 593789 w 714516"/>
                <a:gd name="connsiteY74" fmla="*/ 170430 h 858533"/>
                <a:gd name="connsiteX75" fmla="*/ 571945 w 714516"/>
                <a:gd name="connsiteY75" fmla="*/ 164647 h 858533"/>
                <a:gd name="connsiteX76" fmla="*/ 565520 w 714516"/>
                <a:gd name="connsiteY76" fmla="*/ 191632 h 858533"/>
                <a:gd name="connsiteX77" fmla="*/ 561023 w 714516"/>
                <a:gd name="connsiteY77" fmla="*/ 201269 h 858533"/>
                <a:gd name="connsiteX78" fmla="*/ 555240 w 714516"/>
                <a:gd name="connsiteY78" fmla="*/ 224399 h 858533"/>
                <a:gd name="connsiteX79" fmla="*/ 577085 w 714516"/>
                <a:gd name="connsiteY79" fmla="*/ 236606 h 858533"/>
                <a:gd name="connsiteX80" fmla="*/ 600214 w 714516"/>
                <a:gd name="connsiteY80" fmla="*/ 279653 h 858533"/>
                <a:gd name="connsiteX81" fmla="*/ 592504 w 714516"/>
                <a:gd name="connsiteY81" fmla="*/ 290575 h 858533"/>
                <a:gd name="connsiteX82" fmla="*/ 568090 w 714516"/>
                <a:gd name="connsiteY82" fmla="*/ 297000 h 858533"/>
                <a:gd name="connsiteX83" fmla="*/ 537251 w 714516"/>
                <a:gd name="connsiteY83" fmla="*/ 312419 h 858533"/>
                <a:gd name="connsiteX84" fmla="*/ 523758 w 714516"/>
                <a:gd name="connsiteY84" fmla="*/ 337476 h 858533"/>
                <a:gd name="connsiteX85" fmla="*/ 497416 w 714516"/>
                <a:gd name="connsiteY85" fmla="*/ 384378 h 858533"/>
                <a:gd name="connsiteX86" fmla="*/ 514763 w 714516"/>
                <a:gd name="connsiteY86" fmla="*/ 408150 h 858533"/>
                <a:gd name="connsiteX87" fmla="*/ 566162 w 714516"/>
                <a:gd name="connsiteY87" fmla="*/ 413932 h 858533"/>
                <a:gd name="connsiteX88" fmla="*/ 621416 w 714516"/>
                <a:gd name="connsiteY88" fmla="*/ 390160 h 858533"/>
                <a:gd name="connsiteX89" fmla="*/ 664463 w 714516"/>
                <a:gd name="connsiteY89" fmla="*/ 426782 h 858533"/>
                <a:gd name="connsiteX90" fmla="*/ 686308 w 714516"/>
                <a:gd name="connsiteY90" fmla="*/ 498098 h 858533"/>
                <a:gd name="connsiteX91" fmla="*/ 667675 w 714516"/>
                <a:gd name="connsiteY91" fmla="*/ 541787 h 858533"/>
                <a:gd name="connsiteX92" fmla="*/ 687593 w 714516"/>
                <a:gd name="connsiteY92" fmla="*/ 582906 h 858533"/>
                <a:gd name="connsiteX93" fmla="*/ 688235 w 714516"/>
                <a:gd name="connsiteY93" fmla="*/ 584834 h 858533"/>
                <a:gd name="connsiteX94" fmla="*/ 686308 w 714516"/>
                <a:gd name="connsiteY94" fmla="*/ 602181 h 858533"/>
                <a:gd name="connsiteX95" fmla="*/ 689520 w 714516"/>
                <a:gd name="connsiteY95" fmla="*/ 624026 h 858533"/>
                <a:gd name="connsiteX96" fmla="*/ 701727 w 714516"/>
                <a:gd name="connsiteY96" fmla="*/ 644585 h 858533"/>
                <a:gd name="connsiteX97" fmla="*/ 713935 w 714516"/>
                <a:gd name="connsiteY97" fmla="*/ 674140 h 858533"/>
                <a:gd name="connsiteX98" fmla="*/ 701727 w 714516"/>
                <a:gd name="connsiteY98" fmla="*/ 708191 h 85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714516" h="858533">
                  <a:moveTo>
                    <a:pt x="701727" y="708191"/>
                  </a:moveTo>
                  <a:cubicBezTo>
                    <a:pt x="697230" y="720399"/>
                    <a:pt x="682453" y="734533"/>
                    <a:pt x="673458" y="740958"/>
                  </a:cubicBezTo>
                  <a:cubicBezTo>
                    <a:pt x="664463" y="748026"/>
                    <a:pt x="670245" y="760875"/>
                    <a:pt x="670245" y="768585"/>
                  </a:cubicBezTo>
                  <a:cubicBezTo>
                    <a:pt x="670245" y="776295"/>
                    <a:pt x="665106" y="793642"/>
                    <a:pt x="662536" y="804565"/>
                  </a:cubicBezTo>
                  <a:cubicBezTo>
                    <a:pt x="659966" y="815487"/>
                    <a:pt x="631054" y="852109"/>
                    <a:pt x="623986" y="854679"/>
                  </a:cubicBezTo>
                  <a:cubicBezTo>
                    <a:pt x="622059" y="855321"/>
                    <a:pt x="617561" y="857249"/>
                    <a:pt x="613064" y="858533"/>
                  </a:cubicBezTo>
                  <a:cubicBezTo>
                    <a:pt x="613064" y="857249"/>
                    <a:pt x="612422" y="856606"/>
                    <a:pt x="612422" y="855964"/>
                  </a:cubicBezTo>
                  <a:cubicBezTo>
                    <a:pt x="611137" y="853394"/>
                    <a:pt x="606639" y="848896"/>
                    <a:pt x="602784" y="847611"/>
                  </a:cubicBezTo>
                  <a:cubicBezTo>
                    <a:pt x="598287" y="846326"/>
                    <a:pt x="559738" y="834762"/>
                    <a:pt x="554598" y="830264"/>
                  </a:cubicBezTo>
                  <a:cubicBezTo>
                    <a:pt x="549458" y="825767"/>
                    <a:pt x="548173" y="819342"/>
                    <a:pt x="541105" y="819342"/>
                  </a:cubicBezTo>
                  <a:cubicBezTo>
                    <a:pt x="534038" y="819342"/>
                    <a:pt x="516048" y="818057"/>
                    <a:pt x="514121" y="818057"/>
                  </a:cubicBezTo>
                  <a:cubicBezTo>
                    <a:pt x="514121" y="818057"/>
                    <a:pt x="513478" y="818057"/>
                    <a:pt x="512836" y="818057"/>
                  </a:cubicBezTo>
                  <a:cubicBezTo>
                    <a:pt x="512836" y="818057"/>
                    <a:pt x="512194" y="818057"/>
                    <a:pt x="512194" y="818057"/>
                  </a:cubicBezTo>
                  <a:cubicBezTo>
                    <a:pt x="511551" y="818057"/>
                    <a:pt x="510909" y="818057"/>
                    <a:pt x="510266" y="818057"/>
                  </a:cubicBezTo>
                  <a:cubicBezTo>
                    <a:pt x="509624" y="818057"/>
                    <a:pt x="509624" y="818057"/>
                    <a:pt x="508981" y="818057"/>
                  </a:cubicBezTo>
                  <a:cubicBezTo>
                    <a:pt x="508339" y="818057"/>
                    <a:pt x="507054" y="818057"/>
                    <a:pt x="506411" y="818057"/>
                  </a:cubicBezTo>
                  <a:cubicBezTo>
                    <a:pt x="505126" y="818057"/>
                    <a:pt x="503841" y="818057"/>
                    <a:pt x="502556" y="818057"/>
                  </a:cubicBezTo>
                  <a:cubicBezTo>
                    <a:pt x="485209" y="819342"/>
                    <a:pt x="454370" y="820627"/>
                    <a:pt x="449872" y="814202"/>
                  </a:cubicBezTo>
                  <a:cubicBezTo>
                    <a:pt x="443447" y="805850"/>
                    <a:pt x="434453" y="801352"/>
                    <a:pt x="429955" y="796212"/>
                  </a:cubicBezTo>
                  <a:cubicBezTo>
                    <a:pt x="425458" y="791072"/>
                    <a:pt x="406826" y="768585"/>
                    <a:pt x="402328" y="766015"/>
                  </a:cubicBezTo>
                  <a:cubicBezTo>
                    <a:pt x="398473" y="763445"/>
                    <a:pt x="382411" y="757021"/>
                    <a:pt x="378556" y="760233"/>
                  </a:cubicBezTo>
                  <a:cubicBezTo>
                    <a:pt x="374701" y="762803"/>
                    <a:pt x="374059" y="766015"/>
                    <a:pt x="370846" y="770513"/>
                  </a:cubicBezTo>
                  <a:cubicBezTo>
                    <a:pt x="370846" y="770513"/>
                    <a:pt x="370204" y="769870"/>
                    <a:pt x="370204" y="769870"/>
                  </a:cubicBezTo>
                  <a:cubicBezTo>
                    <a:pt x="354784" y="757021"/>
                    <a:pt x="343862" y="745456"/>
                    <a:pt x="341292" y="730679"/>
                  </a:cubicBezTo>
                  <a:cubicBezTo>
                    <a:pt x="338722" y="715901"/>
                    <a:pt x="364421" y="709477"/>
                    <a:pt x="370204" y="703052"/>
                  </a:cubicBezTo>
                  <a:cubicBezTo>
                    <a:pt x="376629" y="696627"/>
                    <a:pt x="376629" y="681849"/>
                    <a:pt x="373416" y="678637"/>
                  </a:cubicBezTo>
                  <a:cubicBezTo>
                    <a:pt x="370846" y="675425"/>
                    <a:pt x="361209" y="665787"/>
                    <a:pt x="357997" y="653580"/>
                  </a:cubicBezTo>
                  <a:cubicBezTo>
                    <a:pt x="354784" y="641373"/>
                    <a:pt x="349002" y="601539"/>
                    <a:pt x="345147" y="593186"/>
                  </a:cubicBezTo>
                  <a:cubicBezTo>
                    <a:pt x="341292" y="585476"/>
                    <a:pt x="322660" y="583549"/>
                    <a:pt x="305313" y="576482"/>
                  </a:cubicBezTo>
                  <a:cubicBezTo>
                    <a:pt x="287323" y="569414"/>
                    <a:pt x="269976" y="555922"/>
                    <a:pt x="246204" y="555922"/>
                  </a:cubicBezTo>
                  <a:cubicBezTo>
                    <a:pt x="222432" y="555922"/>
                    <a:pt x="227572" y="565559"/>
                    <a:pt x="210224" y="576482"/>
                  </a:cubicBezTo>
                  <a:cubicBezTo>
                    <a:pt x="192235" y="588046"/>
                    <a:pt x="140836" y="593186"/>
                    <a:pt x="126701" y="595756"/>
                  </a:cubicBezTo>
                  <a:cubicBezTo>
                    <a:pt x="117706" y="597684"/>
                    <a:pt x="88152" y="593186"/>
                    <a:pt x="68877" y="589974"/>
                  </a:cubicBezTo>
                  <a:cubicBezTo>
                    <a:pt x="68877" y="587404"/>
                    <a:pt x="69520" y="584191"/>
                    <a:pt x="70805" y="580337"/>
                  </a:cubicBezTo>
                  <a:cubicBezTo>
                    <a:pt x="75302" y="569414"/>
                    <a:pt x="77872" y="558492"/>
                    <a:pt x="80442" y="554637"/>
                  </a:cubicBezTo>
                  <a:cubicBezTo>
                    <a:pt x="83654" y="550782"/>
                    <a:pt x="96504" y="531507"/>
                    <a:pt x="102929" y="525725"/>
                  </a:cubicBezTo>
                  <a:cubicBezTo>
                    <a:pt x="109354" y="519943"/>
                    <a:pt x="112566" y="520585"/>
                    <a:pt x="113209" y="511590"/>
                  </a:cubicBezTo>
                  <a:cubicBezTo>
                    <a:pt x="113851" y="502596"/>
                    <a:pt x="113851" y="497456"/>
                    <a:pt x="115779" y="493601"/>
                  </a:cubicBezTo>
                  <a:cubicBezTo>
                    <a:pt x="117706" y="489746"/>
                    <a:pt x="117064" y="482678"/>
                    <a:pt x="115136" y="480108"/>
                  </a:cubicBezTo>
                  <a:cubicBezTo>
                    <a:pt x="113209" y="478181"/>
                    <a:pt x="102287" y="476253"/>
                    <a:pt x="99074" y="476896"/>
                  </a:cubicBezTo>
                  <a:cubicBezTo>
                    <a:pt x="95862" y="477539"/>
                    <a:pt x="85582" y="472399"/>
                    <a:pt x="79800" y="468544"/>
                  </a:cubicBezTo>
                  <a:cubicBezTo>
                    <a:pt x="73375" y="464689"/>
                    <a:pt x="57955" y="465331"/>
                    <a:pt x="50888" y="455694"/>
                  </a:cubicBezTo>
                  <a:cubicBezTo>
                    <a:pt x="43820" y="446699"/>
                    <a:pt x="32898" y="437704"/>
                    <a:pt x="29043" y="431279"/>
                  </a:cubicBezTo>
                  <a:cubicBezTo>
                    <a:pt x="25188" y="424855"/>
                    <a:pt x="18121" y="414575"/>
                    <a:pt x="18121" y="414575"/>
                  </a:cubicBezTo>
                  <a:cubicBezTo>
                    <a:pt x="18121" y="414575"/>
                    <a:pt x="14908" y="401083"/>
                    <a:pt x="9768" y="390160"/>
                  </a:cubicBezTo>
                  <a:cubicBezTo>
                    <a:pt x="5271" y="379238"/>
                    <a:pt x="131" y="374098"/>
                    <a:pt x="131" y="371528"/>
                  </a:cubicBezTo>
                  <a:cubicBezTo>
                    <a:pt x="-511" y="368958"/>
                    <a:pt x="1416" y="353539"/>
                    <a:pt x="1416" y="353539"/>
                  </a:cubicBezTo>
                  <a:cubicBezTo>
                    <a:pt x="1416" y="353539"/>
                    <a:pt x="3986" y="354181"/>
                    <a:pt x="7198" y="341331"/>
                  </a:cubicBezTo>
                  <a:cubicBezTo>
                    <a:pt x="10411" y="327839"/>
                    <a:pt x="11696" y="314347"/>
                    <a:pt x="14266" y="305352"/>
                  </a:cubicBezTo>
                  <a:cubicBezTo>
                    <a:pt x="16836" y="296357"/>
                    <a:pt x="22618" y="282865"/>
                    <a:pt x="40608" y="273870"/>
                  </a:cubicBezTo>
                  <a:cubicBezTo>
                    <a:pt x="58597" y="264875"/>
                    <a:pt x="83654" y="259093"/>
                    <a:pt x="84939" y="249456"/>
                  </a:cubicBezTo>
                  <a:cubicBezTo>
                    <a:pt x="84939" y="249456"/>
                    <a:pt x="84939" y="248813"/>
                    <a:pt x="84939" y="248813"/>
                  </a:cubicBezTo>
                  <a:cubicBezTo>
                    <a:pt x="86867" y="248813"/>
                    <a:pt x="88794" y="248170"/>
                    <a:pt x="90722" y="246886"/>
                  </a:cubicBezTo>
                  <a:cubicBezTo>
                    <a:pt x="102287" y="240461"/>
                    <a:pt x="135696" y="228254"/>
                    <a:pt x="146618" y="231466"/>
                  </a:cubicBezTo>
                  <a:cubicBezTo>
                    <a:pt x="158183" y="234036"/>
                    <a:pt x="188380" y="253953"/>
                    <a:pt x="196732" y="252668"/>
                  </a:cubicBezTo>
                  <a:cubicBezTo>
                    <a:pt x="205085" y="251383"/>
                    <a:pt x="219219" y="246886"/>
                    <a:pt x="213437" y="234036"/>
                  </a:cubicBezTo>
                  <a:cubicBezTo>
                    <a:pt x="207655" y="221186"/>
                    <a:pt x="198017" y="223756"/>
                    <a:pt x="205085" y="208336"/>
                  </a:cubicBezTo>
                  <a:cubicBezTo>
                    <a:pt x="212152" y="193559"/>
                    <a:pt x="228857" y="165290"/>
                    <a:pt x="253271" y="158222"/>
                  </a:cubicBezTo>
                  <a:cubicBezTo>
                    <a:pt x="277686" y="151155"/>
                    <a:pt x="310452" y="144088"/>
                    <a:pt x="336794" y="138948"/>
                  </a:cubicBezTo>
                  <a:cubicBezTo>
                    <a:pt x="363137" y="133165"/>
                    <a:pt x="386266" y="123528"/>
                    <a:pt x="389478" y="117746"/>
                  </a:cubicBezTo>
                  <a:cubicBezTo>
                    <a:pt x="392691" y="112606"/>
                    <a:pt x="393333" y="97186"/>
                    <a:pt x="408753" y="93331"/>
                  </a:cubicBezTo>
                  <a:cubicBezTo>
                    <a:pt x="424173" y="89476"/>
                    <a:pt x="435737" y="97186"/>
                    <a:pt x="451157" y="84979"/>
                  </a:cubicBezTo>
                  <a:cubicBezTo>
                    <a:pt x="466577" y="72772"/>
                    <a:pt x="496774" y="54782"/>
                    <a:pt x="500629" y="48357"/>
                  </a:cubicBezTo>
                  <a:cubicBezTo>
                    <a:pt x="504484" y="42575"/>
                    <a:pt x="512194" y="40647"/>
                    <a:pt x="503841" y="34222"/>
                  </a:cubicBezTo>
                  <a:cubicBezTo>
                    <a:pt x="496131" y="27797"/>
                    <a:pt x="489706" y="28440"/>
                    <a:pt x="497416" y="12378"/>
                  </a:cubicBezTo>
                  <a:cubicBezTo>
                    <a:pt x="505126" y="-3042"/>
                    <a:pt x="526328" y="-2400"/>
                    <a:pt x="528898" y="5310"/>
                  </a:cubicBezTo>
                  <a:cubicBezTo>
                    <a:pt x="532111" y="13020"/>
                    <a:pt x="539178" y="38720"/>
                    <a:pt x="553313" y="61849"/>
                  </a:cubicBezTo>
                  <a:cubicBezTo>
                    <a:pt x="568090" y="84336"/>
                    <a:pt x="584152" y="104253"/>
                    <a:pt x="593147" y="104896"/>
                  </a:cubicBezTo>
                  <a:cubicBezTo>
                    <a:pt x="595717" y="104896"/>
                    <a:pt x="598287" y="104896"/>
                    <a:pt x="601499" y="104253"/>
                  </a:cubicBezTo>
                  <a:cubicBezTo>
                    <a:pt x="602142" y="108108"/>
                    <a:pt x="602142" y="111321"/>
                    <a:pt x="602142" y="113248"/>
                  </a:cubicBezTo>
                  <a:cubicBezTo>
                    <a:pt x="602142" y="119031"/>
                    <a:pt x="599572" y="120958"/>
                    <a:pt x="600857" y="124813"/>
                  </a:cubicBezTo>
                  <a:cubicBezTo>
                    <a:pt x="602784" y="128668"/>
                    <a:pt x="614349" y="142803"/>
                    <a:pt x="614349" y="142803"/>
                  </a:cubicBezTo>
                  <a:cubicBezTo>
                    <a:pt x="614349" y="142803"/>
                    <a:pt x="612422" y="159507"/>
                    <a:pt x="609852" y="166575"/>
                  </a:cubicBezTo>
                  <a:cubicBezTo>
                    <a:pt x="607924" y="173642"/>
                    <a:pt x="601499" y="174927"/>
                    <a:pt x="595717" y="175570"/>
                  </a:cubicBezTo>
                  <a:cubicBezTo>
                    <a:pt x="589934" y="176212"/>
                    <a:pt x="593789" y="172357"/>
                    <a:pt x="593789" y="170430"/>
                  </a:cubicBezTo>
                  <a:cubicBezTo>
                    <a:pt x="593789" y="168502"/>
                    <a:pt x="575800" y="164005"/>
                    <a:pt x="571945" y="164647"/>
                  </a:cubicBezTo>
                  <a:cubicBezTo>
                    <a:pt x="568090" y="165290"/>
                    <a:pt x="566805" y="183279"/>
                    <a:pt x="565520" y="191632"/>
                  </a:cubicBezTo>
                  <a:cubicBezTo>
                    <a:pt x="564235" y="199984"/>
                    <a:pt x="563593" y="199984"/>
                    <a:pt x="561023" y="201269"/>
                  </a:cubicBezTo>
                  <a:cubicBezTo>
                    <a:pt x="559095" y="202554"/>
                    <a:pt x="554598" y="211549"/>
                    <a:pt x="555240" y="224399"/>
                  </a:cubicBezTo>
                  <a:cubicBezTo>
                    <a:pt x="555883" y="237248"/>
                    <a:pt x="568090" y="232108"/>
                    <a:pt x="577085" y="236606"/>
                  </a:cubicBezTo>
                  <a:cubicBezTo>
                    <a:pt x="586080" y="241103"/>
                    <a:pt x="595717" y="273870"/>
                    <a:pt x="600214" y="279653"/>
                  </a:cubicBezTo>
                  <a:cubicBezTo>
                    <a:pt x="604712" y="286077"/>
                    <a:pt x="602142" y="289290"/>
                    <a:pt x="592504" y="290575"/>
                  </a:cubicBezTo>
                  <a:cubicBezTo>
                    <a:pt x="582867" y="291860"/>
                    <a:pt x="575800" y="293145"/>
                    <a:pt x="568090" y="297000"/>
                  </a:cubicBezTo>
                  <a:cubicBezTo>
                    <a:pt x="560380" y="300855"/>
                    <a:pt x="543675" y="307279"/>
                    <a:pt x="537251" y="312419"/>
                  </a:cubicBezTo>
                  <a:cubicBezTo>
                    <a:pt x="530826" y="316917"/>
                    <a:pt x="532111" y="322057"/>
                    <a:pt x="523758" y="337476"/>
                  </a:cubicBezTo>
                  <a:cubicBezTo>
                    <a:pt x="515406" y="352896"/>
                    <a:pt x="501271" y="370243"/>
                    <a:pt x="497416" y="384378"/>
                  </a:cubicBezTo>
                  <a:cubicBezTo>
                    <a:pt x="493561" y="398513"/>
                    <a:pt x="509624" y="401725"/>
                    <a:pt x="514763" y="408150"/>
                  </a:cubicBezTo>
                  <a:cubicBezTo>
                    <a:pt x="519903" y="414575"/>
                    <a:pt x="546888" y="417787"/>
                    <a:pt x="566162" y="413932"/>
                  </a:cubicBezTo>
                  <a:cubicBezTo>
                    <a:pt x="585437" y="410077"/>
                    <a:pt x="610494" y="390160"/>
                    <a:pt x="621416" y="390160"/>
                  </a:cubicBezTo>
                  <a:cubicBezTo>
                    <a:pt x="632339" y="389518"/>
                    <a:pt x="651613" y="408150"/>
                    <a:pt x="664463" y="426782"/>
                  </a:cubicBezTo>
                  <a:cubicBezTo>
                    <a:pt x="677313" y="445414"/>
                    <a:pt x="686308" y="483963"/>
                    <a:pt x="686308" y="498098"/>
                  </a:cubicBezTo>
                  <a:cubicBezTo>
                    <a:pt x="686308" y="512233"/>
                    <a:pt x="670245" y="529580"/>
                    <a:pt x="667675" y="541787"/>
                  </a:cubicBezTo>
                  <a:cubicBezTo>
                    <a:pt x="665106" y="554637"/>
                    <a:pt x="685023" y="579051"/>
                    <a:pt x="687593" y="582906"/>
                  </a:cubicBezTo>
                  <a:cubicBezTo>
                    <a:pt x="688235" y="583549"/>
                    <a:pt x="688235" y="584191"/>
                    <a:pt x="688235" y="584834"/>
                  </a:cubicBezTo>
                  <a:cubicBezTo>
                    <a:pt x="689520" y="589331"/>
                    <a:pt x="686308" y="597684"/>
                    <a:pt x="686308" y="602181"/>
                  </a:cubicBezTo>
                  <a:cubicBezTo>
                    <a:pt x="686308" y="606679"/>
                    <a:pt x="686308" y="617601"/>
                    <a:pt x="689520" y="624026"/>
                  </a:cubicBezTo>
                  <a:cubicBezTo>
                    <a:pt x="692732" y="631093"/>
                    <a:pt x="696587" y="640088"/>
                    <a:pt x="701727" y="644585"/>
                  </a:cubicBezTo>
                  <a:cubicBezTo>
                    <a:pt x="706867" y="649083"/>
                    <a:pt x="710722" y="662575"/>
                    <a:pt x="713935" y="674140"/>
                  </a:cubicBezTo>
                  <a:cubicBezTo>
                    <a:pt x="717147" y="686347"/>
                    <a:pt x="706225" y="696627"/>
                    <a:pt x="701727" y="708191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 470">
              <a:extLst>
                <a:ext uri="{FF2B5EF4-FFF2-40B4-BE49-F238E27FC236}">
                  <a16:creationId xmlns:a16="http://schemas.microsoft.com/office/drawing/2014/main" id="{722EAF05-260E-6BA7-8651-A0F97DEAFA85}"/>
                </a:ext>
              </a:extLst>
            </p:cNvPr>
            <p:cNvSpPr/>
            <p:nvPr/>
          </p:nvSpPr>
          <p:spPr>
            <a:xfrm>
              <a:off x="1798930" y="3998730"/>
              <a:ext cx="714516" cy="858533"/>
            </a:xfrm>
            <a:custGeom>
              <a:avLst/>
              <a:gdLst>
                <a:gd name="connsiteX0" fmla="*/ 701727 w 714516"/>
                <a:gd name="connsiteY0" fmla="*/ 708191 h 858533"/>
                <a:gd name="connsiteX1" fmla="*/ 673458 w 714516"/>
                <a:gd name="connsiteY1" fmla="*/ 740958 h 858533"/>
                <a:gd name="connsiteX2" fmla="*/ 670245 w 714516"/>
                <a:gd name="connsiteY2" fmla="*/ 768585 h 858533"/>
                <a:gd name="connsiteX3" fmla="*/ 662536 w 714516"/>
                <a:gd name="connsiteY3" fmla="*/ 804565 h 858533"/>
                <a:gd name="connsiteX4" fmla="*/ 623986 w 714516"/>
                <a:gd name="connsiteY4" fmla="*/ 854679 h 858533"/>
                <a:gd name="connsiteX5" fmla="*/ 613064 w 714516"/>
                <a:gd name="connsiteY5" fmla="*/ 858533 h 858533"/>
                <a:gd name="connsiteX6" fmla="*/ 612422 w 714516"/>
                <a:gd name="connsiteY6" fmla="*/ 855964 h 858533"/>
                <a:gd name="connsiteX7" fmla="*/ 602784 w 714516"/>
                <a:gd name="connsiteY7" fmla="*/ 847611 h 858533"/>
                <a:gd name="connsiteX8" fmla="*/ 554598 w 714516"/>
                <a:gd name="connsiteY8" fmla="*/ 830264 h 858533"/>
                <a:gd name="connsiteX9" fmla="*/ 541105 w 714516"/>
                <a:gd name="connsiteY9" fmla="*/ 819342 h 858533"/>
                <a:gd name="connsiteX10" fmla="*/ 514121 w 714516"/>
                <a:gd name="connsiteY10" fmla="*/ 818057 h 858533"/>
                <a:gd name="connsiteX11" fmla="*/ 512836 w 714516"/>
                <a:gd name="connsiteY11" fmla="*/ 818057 h 858533"/>
                <a:gd name="connsiteX12" fmla="*/ 512194 w 714516"/>
                <a:gd name="connsiteY12" fmla="*/ 818057 h 858533"/>
                <a:gd name="connsiteX13" fmla="*/ 510266 w 714516"/>
                <a:gd name="connsiteY13" fmla="*/ 818057 h 858533"/>
                <a:gd name="connsiteX14" fmla="*/ 508981 w 714516"/>
                <a:gd name="connsiteY14" fmla="*/ 818057 h 858533"/>
                <a:gd name="connsiteX15" fmla="*/ 506411 w 714516"/>
                <a:gd name="connsiteY15" fmla="*/ 818057 h 858533"/>
                <a:gd name="connsiteX16" fmla="*/ 502556 w 714516"/>
                <a:gd name="connsiteY16" fmla="*/ 818057 h 858533"/>
                <a:gd name="connsiteX17" fmla="*/ 449872 w 714516"/>
                <a:gd name="connsiteY17" fmla="*/ 814202 h 858533"/>
                <a:gd name="connsiteX18" fmla="*/ 429955 w 714516"/>
                <a:gd name="connsiteY18" fmla="*/ 796212 h 858533"/>
                <a:gd name="connsiteX19" fmla="*/ 402328 w 714516"/>
                <a:gd name="connsiteY19" fmla="*/ 766015 h 858533"/>
                <a:gd name="connsiteX20" fmla="*/ 378556 w 714516"/>
                <a:gd name="connsiteY20" fmla="*/ 760233 h 858533"/>
                <a:gd name="connsiteX21" fmla="*/ 370846 w 714516"/>
                <a:gd name="connsiteY21" fmla="*/ 770513 h 858533"/>
                <a:gd name="connsiteX22" fmla="*/ 370204 w 714516"/>
                <a:gd name="connsiteY22" fmla="*/ 769870 h 858533"/>
                <a:gd name="connsiteX23" fmla="*/ 341292 w 714516"/>
                <a:gd name="connsiteY23" fmla="*/ 730679 h 858533"/>
                <a:gd name="connsiteX24" fmla="*/ 370204 w 714516"/>
                <a:gd name="connsiteY24" fmla="*/ 703052 h 858533"/>
                <a:gd name="connsiteX25" fmla="*/ 373416 w 714516"/>
                <a:gd name="connsiteY25" fmla="*/ 678637 h 858533"/>
                <a:gd name="connsiteX26" fmla="*/ 357997 w 714516"/>
                <a:gd name="connsiteY26" fmla="*/ 653580 h 858533"/>
                <a:gd name="connsiteX27" fmla="*/ 345147 w 714516"/>
                <a:gd name="connsiteY27" fmla="*/ 593186 h 858533"/>
                <a:gd name="connsiteX28" fmla="*/ 305313 w 714516"/>
                <a:gd name="connsiteY28" fmla="*/ 576482 h 858533"/>
                <a:gd name="connsiteX29" fmla="*/ 246204 w 714516"/>
                <a:gd name="connsiteY29" fmla="*/ 555922 h 858533"/>
                <a:gd name="connsiteX30" fmla="*/ 210224 w 714516"/>
                <a:gd name="connsiteY30" fmla="*/ 576482 h 858533"/>
                <a:gd name="connsiteX31" fmla="*/ 126701 w 714516"/>
                <a:gd name="connsiteY31" fmla="*/ 595756 h 858533"/>
                <a:gd name="connsiteX32" fmla="*/ 68877 w 714516"/>
                <a:gd name="connsiteY32" fmla="*/ 589974 h 858533"/>
                <a:gd name="connsiteX33" fmla="*/ 70805 w 714516"/>
                <a:gd name="connsiteY33" fmla="*/ 580337 h 858533"/>
                <a:gd name="connsiteX34" fmla="*/ 80442 w 714516"/>
                <a:gd name="connsiteY34" fmla="*/ 554637 h 858533"/>
                <a:gd name="connsiteX35" fmla="*/ 102929 w 714516"/>
                <a:gd name="connsiteY35" fmla="*/ 525725 h 858533"/>
                <a:gd name="connsiteX36" fmla="*/ 113209 w 714516"/>
                <a:gd name="connsiteY36" fmla="*/ 511590 h 858533"/>
                <a:gd name="connsiteX37" fmla="*/ 115779 w 714516"/>
                <a:gd name="connsiteY37" fmla="*/ 493601 h 858533"/>
                <a:gd name="connsiteX38" fmla="*/ 115136 w 714516"/>
                <a:gd name="connsiteY38" fmla="*/ 480108 h 858533"/>
                <a:gd name="connsiteX39" fmla="*/ 99074 w 714516"/>
                <a:gd name="connsiteY39" fmla="*/ 476896 h 858533"/>
                <a:gd name="connsiteX40" fmla="*/ 79800 w 714516"/>
                <a:gd name="connsiteY40" fmla="*/ 468544 h 858533"/>
                <a:gd name="connsiteX41" fmla="*/ 50888 w 714516"/>
                <a:gd name="connsiteY41" fmla="*/ 455694 h 858533"/>
                <a:gd name="connsiteX42" fmla="*/ 29043 w 714516"/>
                <a:gd name="connsiteY42" fmla="*/ 431279 h 858533"/>
                <a:gd name="connsiteX43" fmla="*/ 18121 w 714516"/>
                <a:gd name="connsiteY43" fmla="*/ 414575 h 858533"/>
                <a:gd name="connsiteX44" fmla="*/ 9768 w 714516"/>
                <a:gd name="connsiteY44" fmla="*/ 390160 h 858533"/>
                <a:gd name="connsiteX45" fmla="*/ 131 w 714516"/>
                <a:gd name="connsiteY45" fmla="*/ 371528 h 858533"/>
                <a:gd name="connsiteX46" fmla="*/ 1416 w 714516"/>
                <a:gd name="connsiteY46" fmla="*/ 353539 h 858533"/>
                <a:gd name="connsiteX47" fmla="*/ 7198 w 714516"/>
                <a:gd name="connsiteY47" fmla="*/ 341331 h 858533"/>
                <a:gd name="connsiteX48" fmla="*/ 14266 w 714516"/>
                <a:gd name="connsiteY48" fmla="*/ 305352 h 858533"/>
                <a:gd name="connsiteX49" fmla="*/ 40608 w 714516"/>
                <a:gd name="connsiteY49" fmla="*/ 273870 h 858533"/>
                <a:gd name="connsiteX50" fmla="*/ 84939 w 714516"/>
                <a:gd name="connsiteY50" fmla="*/ 249456 h 858533"/>
                <a:gd name="connsiteX51" fmla="*/ 84939 w 714516"/>
                <a:gd name="connsiteY51" fmla="*/ 248813 h 858533"/>
                <a:gd name="connsiteX52" fmla="*/ 90722 w 714516"/>
                <a:gd name="connsiteY52" fmla="*/ 246886 h 858533"/>
                <a:gd name="connsiteX53" fmla="*/ 146618 w 714516"/>
                <a:gd name="connsiteY53" fmla="*/ 231466 h 858533"/>
                <a:gd name="connsiteX54" fmla="*/ 196732 w 714516"/>
                <a:gd name="connsiteY54" fmla="*/ 252668 h 858533"/>
                <a:gd name="connsiteX55" fmla="*/ 213437 w 714516"/>
                <a:gd name="connsiteY55" fmla="*/ 234036 h 858533"/>
                <a:gd name="connsiteX56" fmla="*/ 205085 w 714516"/>
                <a:gd name="connsiteY56" fmla="*/ 208336 h 858533"/>
                <a:gd name="connsiteX57" fmla="*/ 253271 w 714516"/>
                <a:gd name="connsiteY57" fmla="*/ 158222 h 858533"/>
                <a:gd name="connsiteX58" fmla="*/ 336794 w 714516"/>
                <a:gd name="connsiteY58" fmla="*/ 138948 h 858533"/>
                <a:gd name="connsiteX59" fmla="*/ 389478 w 714516"/>
                <a:gd name="connsiteY59" fmla="*/ 117746 h 858533"/>
                <a:gd name="connsiteX60" fmla="*/ 408753 w 714516"/>
                <a:gd name="connsiteY60" fmla="*/ 93331 h 858533"/>
                <a:gd name="connsiteX61" fmla="*/ 451157 w 714516"/>
                <a:gd name="connsiteY61" fmla="*/ 84979 h 858533"/>
                <a:gd name="connsiteX62" fmla="*/ 500629 w 714516"/>
                <a:gd name="connsiteY62" fmla="*/ 48357 h 858533"/>
                <a:gd name="connsiteX63" fmla="*/ 503841 w 714516"/>
                <a:gd name="connsiteY63" fmla="*/ 34222 h 858533"/>
                <a:gd name="connsiteX64" fmla="*/ 497416 w 714516"/>
                <a:gd name="connsiteY64" fmla="*/ 12378 h 858533"/>
                <a:gd name="connsiteX65" fmla="*/ 528898 w 714516"/>
                <a:gd name="connsiteY65" fmla="*/ 5310 h 858533"/>
                <a:gd name="connsiteX66" fmla="*/ 553313 w 714516"/>
                <a:gd name="connsiteY66" fmla="*/ 61849 h 858533"/>
                <a:gd name="connsiteX67" fmla="*/ 593147 w 714516"/>
                <a:gd name="connsiteY67" fmla="*/ 104896 h 858533"/>
                <a:gd name="connsiteX68" fmla="*/ 601499 w 714516"/>
                <a:gd name="connsiteY68" fmla="*/ 104253 h 858533"/>
                <a:gd name="connsiteX69" fmla="*/ 602142 w 714516"/>
                <a:gd name="connsiteY69" fmla="*/ 113248 h 858533"/>
                <a:gd name="connsiteX70" fmla="*/ 600857 w 714516"/>
                <a:gd name="connsiteY70" fmla="*/ 124813 h 858533"/>
                <a:gd name="connsiteX71" fmla="*/ 614349 w 714516"/>
                <a:gd name="connsiteY71" fmla="*/ 142803 h 858533"/>
                <a:gd name="connsiteX72" fmla="*/ 609852 w 714516"/>
                <a:gd name="connsiteY72" fmla="*/ 166575 h 858533"/>
                <a:gd name="connsiteX73" fmla="*/ 595717 w 714516"/>
                <a:gd name="connsiteY73" fmla="*/ 175570 h 858533"/>
                <a:gd name="connsiteX74" fmla="*/ 593789 w 714516"/>
                <a:gd name="connsiteY74" fmla="*/ 170430 h 858533"/>
                <a:gd name="connsiteX75" fmla="*/ 571945 w 714516"/>
                <a:gd name="connsiteY75" fmla="*/ 164647 h 858533"/>
                <a:gd name="connsiteX76" fmla="*/ 565520 w 714516"/>
                <a:gd name="connsiteY76" fmla="*/ 191632 h 858533"/>
                <a:gd name="connsiteX77" fmla="*/ 561023 w 714516"/>
                <a:gd name="connsiteY77" fmla="*/ 201269 h 858533"/>
                <a:gd name="connsiteX78" fmla="*/ 555240 w 714516"/>
                <a:gd name="connsiteY78" fmla="*/ 224399 h 858533"/>
                <a:gd name="connsiteX79" fmla="*/ 577085 w 714516"/>
                <a:gd name="connsiteY79" fmla="*/ 236606 h 858533"/>
                <a:gd name="connsiteX80" fmla="*/ 600214 w 714516"/>
                <a:gd name="connsiteY80" fmla="*/ 279653 h 858533"/>
                <a:gd name="connsiteX81" fmla="*/ 592504 w 714516"/>
                <a:gd name="connsiteY81" fmla="*/ 290575 h 858533"/>
                <a:gd name="connsiteX82" fmla="*/ 568090 w 714516"/>
                <a:gd name="connsiteY82" fmla="*/ 297000 h 858533"/>
                <a:gd name="connsiteX83" fmla="*/ 537251 w 714516"/>
                <a:gd name="connsiteY83" fmla="*/ 312419 h 858533"/>
                <a:gd name="connsiteX84" fmla="*/ 523758 w 714516"/>
                <a:gd name="connsiteY84" fmla="*/ 337476 h 858533"/>
                <a:gd name="connsiteX85" fmla="*/ 497416 w 714516"/>
                <a:gd name="connsiteY85" fmla="*/ 384378 h 858533"/>
                <a:gd name="connsiteX86" fmla="*/ 514763 w 714516"/>
                <a:gd name="connsiteY86" fmla="*/ 408150 h 858533"/>
                <a:gd name="connsiteX87" fmla="*/ 566162 w 714516"/>
                <a:gd name="connsiteY87" fmla="*/ 413932 h 858533"/>
                <a:gd name="connsiteX88" fmla="*/ 621416 w 714516"/>
                <a:gd name="connsiteY88" fmla="*/ 390160 h 858533"/>
                <a:gd name="connsiteX89" fmla="*/ 664463 w 714516"/>
                <a:gd name="connsiteY89" fmla="*/ 426782 h 858533"/>
                <a:gd name="connsiteX90" fmla="*/ 686308 w 714516"/>
                <a:gd name="connsiteY90" fmla="*/ 498098 h 858533"/>
                <a:gd name="connsiteX91" fmla="*/ 667675 w 714516"/>
                <a:gd name="connsiteY91" fmla="*/ 541787 h 858533"/>
                <a:gd name="connsiteX92" fmla="*/ 687593 w 714516"/>
                <a:gd name="connsiteY92" fmla="*/ 582906 h 858533"/>
                <a:gd name="connsiteX93" fmla="*/ 688235 w 714516"/>
                <a:gd name="connsiteY93" fmla="*/ 584834 h 858533"/>
                <a:gd name="connsiteX94" fmla="*/ 686308 w 714516"/>
                <a:gd name="connsiteY94" fmla="*/ 602181 h 858533"/>
                <a:gd name="connsiteX95" fmla="*/ 689520 w 714516"/>
                <a:gd name="connsiteY95" fmla="*/ 624026 h 858533"/>
                <a:gd name="connsiteX96" fmla="*/ 701727 w 714516"/>
                <a:gd name="connsiteY96" fmla="*/ 644585 h 858533"/>
                <a:gd name="connsiteX97" fmla="*/ 713935 w 714516"/>
                <a:gd name="connsiteY97" fmla="*/ 674140 h 858533"/>
                <a:gd name="connsiteX98" fmla="*/ 701727 w 714516"/>
                <a:gd name="connsiteY98" fmla="*/ 708191 h 85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714516" h="858533">
                  <a:moveTo>
                    <a:pt x="701727" y="708191"/>
                  </a:moveTo>
                  <a:cubicBezTo>
                    <a:pt x="697230" y="720399"/>
                    <a:pt x="682453" y="734533"/>
                    <a:pt x="673458" y="740958"/>
                  </a:cubicBezTo>
                  <a:cubicBezTo>
                    <a:pt x="664463" y="748026"/>
                    <a:pt x="670245" y="760875"/>
                    <a:pt x="670245" y="768585"/>
                  </a:cubicBezTo>
                  <a:cubicBezTo>
                    <a:pt x="670245" y="776295"/>
                    <a:pt x="665106" y="793642"/>
                    <a:pt x="662536" y="804565"/>
                  </a:cubicBezTo>
                  <a:cubicBezTo>
                    <a:pt x="659966" y="815487"/>
                    <a:pt x="631054" y="852109"/>
                    <a:pt x="623986" y="854679"/>
                  </a:cubicBezTo>
                  <a:cubicBezTo>
                    <a:pt x="622059" y="855321"/>
                    <a:pt x="617561" y="857249"/>
                    <a:pt x="613064" y="858533"/>
                  </a:cubicBezTo>
                  <a:cubicBezTo>
                    <a:pt x="613064" y="857249"/>
                    <a:pt x="612422" y="856606"/>
                    <a:pt x="612422" y="855964"/>
                  </a:cubicBezTo>
                  <a:cubicBezTo>
                    <a:pt x="611137" y="853394"/>
                    <a:pt x="606639" y="848896"/>
                    <a:pt x="602784" y="847611"/>
                  </a:cubicBezTo>
                  <a:cubicBezTo>
                    <a:pt x="598287" y="846326"/>
                    <a:pt x="559738" y="834762"/>
                    <a:pt x="554598" y="830264"/>
                  </a:cubicBezTo>
                  <a:cubicBezTo>
                    <a:pt x="549458" y="825767"/>
                    <a:pt x="548173" y="819342"/>
                    <a:pt x="541105" y="819342"/>
                  </a:cubicBezTo>
                  <a:cubicBezTo>
                    <a:pt x="534038" y="819342"/>
                    <a:pt x="516048" y="818057"/>
                    <a:pt x="514121" y="818057"/>
                  </a:cubicBezTo>
                  <a:cubicBezTo>
                    <a:pt x="514121" y="818057"/>
                    <a:pt x="513478" y="818057"/>
                    <a:pt x="512836" y="818057"/>
                  </a:cubicBezTo>
                  <a:cubicBezTo>
                    <a:pt x="512836" y="818057"/>
                    <a:pt x="512194" y="818057"/>
                    <a:pt x="512194" y="818057"/>
                  </a:cubicBezTo>
                  <a:cubicBezTo>
                    <a:pt x="511551" y="818057"/>
                    <a:pt x="510909" y="818057"/>
                    <a:pt x="510266" y="818057"/>
                  </a:cubicBezTo>
                  <a:cubicBezTo>
                    <a:pt x="509624" y="818057"/>
                    <a:pt x="509624" y="818057"/>
                    <a:pt x="508981" y="818057"/>
                  </a:cubicBezTo>
                  <a:cubicBezTo>
                    <a:pt x="508339" y="818057"/>
                    <a:pt x="507054" y="818057"/>
                    <a:pt x="506411" y="818057"/>
                  </a:cubicBezTo>
                  <a:cubicBezTo>
                    <a:pt x="505126" y="818057"/>
                    <a:pt x="503841" y="818057"/>
                    <a:pt x="502556" y="818057"/>
                  </a:cubicBezTo>
                  <a:cubicBezTo>
                    <a:pt x="485209" y="819342"/>
                    <a:pt x="454370" y="820627"/>
                    <a:pt x="449872" y="814202"/>
                  </a:cubicBezTo>
                  <a:cubicBezTo>
                    <a:pt x="443447" y="805850"/>
                    <a:pt x="434453" y="801352"/>
                    <a:pt x="429955" y="796212"/>
                  </a:cubicBezTo>
                  <a:cubicBezTo>
                    <a:pt x="425458" y="791072"/>
                    <a:pt x="406826" y="768585"/>
                    <a:pt x="402328" y="766015"/>
                  </a:cubicBezTo>
                  <a:cubicBezTo>
                    <a:pt x="398473" y="763445"/>
                    <a:pt x="382411" y="757021"/>
                    <a:pt x="378556" y="760233"/>
                  </a:cubicBezTo>
                  <a:cubicBezTo>
                    <a:pt x="374701" y="762803"/>
                    <a:pt x="374059" y="766015"/>
                    <a:pt x="370846" y="770513"/>
                  </a:cubicBezTo>
                  <a:cubicBezTo>
                    <a:pt x="370846" y="770513"/>
                    <a:pt x="370204" y="769870"/>
                    <a:pt x="370204" y="769870"/>
                  </a:cubicBezTo>
                  <a:cubicBezTo>
                    <a:pt x="354784" y="757021"/>
                    <a:pt x="343862" y="745456"/>
                    <a:pt x="341292" y="730679"/>
                  </a:cubicBezTo>
                  <a:cubicBezTo>
                    <a:pt x="338722" y="715901"/>
                    <a:pt x="364421" y="709477"/>
                    <a:pt x="370204" y="703052"/>
                  </a:cubicBezTo>
                  <a:cubicBezTo>
                    <a:pt x="376629" y="696627"/>
                    <a:pt x="376629" y="681849"/>
                    <a:pt x="373416" y="678637"/>
                  </a:cubicBezTo>
                  <a:cubicBezTo>
                    <a:pt x="370846" y="675425"/>
                    <a:pt x="361209" y="665787"/>
                    <a:pt x="357997" y="653580"/>
                  </a:cubicBezTo>
                  <a:cubicBezTo>
                    <a:pt x="354784" y="641373"/>
                    <a:pt x="349002" y="601539"/>
                    <a:pt x="345147" y="593186"/>
                  </a:cubicBezTo>
                  <a:cubicBezTo>
                    <a:pt x="341292" y="585476"/>
                    <a:pt x="322660" y="583549"/>
                    <a:pt x="305313" y="576482"/>
                  </a:cubicBezTo>
                  <a:cubicBezTo>
                    <a:pt x="287323" y="569414"/>
                    <a:pt x="269976" y="555922"/>
                    <a:pt x="246204" y="555922"/>
                  </a:cubicBezTo>
                  <a:cubicBezTo>
                    <a:pt x="222432" y="555922"/>
                    <a:pt x="227572" y="565559"/>
                    <a:pt x="210224" y="576482"/>
                  </a:cubicBezTo>
                  <a:cubicBezTo>
                    <a:pt x="192235" y="588046"/>
                    <a:pt x="140836" y="593186"/>
                    <a:pt x="126701" y="595756"/>
                  </a:cubicBezTo>
                  <a:cubicBezTo>
                    <a:pt x="117706" y="597684"/>
                    <a:pt x="88152" y="593186"/>
                    <a:pt x="68877" y="589974"/>
                  </a:cubicBezTo>
                  <a:cubicBezTo>
                    <a:pt x="68877" y="587404"/>
                    <a:pt x="69520" y="584191"/>
                    <a:pt x="70805" y="580337"/>
                  </a:cubicBezTo>
                  <a:cubicBezTo>
                    <a:pt x="75302" y="569414"/>
                    <a:pt x="77872" y="558492"/>
                    <a:pt x="80442" y="554637"/>
                  </a:cubicBezTo>
                  <a:cubicBezTo>
                    <a:pt x="83654" y="550782"/>
                    <a:pt x="96504" y="531507"/>
                    <a:pt x="102929" y="525725"/>
                  </a:cubicBezTo>
                  <a:cubicBezTo>
                    <a:pt x="109354" y="519943"/>
                    <a:pt x="112566" y="520585"/>
                    <a:pt x="113209" y="511590"/>
                  </a:cubicBezTo>
                  <a:cubicBezTo>
                    <a:pt x="113851" y="502596"/>
                    <a:pt x="113851" y="497456"/>
                    <a:pt x="115779" y="493601"/>
                  </a:cubicBezTo>
                  <a:cubicBezTo>
                    <a:pt x="117706" y="489746"/>
                    <a:pt x="117064" y="482678"/>
                    <a:pt x="115136" y="480108"/>
                  </a:cubicBezTo>
                  <a:cubicBezTo>
                    <a:pt x="113209" y="478181"/>
                    <a:pt x="102287" y="476253"/>
                    <a:pt x="99074" y="476896"/>
                  </a:cubicBezTo>
                  <a:cubicBezTo>
                    <a:pt x="95862" y="477539"/>
                    <a:pt x="85582" y="472399"/>
                    <a:pt x="79800" y="468544"/>
                  </a:cubicBezTo>
                  <a:cubicBezTo>
                    <a:pt x="73375" y="464689"/>
                    <a:pt x="57955" y="465331"/>
                    <a:pt x="50888" y="455694"/>
                  </a:cubicBezTo>
                  <a:cubicBezTo>
                    <a:pt x="43820" y="446699"/>
                    <a:pt x="32898" y="437704"/>
                    <a:pt x="29043" y="431279"/>
                  </a:cubicBezTo>
                  <a:cubicBezTo>
                    <a:pt x="25188" y="424855"/>
                    <a:pt x="18121" y="414575"/>
                    <a:pt x="18121" y="414575"/>
                  </a:cubicBezTo>
                  <a:cubicBezTo>
                    <a:pt x="18121" y="414575"/>
                    <a:pt x="14908" y="401083"/>
                    <a:pt x="9768" y="390160"/>
                  </a:cubicBezTo>
                  <a:cubicBezTo>
                    <a:pt x="5271" y="379238"/>
                    <a:pt x="131" y="374098"/>
                    <a:pt x="131" y="371528"/>
                  </a:cubicBezTo>
                  <a:cubicBezTo>
                    <a:pt x="-511" y="368958"/>
                    <a:pt x="1416" y="353539"/>
                    <a:pt x="1416" y="353539"/>
                  </a:cubicBezTo>
                  <a:cubicBezTo>
                    <a:pt x="1416" y="353539"/>
                    <a:pt x="3986" y="354181"/>
                    <a:pt x="7198" y="341331"/>
                  </a:cubicBezTo>
                  <a:cubicBezTo>
                    <a:pt x="10411" y="327839"/>
                    <a:pt x="11696" y="314347"/>
                    <a:pt x="14266" y="305352"/>
                  </a:cubicBezTo>
                  <a:cubicBezTo>
                    <a:pt x="16836" y="296357"/>
                    <a:pt x="22618" y="282865"/>
                    <a:pt x="40608" y="273870"/>
                  </a:cubicBezTo>
                  <a:cubicBezTo>
                    <a:pt x="58597" y="264875"/>
                    <a:pt x="83654" y="259093"/>
                    <a:pt x="84939" y="249456"/>
                  </a:cubicBezTo>
                  <a:cubicBezTo>
                    <a:pt x="84939" y="249456"/>
                    <a:pt x="84939" y="248813"/>
                    <a:pt x="84939" y="248813"/>
                  </a:cubicBezTo>
                  <a:cubicBezTo>
                    <a:pt x="86867" y="248813"/>
                    <a:pt x="88794" y="248170"/>
                    <a:pt x="90722" y="246886"/>
                  </a:cubicBezTo>
                  <a:cubicBezTo>
                    <a:pt x="102287" y="240461"/>
                    <a:pt x="135696" y="228254"/>
                    <a:pt x="146618" y="231466"/>
                  </a:cubicBezTo>
                  <a:cubicBezTo>
                    <a:pt x="158183" y="234036"/>
                    <a:pt x="188380" y="253953"/>
                    <a:pt x="196732" y="252668"/>
                  </a:cubicBezTo>
                  <a:cubicBezTo>
                    <a:pt x="205085" y="251383"/>
                    <a:pt x="219219" y="246886"/>
                    <a:pt x="213437" y="234036"/>
                  </a:cubicBezTo>
                  <a:cubicBezTo>
                    <a:pt x="207655" y="221186"/>
                    <a:pt x="198017" y="223756"/>
                    <a:pt x="205085" y="208336"/>
                  </a:cubicBezTo>
                  <a:cubicBezTo>
                    <a:pt x="212152" y="193559"/>
                    <a:pt x="228857" y="165290"/>
                    <a:pt x="253271" y="158222"/>
                  </a:cubicBezTo>
                  <a:cubicBezTo>
                    <a:pt x="277686" y="151155"/>
                    <a:pt x="310452" y="144088"/>
                    <a:pt x="336794" y="138948"/>
                  </a:cubicBezTo>
                  <a:cubicBezTo>
                    <a:pt x="363137" y="133165"/>
                    <a:pt x="386266" y="123528"/>
                    <a:pt x="389478" y="117746"/>
                  </a:cubicBezTo>
                  <a:cubicBezTo>
                    <a:pt x="392691" y="112606"/>
                    <a:pt x="393333" y="97186"/>
                    <a:pt x="408753" y="93331"/>
                  </a:cubicBezTo>
                  <a:cubicBezTo>
                    <a:pt x="424173" y="89476"/>
                    <a:pt x="435737" y="97186"/>
                    <a:pt x="451157" y="84979"/>
                  </a:cubicBezTo>
                  <a:cubicBezTo>
                    <a:pt x="466577" y="72772"/>
                    <a:pt x="496774" y="54782"/>
                    <a:pt x="500629" y="48357"/>
                  </a:cubicBezTo>
                  <a:cubicBezTo>
                    <a:pt x="504484" y="42575"/>
                    <a:pt x="512194" y="40647"/>
                    <a:pt x="503841" y="34222"/>
                  </a:cubicBezTo>
                  <a:cubicBezTo>
                    <a:pt x="496131" y="27797"/>
                    <a:pt x="489706" y="28440"/>
                    <a:pt x="497416" y="12378"/>
                  </a:cubicBezTo>
                  <a:cubicBezTo>
                    <a:pt x="505126" y="-3042"/>
                    <a:pt x="526328" y="-2400"/>
                    <a:pt x="528898" y="5310"/>
                  </a:cubicBezTo>
                  <a:cubicBezTo>
                    <a:pt x="532111" y="13020"/>
                    <a:pt x="539178" y="38720"/>
                    <a:pt x="553313" y="61849"/>
                  </a:cubicBezTo>
                  <a:cubicBezTo>
                    <a:pt x="568090" y="84336"/>
                    <a:pt x="584152" y="104253"/>
                    <a:pt x="593147" y="104896"/>
                  </a:cubicBezTo>
                  <a:cubicBezTo>
                    <a:pt x="595717" y="104896"/>
                    <a:pt x="598287" y="104896"/>
                    <a:pt x="601499" y="104253"/>
                  </a:cubicBezTo>
                  <a:cubicBezTo>
                    <a:pt x="602142" y="108108"/>
                    <a:pt x="602142" y="111321"/>
                    <a:pt x="602142" y="113248"/>
                  </a:cubicBezTo>
                  <a:cubicBezTo>
                    <a:pt x="602142" y="119031"/>
                    <a:pt x="599572" y="120958"/>
                    <a:pt x="600857" y="124813"/>
                  </a:cubicBezTo>
                  <a:cubicBezTo>
                    <a:pt x="602784" y="128668"/>
                    <a:pt x="614349" y="142803"/>
                    <a:pt x="614349" y="142803"/>
                  </a:cubicBezTo>
                  <a:cubicBezTo>
                    <a:pt x="614349" y="142803"/>
                    <a:pt x="612422" y="159507"/>
                    <a:pt x="609852" y="166575"/>
                  </a:cubicBezTo>
                  <a:cubicBezTo>
                    <a:pt x="607924" y="173642"/>
                    <a:pt x="601499" y="174927"/>
                    <a:pt x="595717" y="175570"/>
                  </a:cubicBezTo>
                  <a:cubicBezTo>
                    <a:pt x="589934" y="176212"/>
                    <a:pt x="593789" y="172357"/>
                    <a:pt x="593789" y="170430"/>
                  </a:cubicBezTo>
                  <a:cubicBezTo>
                    <a:pt x="593789" y="168502"/>
                    <a:pt x="575800" y="164005"/>
                    <a:pt x="571945" y="164647"/>
                  </a:cubicBezTo>
                  <a:cubicBezTo>
                    <a:pt x="568090" y="165290"/>
                    <a:pt x="566805" y="183279"/>
                    <a:pt x="565520" y="191632"/>
                  </a:cubicBezTo>
                  <a:cubicBezTo>
                    <a:pt x="564235" y="199984"/>
                    <a:pt x="563593" y="199984"/>
                    <a:pt x="561023" y="201269"/>
                  </a:cubicBezTo>
                  <a:cubicBezTo>
                    <a:pt x="559095" y="202554"/>
                    <a:pt x="554598" y="211549"/>
                    <a:pt x="555240" y="224399"/>
                  </a:cubicBezTo>
                  <a:cubicBezTo>
                    <a:pt x="555883" y="237248"/>
                    <a:pt x="568090" y="232108"/>
                    <a:pt x="577085" y="236606"/>
                  </a:cubicBezTo>
                  <a:cubicBezTo>
                    <a:pt x="586080" y="241103"/>
                    <a:pt x="595717" y="273870"/>
                    <a:pt x="600214" y="279653"/>
                  </a:cubicBezTo>
                  <a:cubicBezTo>
                    <a:pt x="604712" y="286077"/>
                    <a:pt x="602142" y="289290"/>
                    <a:pt x="592504" y="290575"/>
                  </a:cubicBezTo>
                  <a:cubicBezTo>
                    <a:pt x="582867" y="291860"/>
                    <a:pt x="575800" y="293145"/>
                    <a:pt x="568090" y="297000"/>
                  </a:cubicBezTo>
                  <a:cubicBezTo>
                    <a:pt x="560380" y="300855"/>
                    <a:pt x="543675" y="307279"/>
                    <a:pt x="537251" y="312419"/>
                  </a:cubicBezTo>
                  <a:cubicBezTo>
                    <a:pt x="530826" y="316917"/>
                    <a:pt x="532111" y="322057"/>
                    <a:pt x="523758" y="337476"/>
                  </a:cubicBezTo>
                  <a:cubicBezTo>
                    <a:pt x="515406" y="352896"/>
                    <a:pt x="501271" y="370243"/>
                    <a:pt x="497416" y="384378"/>
                  </a:cubicBezTo>
                  <a:cubicBezTo>
                    <a:pt x="493561" y="398513"/>
                    <a:pt x="509624" y="401725"/>
                    <a:pt x="514763" y="408150"/>
                  </a:cubicBezTo>
                  <a:cubicBezTo>
                    <a:pt x="519903" y="414575"/>
                    <a:pt x="546888" y="417787"/>
                    <a:pt x="566162" y="413932"/>
                  </a:cubicBezTo>
                  <a:cubicBezTo>
                    <a:pt x="585437" y="410077"/>
                    <a:pt x="610494" y="390160"/>
                    <a:pt x="621416" y="390160"/>
                  </a:cubicBezTo>
                  <a:cubicBezTo>
                    <a:pt x="632339" y="389518"/>
                    <a:pt x="651613" y="408150"/>
                    <a:pt x="664463" y="426782"/>
                  </a:cubicBezTo>
                  <a:cubicBezTo>
                    <a:pt x="677313" y="445414"/>
                    <a:pt x="686308" y="483963"/>
                    <a:pt x="686308" y="498098"/>
                  </a:cubicBezTo>
                  <a:cubicBezTo>
                    <a:pt x="686308" y="512233"/>
                    <a:pt x="670245" y="529580"/>
                    <a:pt x="667675" y="541787"/>
                  </a:cubicBezTo>
                  <a:cubicBezTo>
                    <a:pt x="665106" y="554637"/>
                    <a:pt x="685023" y="579051"/>
                    <a:pt x="687593" y="582906"/>
                  </a:cubicBezTo>
                  <a:cubicBezTo>
                    <a:pt x="688235" y="583549"/>
                    <a:pt x="688235" y="584191"/>
                    <a:pt x="688235" y="584834"/>
                  </a:cubicBezTo>
                  <a:cubicBezTo>
                    <a:pt x="689520" y="589331"/>
                    <a:pt x="686308" y="597684"/>
                    <a:pt x="686308" y="602181"/>
                  </a:cubicBezTo>
                  <a:cubicBezTo>
                    <a:pt x="686308" y="606679"/>
                    <a:pt x="686308" y="617601"/>
                    <a:pt x="689520" y="624026"/>
                  </a:cubicBezTo>
                  <a:cubicBezTo>
                    <a:pt x="692732" y="631093"/>
                    <a:pt x="696587" y="640088"/>
                    <a:pt x="701727" y="644585"/>
                  </a:cubicBezTo>
                  <a:cubicBezTo>
                    <a:pt x="706867" y="649083"/>
                    <a:pt x="710722" y="662575"/>
                    <a:pt x="713935" y="674140"/>
                  </a:cubicBezTo>
                  <a:cubicBezTo>
                    <a:pt x="717147" y="686347"/>
                    <a:pt x="706225" y="696627"/>
                    <a:pt x="701727" y="708191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 471">
              <a:extLst>
                <a:ext uri="{FF2B5EF4-FFF2-40B4-BE49-F238E27FC236}">
                  <a16:creationId xmlns:a16="http://schemas.microsoft.com/office/drawing/2014/main" id="{36925148-7202-2523-D99A-8FA2A7CB4ED9}"/>
                </a:ext>
              </a:extLst>
            </p:cNvPr>
            <p:cNvSpPr/>
            <p:nvPr/>
          </p:nvSpPr>
          <p:spPr>
            <a:xfrm>
              <a:off x="2196279" y="4492117"/>
              <a:ext cx="917657" cy="984504"/>
            </a:xfrm>
            <a:custGeom>
              <a:avLst/>
              <a:gdLst>
                <a:gd name="connsiteX0" fmla="*/ 916669 w 917657"/>
                <a:gd name="connsiteY0" fmla="*/ 449313 h 984504"/>
                <a:gd name="connsiteX1" fmla="*/ 899964 w 917657"/>
                <a:gd name="connsiteY1" fmla="*/ 481437 h 984504"/>
                <a:gd name="connsiteX2" fmla="*/ 872980 w 917657"/>
                <a:gd name="connsiteY2" fmla="*/ 514204 h 984504"/>
                <a:gd name="connsiteX3" fmla="*/ 865270 w 917657"/>
                <a:gd name="connsiteY3" fmla="*/ 553396 h 984504"/>
                <a:gd name="connsiteX4" fmla="*/ 828648 w 917657"/>
                <a:gd name="connsiteY4" fmla="*/ 577810 h 984504"/>
                <a:gd name="connsiteX5" fmla="*/ 811301 w 917657"/>
                <a:gd name="connsiteY5" fmla="*/ 577810 h 984504"/>
                <a:gd name="connsiteX6" fmla="*/ 809373 w 917657"/>
                <a:gd name="connsiteY6" fmla="*/ 564318 h 984504"/>
                <a:gd name="connsiteX7" fmla="*/ 777249 w 917657"/>
                <a:gd name="connsiteY7" fmla="*/ 591303 h 984504"/>
                <a:gd name="connsiteX8" fmla="*/ 771467 w 917657"/>
                <a:gd name="connsiteY8" fmla="*/ 623427 h 984504"/>
                <a:gd name="connsiteX9" fmla="*/ 801021 w 917657"/>
                <a:gd name="connsiteY9" fmla="*/ 671613 h 984504"/>
                <a:gd name="connsiteX10" fmla="*/ 817726 w 917657"/>
                <a:gd name="connsiteY10" fmla="*/ 726225 h 984504"/>
                <a:gd name="connsiteX11" fmla="*/ 820296 w 917657"/>
                <a:gd name="connsiteY11" fmla="*/ 790474 h 984504"/>
                <a:gd name="connsiteX12" fmla="*/ 805518 w 917657"/>
                <a:gd name="connsiteY12" fmla="*/ 844442 h 984504"/>
                <a:gd name="connsiteX13" fmla="*/ 817083 w 917657"/>
                <a:gd name="connsiteY13" fmla="*/ 907406 h 984504"/>
                <a:gd name="connsiteX14" fmla="*/ 778534 w 917657"/>
                <a:gd name="connsiteY14" fmla="*/ 927966 h 984504"/>
                <a:gd name="connsiteX15" fmla="*/ 734845 w 917657"/>
                <a:gd name="connsiteY15" fmla="*/ 927966 h 984504"/>
                <a:gd name="connsiteX16" fmla="*/ 684731 w 917657"/>
                <a:gd name="connsiteY16" fmla="*/ 942743 h 984504"/>
                <a:gd name="connsiteX17" fmla="*/ 643612 w 917657"/>
                <a:gd name="connsiteY17" fmla="*/ 984505 h 984504"/>
                <a:gd name="connsiteX18" fmla="*/ 614700 w 917657"/>
                <a:gd name="connsiteY18" fmla="*/ 971012 h 984504"/>
                <a:gd name="connsiteX19" fmla="*/ 612130 w 917657"/>
                <a:gd name="connsiteY19" fmla="*/ 968443 h 984504"/>
                <a:gd name="connsiteX20" fmla="*/ 610845 w 917657"/>
                <a:gd name="connsiteY20" fmla="*/ 967158 h 984504"/>
                <a:gd name="connsiteX21" fmla="*/ 605705 w 917657"/>
                <a:gd name="connsiteY21" fmla="*/ 963303 h 984504"/>
                <a:gd name="connsiteX22" fmla="*/ 601850 w 917657"/>
                <a:gd name="connsiteY22" fmla="*/ 960733 h 984504"/>
                <a:gd name="connsiteX23" fmla="*/ 595425 w 917657"/>
                <a:gd name="connsiteY23" fmla="*/ 956878 h 984504"/>
                <a:gd name="connsiteX24" fmla="*/ 585145 w 917657"/>
                <a:gd name="connsiteY24" fmla="*/ 951095 h 984504"/>
                <a:gd name="connsiteX25" fmla="*/ 558161 w 917657"/>
                <a:gd name="connsiteY25" fmla="*/ 938246 h 984504"/>
                <a:gd name="connsiteX26" fmla="*/ 530534 w 917657"/>
                <a:gd name="connsiteY26" fmla="*/ 934391 h 984504"/>
                <a:gd name="connsiteX27" fmla="*/ 481705 w 917657"/>
                <a:gd name="connsiteY27" fmla="*/ 924111 h 984504"/>
                <a:gd name="connsiteX28" fmla="*/ 466928 w 917657"/>
                <a:gd name="connsiteY28" fmla="*/ 920898 h 984504"/>
                <a:gd name="connsiteX29" fmla="*/ 445726 w 917657"/>
                <a:gd name="connsiteY29" fmla="*/ 930536 h 984504"/>
                <a:gd name="connsiteX30" fmla="*/ 428378 w 917657"/>
                <a:gd name="connsiteY30" fmla="*/ 935676 h 984504"/>
                <a:gd name="connsiteX31" fmla="*/ 424524 w 917657"/>
                <a:gd name="connsiteY31" fmla="*/ 915759 h 984504"/>
                <a:gd name="connsiteX32" fmla="*/ 407819 w 917657"/>
                <a:gd name="connsiteY32" fmla="*/ 902909 h 984504"/>
                <a:gd name="connsiteX33" fmla="*/ 397539 w 917657"/>
                <a:gd name="connsiteY33" fmla="*/ 901624 h 984504"/>
                <a:gd name="connsiteX34" fmla="*/ 402036 w 917657"/>
                <a:gd name="connsiteY34" fmla="*/ 912546 h 984504"/>
                <a:gd name="connsiteX35" fmla="*/ 406534 w 917657"/>
                <a:gd name="connsiteY35" fmla="*/ 924754 h 984504"/>
                <a:gd name="connsiteX36" fmla="*/ 385332 w 917657"/>
                <a:gd name="connsiteY36" fmla="*/ 918971 h 984504"/>
                <a:gd name="connsiteX37" fmla="*/ 364772 w 917657"/>
                <a:gd name="connsiteY37" fmla="*/ 917044 h 984504"/>
                <a:gd name="connsiteX38" fmla="*/ 357705 w 917657"/>
                <a:gd name="connsiteY38" fmla="*/ 909334 h 984504"/>
                <a:gd name="connsiteX39" fmla="*/ 374410 w 917657"/>
                <a:gd name="connsiteY39" fmla="*/ 900339 h 984504"/>
                <a:gd name="connsiteX40" fmla="*/ 379549 w 917657"/>
                <a:gd name="connsiteY40" fmla="*/ 890701 h 984504"/>
                <a:gd name="connsiteX41" fmla="*/ 367342 w 917657"/>
                <a:gd name="connsiteY41" fmla="*/ 873997 h 984504"/>
                <a:gd name="connsiteX42" fmla="*/ 354492 w 917657"/>
                <a:gd name="connsiteY42" fmla="*/ 873354 h 984504"/>
                <a:gd name="connsiteX43" fmla="*/ 337788 w 917657"/>
                <a:gd name="connsiteY43" fmla="*/ 870142 h 984504"/>
                <a:gd name="connsiteX44" fmla="*/ 321726 w 917657"/>
                <a:gd name="connsiteY44" fmla="*/ 874639 h 984504"/>
                <a:gd name="connsiteX45" fmla="*/ 305021 w 917657"/>
                <a:gd name="connsiteY45" fmla="*/ 886204 h 984504"/>
                <a:gd name="connsiteX46" fmla="*/ 291529 w 917657"/>
                <a:gd name="connsiteY46" fmla="*/ 896484 h 984504"/>
                <a:gd name="connsiteX47" fmla="*/ 282534 w 917657"/>
                <a:gd name="connsiteY47" fmla="*/ 925396 h 984504"/>
                <a:gd name="connsiteX48" fmla="*/ 305663 w 917657"/>
                <a:gd name="connsiteY48" fmla="*/ 934391 h 984504"/>
                <a:gd name="connsiteX49" fmla="*/ 317871 w 917657"/>
                <a:gd name="connsiteY49" fmla="*/ 926681 h 984504"/>
                <a:gd name="connsiteX50" fmla="*/ 328150 w 917657"/>
                <a:gd name="connsiteY50" fmla="*/ 918971 h 984504"/>
                <a:gd name="connsiteX51" fmla="*/ 343570 w 917657"/>
                <a:gd name="connsiteY51" fmla="*/ 927323 h 984504"/>
                <a:gd name="connsiteX52" fmla="*/ 345498 w 917657"/>
                <a:gd name="connsiteY52" fmla="*/ 940816 h 984504"/>
                <a:gd name="connsiteX53" fmla="*/ 337788 w 917657"/>
                <a:gd name="connsiteY53" fmla="*/ 951738 h 984504"/>
                <a:gd name="connsiteX54" fmla="*/ 329435 w 917657"/>
                <a:gd name="connsiteY54" fmla="*/ 961375 h 984504"/>
                <a:gd name="connsiteX55" fmla="*/ 321083 w 917657"/>
                <a:gd name="connsiteY55" fmla="*/ 947241 h 984504"/>
                <a:gd name="connsiteX56" fmla="*/ 306306 w 917657"/>
                <a:gd name="connsiteY56" fmla="*/ 945313 h 984504"/>
                <a:gd name="connsiteX57" fmla="*/ 296669 w 917657"/>
                <a:gd name="connsiteY57" fmla="*/ 957520 h 984504"/>
                <a:gd name="connsiteX58" fmla="*/ 283176 w 917657"/>
                <a:gd name="connsiteY58" fmla="*/ 967800 h 984504"/>
                <a:gd name="connsiteX59" fmla="*/ 257477 w 917657"/>
                <a:gd name="connsiteY59" fmla="*/ 962660 h 984504"/>
                <a:gd name="connsiteX60" fmla="*/ 234990 w 917657"/>
                <a:gd name="connsiteY60" fmla="*/ 951738 h 984504"/>
                <a:gd name="connsiteX61" fmla="*/ 206078 w 917657"/>
                <a:gd name="connsiteY61" fmla="*/ 949810 h 984504"/>
                <a:gd name="connsiteX62" fmla="*/ 175238 w 917657"/>
                <a:gd name="connsiteY62" fmla="*/ 972297 h 984504"/>
                <a:gd name="connsiteX63" fmla="*/ 145684 w 917657"/>
                <a:gd name="connsiteY63" fmla="*/ 976153 h 984504"/>
                <a:gd name="connsiteX64" fmla="*/ 91715 w 917657"/>
                <a:gd name="connsiteY64" fmla="*/ 976153 h 984504"/>
                <a:gd name="connsiteX65" fmla="*/ 62161 w 917657"/>
                <a:gd name="connsiteY65" fmla="*/ 976795 h 984504"/>
                <a:gd name="connsiteX66" fmla="*/ 39031 w 917657"/>
                <a:gd name="connsiteY66" fmla="*/ 972297 h 984504"/>
                <a:gd name="connsiteX67" fmla="*/ 42886 w 917657"/>
                <a:gd name="connsiteY67" fmla="*/ 962660 h 984504"/>
                <a:gd name="connsiteX68" fmla="*/ 45456 w 917657"/>
                <a:gd name="connsiteY68" fmla="*/ 953023 h 984504"/>
                <a:gd name="connsiteX69" fmla="*/ 36461 w 917657"/>
                <a:gd name="connsiteY69" fmla="*/ 943385 h 984504"/>
                <a:gd name="connsiteX70" fmla="*/ 26824 w 917657"/>
                <a:gd name="connsiteY70" fmla="*/ 956878 h 984504"/>
                <a:gd name="connsiteX71" fmla="*/ 18472 w 917657"/>
                <a:gd name="connsiteY71" fmla="*/ 958805 h 984504"/>
                <a:gd name="connsiteX72" fmla="*/ 8192 w 917657"/>
                <a:gd name="connsiteY72" fmla="*/ 953023 h 984504"/>
                <a:gd name="connsiteX73" fmla="*/ 9477 w 917657"/>
                <a:gd name="connsiteY73" fmla="*/ 939531 h 984504"/>
                <a:gd name="connsiteX74" fmla="*/ 482 w 917657"/>
                <a:gd name="connsiteY74" fmla="*/ 926681 h 984504"/>
                <a:gd name="connsiteX75" fmla="*/ 482 w 917657"/>
                <a:gd name="connsiteY75" fmla="*/ 909334 h 984504"/>
                <a:gd name="connsiteX76" fmla="*/ 3694 w 917657"/>
                <a:gd name="connsiteY76" fmla="*/ 882992 h 984504"/>
                <a:gd name="connsiteX77" fmla="*/ 4979 w 917657"/>
                <a:gd name="connsiteY77" fmla="*/ 865002 h 984504"/>
                <a:gd name="connsiteX78" fmla="*/ 8192 w 917657"/>
                <a:gd name="connsiteY78" fmla="*/ 850225 h 984504"/>
                <a:gd name="connsiteX79" fmla="*/ 20399 w 917657"/>
                <a:gd name="connsiteY79" fmla="*/ 817458 h 984504"/>
                <a:gd name="connsiteX80" fmla="*/ 30036 w 917657"/>
                <a:gd name="connsiteY80" fmla="*/ 797541 h 984504"/>
                <a:gd name="connsiteX81" fmla="*/ 33249 w 917657"/>
                <a:gd name="connsiteY81" fmla="*/ 783406 h 984504"/>
                <a:gd name="connsiteX82" fmla="*/ 20399 w 917657"/>
                <a:gd name="connsiteY82" fmla="*/ 759634 h 984504"/>
                <a:gd name="connsiteX83" fmla="*/ 22326 w 917657"/>
                <a:gd name="connsiteY83" fmla="*/ 721727 h 984504"/>
                <a:gd name="connsiteX84" fmla="*/ 31964 w 917657"/>
                <a:gd name="connsiteY84" fmla="*/ 701810 h 984504"/>
                <a:gd name="connsiteX85" fmla="*/ 53808 w 917657"/>
                <a:gd name="connsiteY85" fmla="*/ 664546 h 984504"/>
                <a:gd name="connsiteX86" fmla="*/ 60233 w 917657"/>
                <a:gd name="connsiteY86" fmla="*/ 652339 h 984504"/>
                <a:gd name="connsiteX87" fmla="*/ 58948 w 917657"/>
                <a:gd name="connsiteY87" fmla="*/ 644629 h 984504"/>
                <a:gd name="connsiteX88" fmla="*/ 66658 w 917657"/>
                <a:gd name="connsiteY88" fmla="*/ 639489 h 984504"/>
                <a:gd name="connsiteX89" fmla="*/ 73083 w 917657"/>
                <a:gd name="connsiteY89" fmla="*/ 634992 h 984504"/>
                <a:gd name="connsiteX90" fmla="*/ 75653 w 917657"/>
                <a:gd name="connsiteY90" fmla="*/ 619572 h 984504"/>
                <a:gd name="connsiteX91" fmla="*/ 69228 w 917657"/>
                <a:gd name="connsiteY91" fmla="*/ 599012 h 984504"/>
                <a:gd name="connsiteX92" fmla="*/ 82720 w 917657"/>
                <a:gd name="connsiteY92" fmla="*/ 573313 h 984504"/>
                <a:gd name="connsiteX93" fmla="*/ 89788 w 917657"/>
                <a:gd name="connsiteY93" fmla="*/ 533479 h 984504"/>
                <a:gd name="connsiteX94" fmla="*/ 102637 w 917657"/>
                <a:gd name="connsiteY94" fmla="*/ 502639 h 984504"/>
                <a:gd name="connsiteX95" fmla="*/ 132192 w 917657"/>
                <a:gd name="connsiteY95" fmla="*/ 475655 h 984504"/>
                <a:gd name="connsiteX96" fmla="*/ 146969 w 917657"/>
                <a:gd name="connsiteY96" fmla="*/ 458308 h 984504"/>
                <a:gd name="connsiteX97" fmla="*/ 164316 w 917657"/>
                <a:gd name="connsiteY97" fmla="*/ 442888 h 984504"/>
                <a:gd name="connsiteX98" fmla="*/ 185518 w 917657"/>
                <a:gd name="connsiteY98" fmla="*/ 431966 h 984504"/>
                <a:gd name="connsiteX99" fmla="*/ 190658 w 917657"/>
                <a:gd name="connsiteY99" fmla="*/ 410121 h 984504"/>
                <a:gd name="connsiteX100" fmla="*/ 209933 w 917657"/>
                <a:gd name="connsiteY100" fmla="*/ 379924 h 984504"/>
                <a:gd name="connsiteX101" fmla="*/ 213145 w 917657"/>
                <a:gd name="connsiteY101" fmla="*/ 365147 h 984504"/>
                <a:gd name="connsiteX102" fmla="*/ 224068 w 917657"/>
                <a:gd name="connsiteY102" fmla="*/ 361292 h 984504"/>
                <a:gd name="connsiteX103" fmla="*/ 262617 w 917657"/>
                <a:gd name="connsiteY103" fmla="*/ 311178 h 984504"/>
                <a:gd name="connsiteX104" fmla="*/ 270327 w 917657"/>
                <a:gd name="connsiteY104" fmla="*/ 275199 h 984504"/>
                <a:gd name="connsiteX105" fmla="*/ 273539 w 917657"/>
                <a:gd name="connsiteY105" fmla="*/ 247572 h 984504"/>
                <a:gd name="connsiteX106" fmla="*/ 301808 w 917657"/>
                <a:gd name="connsiteY106" fmla="*/ 214805 h 984504"/>
                <a:gd name="connsiteX107" fmla="*/ 314016 w 917657"/>
                <a:gd name="connsiteY107" fmla="*/ 180753 h 984504"/>
                <a:gd name="connsiteX108" fmla="*/ 301808 w 917657"/>
                <a:gd name="connsiteY108" fmla="*/ 151199 h 984504"/>
                <a:gd name="connsiteX109" fmla="*/ 289601 w 917657"/>
                <a:gd name="connsiteY109" fmla="*/ 130639 h 984504"/>
                <a:gd name="connsiteX110" fmla="*/ 286389 w 917657"/>
                <a:gd name="connsiteY110" fmla="*/ 108794 h 984504"/>
                <a:gd name="connsiteX111" fmla="*/ 288316 w 917657"/>
                <a:gd name="connsiteY111" fmla="*/ 91447 h 984504"/>
                <a:gd name="connsiteX112" fmla="*/ 295384 w 917657"/>
                <a:gd name="connsiteY112" fmla="*/ 90162 h 984504"/>
                <a:gd name="connsiteX113" fmla="*/ 336503 w 917657"/>
                <a:gd name="connsiteY113" fmla="*/ 80525 h 984504"/>
                <a:gd name="connsiteX114" fmla="*/ 371840 w 917657"/>
                <a:gd name="connsiteY114" fmla="*/ 77955 h 984504"/>
                <a:gd name="connsiteX115" fmla="*/ 368627 w 917657"/>
                <a:gd name="connsiteY115" fmla="*/ 96587 h 984504"/>
                <a:gd name="connsiteX116" fmla="*/ 385974 w 917657"/>
                <a:gd name="connsiteY116" fmla="*/ 121002 h 984504"/>
                <a:gd name="connsiteX117" fmla="*/ 411031 w 917657"/>
                <a:gd name="connsiteY117" fmla="*/ 144774 h 984504"/>
                <a:gd name="connsiteX118" fmla="*/ 402036 w 917657"/>
                <a:gd name="connsiteY118" fmla="*/ 174328 h 984504"/>
                <a:gd name="connsiteX119" fmla="*/ 421311 w 917657"/>
                <a:gd name="connsiteY119" fmla="*/ 176898 h 984504"/>
                <a:gd name="connsiteX120" fmla="*/ 437373 w 917657"/>
                <a:gd name="connsiteY120" fmla="*/ 158266 h 984504"/>
                <a:gd name="connsiteX121" fmla="*/ 456005 w 917657"/>
                <a:gd name="connsiteY121" fmla="*/ 155054 h 984504"/>
                <a:gd name="connsiteX122" fmla="*/ 447011 w 917657"/>
                <a:gd name="connsiteY122" fmla="*/ 141561 h 984504"/>
                <a:gd name="connsiteX123" fmla="*/ 456005 w 917657"/>
                <a:gd name="connsiteY123" fmla="*/ 128069 h 984504"/>
                <a:gd name="connsiteX124" fmla="*/ 482347 w 917657"/>
                <a:gd name="connsiteY124" fmla="*/ 128069 h 984504"/>
                <a:gd name="connsiteX125" fmla="*/ 502907 w 917657"/>
                <a:gd name="connsiteY125" fmla="*/ 118432 h 984504"/>
                <a:gd name="connsiteX126" fmla="*/ 498410 w 917657"/>
                <a:gd name="connsiteY126" fmla="*/ 100442 h 984504"/>
                <a:gd name="connsiteX127" fmla="*/ 498410 w 917657"/>
                <a:gd name="connsiteY127" fmla="*/ 100442 h 984504"/>
                <a:gd name="connsiteX128" fmla="*/ 518969 w 917657"/>
                <a:gd name="connsiteY128" fmla="*/ 94660 h 984504"/>
                <a:gd name="connsiteX129" fmla="*/ 567156 w 917657"/>
                <a:gd name="connsiteY129" fmla="*/ 79240 h 984504"/>
                <a:gd name="connsiteX130" fmla="*/ 587715 w 917657"/>
                <a:gd name="connsiteY130" fmla="*/ 61250 h 984504"/>
                <a:gd name="connsiteX131" fmla="*/ 582575 w 917657"/>
                <a:gd name="connsiteY131" fmla="*/ 34908 h 984504"/>
                <a:gd name="connsiteX132" fmla="*/ 566513 w 917657"/>
                <a:gd name="connsiteY132" fmla="*/ 32339 h 984504"/>
                <a:gd name="connsiteX133" fmla="*/ 549809 w 917657"/>
                <a:gd name="connsiteY133" fmla="*/ 25271 h 984504"/>
                <a:gd name="connsiteX134" fmla="*/ 568441 w 917657"/>
                <a:gd name="connsiteY134" fmla="*/ 7924 h 984504"/>
                <a:gd name="connsiteX135" fmla="*/ 583860 w 917657"/>
                <a:gd name="connsiteY135" fmla="*/ 7924 h 984504"/>
                <a:gd name="connsiteX136" fmla="*/ 587073 w 917657"/>
                <a:gd name="connsiteY136" fmla="*/ 857 h 984504"/>
                <a:gd name="connsiteX137" fmla="*/ 598638 w 917657"/>
                <a:gd name="connsiteY137" fmla="*/ 857 h 984504"/>
                <a:gd name="connsiteX138" fmla="*/ 603777 w 917657"/>
                <a:gd name="connsiteY138" fmla="*/ 10494 h 984504"/>
                <a:gd name="connsiteX139" fmla="*/ 623695 w 917657"/>
                <a:gd name="connsiteY139" fmla="*/ 9851 h 984504"/>
                <a:gd name="connsiteX140" fmla="*/ 652607 w 917657"/>
                <a:gd name="connsiteY140" fmla="*/ 9209 h 984504"/>
                <a:gd name="connsiteX141" fmla="*/ 668026 w 917657"/>
                <a:gd name="connsiteY141" fmla="*/ 31053 h 984504"/>
                <a:gd name="connsiteX142" fmla="*/ 691156 w 917657"/>
                <a:gd name="connsiteY142" fmla="*/ 29126 h 984504"/>
                <a:gd name="connsiteX143" fmla="*/ 709145 w 917657"/>
                <a:gd name="connsiteY143" fmla="*/ 40691 h 984504"/>
                <a:gd name="connsiteX144" fmla="*/ 741270 w 917657"/>
                <a:gd name="connsiteY144" fmla="*/ 101727 h 984504"/>
                <a:gd name="connsiteX145" fmla="*/ 743840 w 917657"/>
                <a:gd name="connsiteY145" fmla="*/ 135779 h 984504"/>
                <a:gd name="connsiteX146" fmla="*/ 775322 w 917657"/>
                <a:gd name="connsiteY146" fmla="*/ 138991 h 984504"/>
                <a:gd name="connsiteX147" fmla="*/ 778534 w 917657"/>
                <a:gd name="connsiteY147" fmla="*/ 115219 h 984504"/>
                <a:gd name="connsiteX148" fmla="*/ 789456 w 917657"/>
                <a:gd name="connsiteY148" fmla="*/ 103655 h 984504"/>
                <a:gd name="connsiteX149" fmla="*/ 806161 w 917657"/>
                <a:gd name="connsiteY149" fmla="*/ 126784 h 984504"/>
                <a:gd name="connsiteX150" fmla="*/ 806161 w 917657"/>
                <a:gd name="connsiteY150" fmla="*/ 167261 h 984504"/>
                <a:gd name="connsiteX151" fmla="*/ 795239 w 917657"/>
                <a:gd name="connsiteY151" fmla="*/ 196815 h 984504"/>
                <a:gd name="connsiteX152" fmla="*/ 803591 w 917657"/>
                <a:gd name="connsiteY152" fmla="*/ 241147 h 984504"/>
                <a:gd name="connsiteX153" fmla="*/ 848565 w 917657"/>
                <a:gd name="connsiteY153" fmla="*/ 312463 h 984504"/>
                <a:gd name="connsiteX154" fmla="*/ 867840 w 917657"/>
                <a:gd name="connsiteY154" fmla="*/ 330453 h 984504"/>
                <a:gd name="connsiteX155" fmla="*/ 890969 w 917657"/>
                <a:gd name="connsiteY155" fmla="*/ 351655 h 984504"/>
                <a:gd name="connsiteX156" fmla="*/ 911529 w 917657"/>
                <a:gd name="connsiteY156" fmla="*/ 380567 h 984504"/>
                <a:gd name="connsiteX157" fmla="*/ 907674 w 917657"/>
                <a:gd name="connsiteY157" fmla="*/ 422328 h 984504"/>
                <a:gd name="connsiteX158" fmla="*/ 916669 w 917657"/>
                <a:gd name="connsiteY158" fmla="*/ 449313 h 98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917657" h="984504">
                  <a:moveTo>
                    <a:pt x="916669" y="449313"/>
                  </a:moveTo>
                  <a:cubicBezTo>
                    <a:pt x="913456" y="466017"/>
                    <a:pt x="905746" y="473727"/>
                    <a:pt x="899964" y="481437"/>
                  </a:cubicBezTo>
                  <a:cubicBezTo>
                    <a:pt x="894182" y="488505"/>
                    <a:pt x="875550" y="501354"/>
                    <a:pt x="872980" y="514204"/>
                  </a:cubicBezTo>
                  <a:cubicBezTo>
                    <a:pt x="871052" y="527054"/>
                    <a:pt x="883259" y="539904"/>
                    <a:pt x="865270" y="553396"/>
                  </a:cubicBezTo>
                  <a:cubicBezTo>
                    <a:pt x="847280" y="566888"/>
                    <a:pt x="839570" y="572028"/>
                    <a:pt x="828648" y="577810"/>
                  </a:cubicBezTo>
                  <a:cubicBezTo>
                    <a:pt x="817726" y="583593"/>
                    <a:pt x="811943" y="584235"/>
                    <a:pt x="811301" y="577810"/>
                  </a:cubicBezTo>
                  <a:cubicBezTo>
                    <a:pt x="810658" y="571385"/>
                    <a:pt x="817083" y="563676"/>
                    <a:pt x="809373" y="564318"/>
                  </a:cubicBezTo>
                  <a:cubicBezTo>
                    <a:pt x="802306" y="564961"/>
                    <a:pt x="781747" y="582308"/>
                    <a:pt x="777249" y="591303"/>
                  </a:cubicBezTo>
                  <a:cubicBezTo>
                    <a:pt x="772752" y="600940"/>
                    <a:pt x="761829" y="610577"/>
                    <a:pt x="771467" y="623427"/>
                  </a:cubicBezTo>
                  <a:cubicBezTo>
                    <a:pt x="781747" y="636277"/>
                    <a:pt x="795239" y="647199"/>
                    <a:pt x="801021" y="671613"/>
                  </a:cubicBezTo>
                  <a:cubicBezTo>
                    <a:pt x="806803" y="695386"/>
                    <a:pt x="813871" y="703738"/>
                    <a:pt x="817726" y="726225"/>
                  </a:cubicBezTo>
                  <a:cubicBezTo>
                    <a:pt x="821581" y="748712"/>
                    <a:pt x="826078" y="770556"/>
                    <a:pt x="820296" y="790474"/>
                  </a:cubicBezTo>
                  <a:cubicBezTo>
                    <a:pt x="814513" y="810391"/>
                    <a:pt x="793311" y="826453"/>
                    <a:pt x="805518" y="844442"/>
                  </a:cubicBezTo>
                  <a:cubicBezTo>
                    <a:pt x="817726" y="862432"/>
                    <a:pt x="821581" y="897769"/>
                    <a:pt x="817083" y="907406"/>
                  </a:cubicBezTo>
                  <a:cubicBezTo>
                    <a:pt x="812586" y="917044"/>
                    <a:pt x="801664" y="923469"/>
                    <a:pt x="778534" y="927966"/>
                  </a:cubicBezTo>
                  <a:cubicBezTo>
                    <a:pt x="755405" y="931821"/>
                    <a:pt x="753477" y="930536"/>
                    <a:pt x="734845" y="927966"/>
                  </a:cubicBezTo>
                  <a:cubicBezTo>
                    <a:pt x="715570" y="925396"/>
                    <a:pt x="698223" y="930536"/>
                    <a:pt x="684731" y="942743"/>
                  </a:cubicBezTo>
                  <a:cubicBezTo>
                    <a:pt x="671239" y="954950"/>
                    <a:pt x="641042" y="960733"/>
                    <a:pt x="643612" y="984505"/>
                  </a:cubicBezTo>
                  <a:cubicBezTo>
                    <a:pt x="630762" y="981292"/>
                    <a:pt x="619840" y="976795"/>
                    <a:pt x="614700" y="971012"/>
                  </a:cubicBezTo>
                  <a:cubicBezTo>
                    <a:pt x="614057" y="970370"/>
                    <a:pt x="612772" y="969728"/>
                    <a:pt x="612130" y="968443"/>
                  </a:cubicBezTo>
                  <a:cubicBezTo>
                    <a:pt x="611487" y="967800"/>
                    <a:pt x="610845" y="967800"/>
                    <a:pt x="610845" y="967158"/>
                  </a:cubicBezTo>
                  <a:cubicBezTo>
                    <a:pt x="608917" y="965873"/>
                    <a:pt x="607632" y="964587"/>
                    <a:pt x="605705" y="963303"/>
                  </a:cubicBezTo>
                  <a:cubicBezTo>
                    <a:pt x="604420" y="962660"/>
                    <a:pt x="603135" y="961375"/>
                    <a:pt x="601850" y="960733"/>
                  </a:cubicBezTo>
                  <a:cubicBezTo>
                    <a:pt x="599923" y="959448"/>
                    <a:pt x="597353" y="958163"/>
                    <a:pt x="595425" y="956878"/>
                  </a:cubicBezTo>
                  <a:cubicBezTo>
                    <a:pt x="592213" y="954950"/>
                    <a:pt x="588358" y="953023"/>
                    <a:pt x="585145" y="951095"/>
                  </a:cubicBezTo>
                  <a:cubicBezTo>
                    <a:pt x="574866" y="944671"/>
                    <a:pt x="558803" y="938246"/>
                    <a:pt x="558161" y="938246"/>
                  </a:cubicBezTo>
                  <a:cubicBezTo>
                    <a:pt x="557518" y="938246"/>
                    <a:pt x="544669" y="937603"/>
                    <a:pt x="530534" y="934391"/>
                  </a:cubicBezTo>
                  <a:cubicBezTo>
                    <a:pt x="515757" y="931178"/>
                    <a:pt x="486845" y="926681"/>
                    <a:pt x="481705" y="924111"/>
                  </a:cubicBezTo>
                  <a:cubicBezTo>
                    <a:pt x="477207" y="921541"/>
                    <a:pt x="472068" y="918329"/>
                    <a:pt x="466928" y="920898"/>
                  </a:cubicBezTo>
                  <a:cubicBezTo>
                    <a:pt x="461788" y="922826"/>
                    <a:pt x="450223" y="926681"/>
                    <a:pt x="445726" y="930536"/>
                  </a:cubicBezTo>
                  <a:cubicBezTo>
                    <a:pt x="441228" y="934391"/>
                    <a:pt x="430306" y="942100"/>
                    <a:pt x="428378" y="935676"/>
                  </a:cubicBezTo>
                  <a:cubicBezTo>
                    <a:pt x="426451" y="929251"/>
                    <a:pt x="426451" y="917686"/>
                    <a:pt x="424524" y="915759"/>
                  </a:cubicBezTo>
                  <a:cubicBezTo>
                    <a:pt x="423239" y="913831"/>
                    <a:pt x="411674" y="904836"/>
                    <a:pt x="407819" y="902909"/>
                  </a:cubicBezTo>
                  <a:cubicBezTo>
                    <a:pt x="403964" y="900981"/>
                    <a:pt x="399467" y="897769"/>
                    <a:pt x="397539" y="901624"/>
                  </a:cubicBezTo>
                  <a:cubicBezTo>
                    <a:pt x="395612" y="904836"/>
                    <a:pt x="396897" y="906764"/>
                    <a:pt x="402036" y="912546"/>
                  </a:cubicBezTo>
                  <a:cubicBezTo>
                    <a:pt x="406534" y="918329"/>
                    <a:pt x="409104" y="924754"/>
                    <a:pt x="406534" y="924754"/>
                  </a:cubicBezTo>
                  <a:cubicBezTo>
                    <a:pt x="403964" y="924754"/>
                    <a:pt x="393684" y="920256"/>
                    <a:pt x="385332" y="918971"/>
                  </a:cubicBezTo>
                  <a:cubicBezTo>
                    <a:pt x="377622" y="917686"/>
                    <a:pt x="367985" y="917686"/>
                    <a:pt x="364772" y="917044"/>
                  </a:cubicBezTo>
                  <a:cubicBezTo>
                    <a:pt x="361560" y="916401"/>
                    <a:pt x="349353" y="915759"/>
                    <a:pt x="357705" y="909334"/>
                  </a:cubicBezTo>
                  <a:cubicBezTo>
                    <a:pt x="366057" y="902909"/>
                    <a:pt x="371197" y="902909"/>
                    <a:pt x="374410" y="900339"/>
                  </a:cubicBezTo>
                  <a:cubicBezTo>
                    <a:pt x="378264" y="897769"/>
                    <a:pt x="387259" y="900981"/>
                    <a:pt x="379549" y="890701"/>
                  </a:cubicBezTo>
                  <a:cubicBezTo>
                    <a:pt x="371840" y="880422"/>
                    <a:pt x="371197" y="875924"/>
                    <a:pt x="367342" y="873997"/>
                  </a:cubicBezTo>
                  <a:cubicBezTo>
                    <a:pt x="363487" y="872712"/>
                    <a:pt x="360917" y="873997"/>
                    <a:pt x="354492" y="873354"/>
                  </a:cubicBezTo>
                  <a:cubicBezTo>
                    <a:pt x="347425" y="872712"/>
                    <a:pt x="342285" y="870142"/>
                    <a:pt x="337788" y="870142"/>
                  </a:cubicBezTo>
                  <a:cubicBezTo>
                    <a:pt x="333290" y="870142"/>
                    <a:pt x="326865" y="870142"/>
                    <a:pt x="321726" y="874639"/>
                  </a:cubicBezTo>
                  <a:cubicBezTo>
                    <a:pt x="316586" y="879137"/>
                    <a:pt x="310161" y="881707"/>
                    <a:pt x="305021" y="886204"/>
                  </a:cubicBezTo>
                  <a:cubicBezTo>
                    <a:pt x="299239" y="890059"/>
                    <a:pt x="295384" y="888774"/>
                    <a:pt x="291529" y="896484"/>
                  </a:cubicBezTo>
                  <a:cubicBezTo>
                    <a:pt x="287674" y="903551"/>
                    <a:pt x="269684" y="918971"/>
                    <a:pt x="282534" y="925396"/>
                  </a:cubicBezTo>
                  <a:cubicBezTo>
                    <a:pt x="295384" y="931821"/>
                    <a:pt x="299881" y="935033"/>
                    <a:pt x="305663" y="934391"/>
                  </a:cubicBezTo>
                  <a:cubicBezTo>
                    <a:pt x="310803" y="933748"/>
                    <a:pt x="314658" y="931178"/>
                    <a:pt x="317871" y="926681"/>
                  </a:cubicBezTo>
                  <a:cubicBezTo>
                    <a:pt x="321083" y="922183"/>
                    <a:pt x="324295" y="918971"/>
                    <a:pt x="328150" y="918971"/>
                  </a:cubicBezTo>
                  <a:cubicBezTo>
                    <a:pt x="332005" y="918971"/>
                    <a:pt x="340358" y="923469"/>
                    <a:pt x="343570" y="927323"/>
                  </a:cubicBezTo>
                  <a:cubicBezTo>
                    <a:pt x="346783" y="931178"/>
                    <a:pt x="349353" y="936961"/>
                    <a:pt x="345498" y="940816"/>
                  </a:cubicBezTo>
                  <a:cubicBezTo>
                    <a:pt x="342285" y="945313"/>
                    <a:pt x="341643" y="943385"/>
                    <a:pt x="337788" y="951738"/>
                  </a:cubicBezTo>
                  <a:cubicBezTo>
                    <a:pt x="334575" y="960090"/>
                    <a:pt x="333290" y="968443"/>
                    <a:pt x="329435" y="961375"/>
                  </a:cubicBezTo>
                  <a:cubicBezTo>
                    <a:pt x="325581" y="954950"/>
                    <a:pt x="325581" y="949810"/>
                    <a:pt x="321083" y="947241"/>
                  </a:cubicBezTo>
                  <a:cubicBezTo>
                    <a:pt x="316586" y="944671"/>
                    <a:pt x="310161" y="940816"/>
                    <a:pt x="306306" y="945313"/>
                  </a:cubicBezTo>
                  <a:cubicBezTo>
                    <a:pt x="301808" y="949810"/>
                    <a:pt x="297311" y="956235"/>
                    <a:pt x="296669" y="957520"/>
                  </a:cubicBezTo>
                  <a:cubicBezTo>
                    <a:pt x="296026" y="958805"/>
                    <a:pt x="292814" y="967800"/>
                    <a:pt x="283176" y="967800"/>
                  </a:cubicBezTo>
                  <a:cubicBezTo>
                    <a:pt x="273539" y="968443"/>
                    <a:pt x="264544" y="966515"/>
                    <a:pt x="257477" y="962660"/>
                  </a:cubicBezTo>
                  <a:cubicBezTo>
                    <a:pt x="250409" y="958805"/>
                    <a:pt x="242700" y="954308"/>
                    <a:pt x="234990" y="951738"/>
                  </a:cubicBezTo>
                  <a:cubicBezTo>
                    <a:pt x="227280" y="949168"/>
                    <a:pt x="217000" y="942100"/>
                    <a:pt x="206078" y="949810"/>
                  </a:cubicBezTo>
                  <a:cubicBezTo>
                    <a:pt x="195798" y="957520"/>
                    <a:pt x="188088" y="968443"/>
                    <a:pt x="175238" y="972297"/>
                  </a:cubicBezTo>
                  <a:cubicBezTo>
                    <a:pt x="162389" y="976153"/>
                    <a:pt x="150181" y="977437"/>
                    <a:pt x="145684" y="976153"/>
                  </a:cubicBezTo>
                  <a:cubicBezTo>
                    <a:pt x="141829" y="974868"/>
                    <a:pt x="104565" y="976153"/>
                    <a:pt x="91715" y="976153"/>
                  </a:cubicBezTo>
                  <a:cubicBezTo>
                    <a:pt x="79508" y="976153"/>
                    <a:pt x="72440" y="976153"/>
                    <a:pt x="62161" y="976795"/>
                  </a:cubicBezTo>
                  <a:cubicBezTo>
                    <a:pt x="51881" y="978080"/>
                    <a:pt x="39031" y="974225"/>
                    <a:pt x="39031" y="972297"/>
                  </a:cubicBezTo>
                  <a:cubicBezTo>
                    <a:pt x="38389" y="970370"/>
                    <a:pt x="41601" y="965873"/>
                    <a:pt x="42886" y="962660"/>
                  </a:cubicBezTo>
                  <a:cubicBezTo>
                    <a:pt x="44171" y="958805"/>
                    <a:pt x="48668" y="959448"/>
                    <a:pt x="45456" y="953023"/>
                  </a:cubicBezTo>
                  <a:cubicBezTo>
                    <a:pt x="42244" y="946598"/>
                    <a:pt x="39674" y="940816"/>
                    <a:pt x="36461" y="943385"/>
                  </a:cubicBezTo>
                  <a:cubicBezTo>
                    <a:pt x="33249" y="945956"/>
                    <a:pt x="29394" y="955593"/>
                    <a:pt x="26824" y="956878"/>
                  </a:cubicBezTo>
                  <a:cubicBezTo>
                    <a:pt x="24254" y="958163"/>
                    <a:pt x="21041" y="959448"/>
                    <a:pt x="18472" y="958805"/>
                  </a:cubicBezTo>
                  <a:cubicBezTo>
                    <a:pt x="15259" y="958163"/>
                    <a:pt x="6907" y="958805"/>
                    <a:pt x="8192" y="953023"/>
                  </a:cubicBezTo>
                  <a:cubicBezTo>
                    <a:pt x="8834" y="947241"/>
                    <a:pt x="13332" y="945313"/>
                    <a:pt x="9477" y="939531"/>
                  </a:cubicBezTo>
                  <a:cubicBezTo>
                    <a:pt x="5622" y="933748"/>
                    <a:pt x="1124" y="927323"/>
                    <a:pt x="482" y="926681"/>
                  </a:cubicBezTo>
                  <a:cubicBezTo>
                    <a:pt x="-161" y="926038"/>
                    <a:pt x="-161" y="924111"/>
                    <a:pt x="482" y="909334"/>
                  </a:cubicBezTo>
                  <a:cubicBezTo>
                    <a:pt x="1124" y="895199"/>
                    <a:pt x="2409" y="891344"/>
                    <a:pt x="3694" y="882992"/>
                  </a:cubicBezTo>
                  <a:cubicBezTo>
                    <a:pt x="4979" y="874639"/>
                    <a:pt x="4979" y="866287"/>
                    <a:pt x="4979" y="865002"/>
                  </a:cubicBezTo>
                  <a:cubicBezTo>
                    <a:pt x="4979" y="863717"/>
                    <a:pt x="3694" y="865002"/>
                    <a:pt x="8192" y="850225"/>
                  </a:cubicBezTo>
                  <a:cubicBezTo>
                    <a:pt x="12047" y="835448"/>
                    <a:pt x="19114" y="823883"/>
                    <a:pt x="20399" y="817458"/>
                  </a:cubicBezTo>
                  <a:cubicBezTo>
                    <a:pt x="21684" y="811033"/>
                    <a:pt x="25539" y="804608"/>
                    <a:pt x="30036" y="797541"/>
                  </a:cubicBezTo>
                  <a:cubicBezTo>
                    <a:pt x="34534" y="790474"/>
                    <a:pt x="37746" y="793043"/>
                    <a:pt x="33249" y="783406"/>
                  </a:cubicBezTo>
                  <a:cubicBezTo>
                    <a:pt x="29394" y="773769"/>
                    <a:pt x="21041" y="782121"/>
                    <a:pt x="20399" y="759634"/>
                  </a:cubicBezTo>
                  <a:cubicBezTo>
                    <a:pt x="19114" y="737147"/>
                    <a:pt x="18472" y="731365"/>
                    <a:pt x="22326" y="721727"/>
                  </a:cubicBezTo>
                  <a:cubicBezTo>
                    <a:pt x="26181" y="712090"/>
                    <a:pt x="24896" y="708878"/>
                    <a:pt x="31964" y="701810"/>
                  </a:cubicBezTo>
                  <a:cubicBezTo>
                    <a:pt x="39031" y="694743"/>
                    <a:pt x="49953" y="670328"/>
                    <a:pt x="53808" y="664546"/>
                  </a:cubicBezTo>
                  <a:cubicBezTo>
                    <a:pt x="57663" y="658764"/>
                    <a:pt x="61518" y="656836"/>
                    <a:pt x="60233" y="652339"/>
                  </a:cubicBezTo>
                  <a:cubicBezTo>
                    <a:pt x="58948" y="648484"/>
                    <a:pt x="57021" y="647199"/>
                    <a:pt x="58948" y="644629"/>
                  </a:cubicBezTo>
                  <a:cubicBezTo>
                    <a:pt x="60876" y="642059"/>
                    <a:pt x="64088" y="642059"/>
                    <a:pt x="66658" y="639489"/>
                  </a:cubicBezTo>
                  <a:cubicBezTo>
                    <a:pt x="69228" y="637562"/>
                    <a:pt x="71156" y="639489"/>
                    <a:pt x="73083" y="634992"/>
                  </a:cubicBezTo>
                  <a:cubicBezTo>
                    <a:pt x="75010" y="629852"/>
                    <a:pt x="75653" y="621500"/>
                    <a:pt x="75653" y="619572"/>
                  </a:cubicBezTo>
                  <a:cubicBezTo>
                    <a:pt x="75653" y="617645"/>
                    <a:pt x="61518" y="614432"/>
                    <a:pt x="69228" y="599012"/>
                  </a:cubicBezTo>
                  <a:cubicBezTo>
                    <a:pt x="76938" y="583593"/>
                    <a:pt x="79508" y="585520"/>
                    <a:pt x="82720" y="573313"/>
                  </a:cubicBezTo>
                  <a:cubicBezTo>
                    <a:pt x="85933" y="561106"/>
                    <a:pt x="87860" y="543759"/>
                    <a:pt x="89788" y="533479"/>
                  </a:cubicBezTo>
                  <a:cubicBezTo>
                    <a:pt x="92358" y="523199"/>
                    <a:pt x="94928" y="509064"/>
                    <a:pt x="102637" y="502639"/>
                  </a:cubicBezTo>
                  <a:cubicBezTo>
                    <a:pt x="110347" y="495572"/>
                    <a:pt x="132192" y="475655"/>
                    <a:pt x="132192" y="475655"/>
                  </a:cubicBezTo>
                  <a:cubicBezTo>
                    <a:pt x="132192" y="475655"/>
                    <a:pt x="136047" y="467945"/>
                    <a:pt x="146969" y="458308"/>
                  </a:cubicBezTo>
                  <a:cubicBezTo>
                    <a:pt x="157891" y="448670"/>
                    <a:pt x="157249" y="445458"/>
                    <a:pt x="164316" y="442888"/>
                  </a:cubicBezTo>
                  <a:cubicBezTo>
                    <a:pt x="171384" y="439675"/>
                    <a:pt x="184233" y="437106"/>
                    <a:pt x="185518" y="431966"/>
                  </a:cubicBezTo>
                  <a:cubicBezTo>
                    <a:pt x="186161" y="426826"/>
                    <a:pt x="188731" y="413976"/>
                    <a:pt x="190658" y="410121"/>
                  </a:cubicBezTo>
                  <a:cubicBezTo>
                    <a:pt x="192586" y="406266"/>
                    <a:pt x="206078" y="387634"/>
                    <a:pt x="209933" y="379924"/>
                  </a:cubicBezTo>
                  <a:cubicBezTo>
                    <a:pt x="213145" y="374142"/>
                    <a:pt x="213788" y="368359"/>
                    <a:pt x="213145" y="365147"/>
                  </a:cubicBezTo>
                  <a:cubicBezTo>
                    <a:pt x="217643" y="363220"/>
                    <a:pt x="221497" y="361934"/>
                    <a:pt x="224068" y="361292"/>
                  </a:cubicBezTo>
                  <a:cubicBezTo>
                    <a:pt x="231135" y="358722"/>
                    <a:pt x="259404" y="322100"/>
                    <a:pt x="262617" y="311178"/>
                  </a:cubicBezTo>
                  <a:cubicBezTo>
                    <a:pt x="265187" y="300256"/>
                    <a:pt x="270327" y="282909"/>
                    <a:pt x="270327" y="275199"/>
                  </a:cubicBezTo>
                  <a:cubicBezTo>
                    <a:pt x="270327" y="267489"/>
                    <a:pt x="264544" y="254639"/>
                    <a:pt x="273539" y="247572"/>
                  </a:cubicBezTo>
                  <a:cubicBezTo>
                    <a:pt x="282534" y="240504"/>
                    <a:pt x="297311" y="226370"/>
                    <a:pt x="301808" y="214805"/>
                  </a:cubicBezTo>
                  <a:cubicBezTo>
                    <a:pt x="306306" y="202598"/>
                    <a:pt x="317228" y="192318"/>
                    <a:pt x="314016" y="180753"/>
                  </a:cubicBezTo>
                  <a:cubicBezTo>
                    <a:pt x="310803" y="169188"/>
                    <a:pt x="306948" y="155696"/>
                    <a:pt x="301808" y="151199"/>
                  </a:cubicBezTo>
                  <a:cubicBezTo>
                    <a:pt x="296669" y="146701"/>
                    <a:pt x="292814" y="137064"/>
                    <a:pt x="289601" y="130639"/>
                  </a:cubicBezTo>
                  <a:cubicBezTo>
                    <a:pt x="286389" y="123572"/>
                    <a:pt x="286389" y="113292"/>
                    <a:pt x="286389" y="108794"/>
                  </a:cubicBezTo>
                  <a:cubicBezTo>
                    <a:pt x="286389" y="104940"/>
                    <a:pt x="289601" y="96587"/>
                    <a:pt x="288316" y="91447"/>
                  </a:cubicBezTo>
                  <a:cubicBezTo>
                    <a:pt x="290886" y="90805"/>
                    <a:pt x="293456" y="90805"/>
                    <a:pt x="295384" y="90162"/>
                  </a:cubicBezTo>
                  <a:cubicBezTo>
                    <a:pt x="306306" y="88877"/>
                    <a:pt x="326865" y="84380"/>
                    <a:pt x="336503" y="80525"/>
                  </a:cubicBezTo>
                  <a:cubicBezTo>
                    <a:pt x="346783" y="76670"/>
                    <a:pt x="370555" y="73458"/>
                    <a:pt x="371840" y="77955"/>
                  </a:cubicBezTo>
                  <a:cubicBezTo>
                    <a:pt x="373125" y="82452"/>
                    <a:pt x="365415" y="85023"/>
                    <a:pt x="368627" y="96587"/>
                  </a:cubicBezTo>
                  <a:cubicBezTo>
                    <a:pt x="371197" y="108152"/>
                    <a:pt x="375052" y="115862"/>
                    <a:pt x="385974" y="121002"/>
                  </a:cubicBezTo>
                  <a:cubicBezTo>
                    <a:pt x="396897" y="126142"/>
                    <a:pt x="414244" y="136422"/>
                    <a:pt x="411031" y="144774"/>
                  </a:cubicBezTo>
                  <a:cubicBezTo>
                    <a:pt x="407819" y="153126"/>
                    <a:pt x="396254" y="169188"/>
                    <a:pt x="402036" y="174328"/>
                  </a:cubicBezTo>
                  <a:cubicBezTo>
                    <a:pt x="407819" y="179468"/>
                    <a:pt x="413601" y="182681"/>
                    <a:pt x="421311" y="176898"/>
                  </a:cubicBezTo>
                  <a:cubicBezTo>
                    <a:pt x="429021" y="171116"/>
                    <a:pt x="429021" y="159551"/>
                    <a:pt x="437373" y="158266"/>
                  </a:cubicBezTo>
                  <a:cubicBezTo>
                    <a:pt x="445726" y="156981"/>
                    <a:pt x="456005" y="155054"/>
                    <a:pt x="456005" y="155054"/>
                  </a:cubicBezTo>
                  <a:cubicBezTo>
                    <a:pt x="456005" y="155054"/>
                    <a:pt x="447653" y="144131"/>
                    <a:pt x="447011" y="141561"/>
                  </a:cubicBezTo>
                  <a:cubicBezTo>
                    <a:pt x="446368" y="138991"/>
                    <a:pt x="449580" y="127427"/>
                    <a:pt x="456005" y="128069"/>
                  </a:cubicBezTo>
                  <a:cubicBezTo>
                    <a:pt x="462430" y="128712"/>
                    <a:pt x="472710" y="129354"/>
                    <a:pt x="482347" y="128069"/>
                  </a:cubicBezTo>
                  <a:cubicBezTo>
                    <a:pt x="491985" y="126784"/>
                    <a:pt x="502907" y="124857"/>
                    <a:pt x="502907" y="118432"/>
                  </a:cubicBezTo>
                  <a:cubicBezTo>
                    <a:pt x="502907" y="112007"/>
                    <a:pt x="495840" y="103012"/>
                    <a:pt x="498410" y="100442"/>
                  </a:cubicBezTo>
                  <a:cubicBezTo>
                    <a:pt x="498410" y="100442"/>
                    <a:pt x="498410" y="100442"/>
                    <a:pt x="498410" y="100442"/>
                  </a:cubicBezTo>
                  <a:cubicBezTo>
                    <a:pt x="501622" y="97230"/>
                    <a:pt x="510617" y="94017"/>
                    <a:pt x="518969" y="94660"/>
                  </a:cubicBezTo>
                  <a:cubicBezTo>
                    <a:pt x="527964" y="95302"/>
                    <a:pt x="561373" y="83095"/>
                    <a:pt x="567156" y="79240"/>
                  </a:cubicBezTo>
                  <a:cubicBezTo>
                    <a:pt x="573581" y="75385"/>
                    <a:pt x="587715" y="70245"/>
                    <a:pt x="587715" y="61250"/>
                  </a:cubicBezTo>
                  <a:cubicBezTo>
                    <a:pt x="587715" y="52256"/>
                    <a:pt x="584503" y="34908"/>
                    <a:pt x="582575" y="34908"/>
                  </a:cubicBezTo>
                  <a:cubicBezTo>
                    <a:pt x="580648" y="34266"/>
                    <a:pt x="574866" y="31696"/>
                    <a:pt x="566513" y="32339"/>
                  </a:cubicBezTo>
                  <a:cubicBezTo>
                    <a:pt x="558161" y="32981"/>
                    <a:pt x="547881" y="30411"/>
                    <a:pt x="549809" y="25271"/>
                  </a:cubicBezTo>
                  <a:cubicBezTo>
                    <a:pt x="551736" y="20131"/>
                    <a:pt x="567156" y="7924"/>
                    <a:pt x="568441" y="7924"/>
                  </a:cubicBezTo>
                  <a:cubicBezTo>
                    <a:pt x="570368" y="7924"/>
                    <a:pt x="582575" y="6639"/>
                    <a:pt x="583860" y="7924"/>
                  </a:cubicBezTo>
                  <a:cubicBezTo>
                    <a:pt x="585788" y="9209"/>
                    <a:pt x="582575" y="3427"/>
                    <a:pt x="587073" y="857"/>
                  </a:cubicBezTo>
                  <a:cubicBezTo>
                    <a:pt x="591570" y="-1071"/>
                    <a:pt x="597995" y="857"/>
                    <a:pt x="598638" y="857"/>
                  </a:cubicBezTo>
                  <a:cubicBezTo>
                    <a:pt x="599280" y="857"/>
                    <a:pt x="595425" y="7924"/>
                    <a:pt x="603777" y="10494"/>
                  </a:cubicBezTo>
                  <a:cubicBezTo>
                    <a:pt x="612130" y="12421"/>
                    <a:pt x="619840" y="9851"/>
                    <a:pt x="623695" y="9851"/>
                  </a:cubicBezTo>
                  <a:cubicBezTo>
                    <a:pt x="627550" y="9851"/>
                    <a:pt x="648109" y="4069"/>
                    <a:pt x="652607" y="9209"/>
                  </a:cubicBezTo>
                  <a:cubicBezTo>
                    <a:pt x="657104" y="14349"/>
                    <a:pt x="662244" y="31053"/>
                    <a:pt x="668026" y="31053"/>
                  </a:cubicBezTo>
                  <a:cubicBezTo>
                    <a:pt x="674451" y="31053"/>
                    <a:pt x="682803" y="24629"/>
                    <a:pt x="691156" y="29126"/>
                  </a:cubicBezTo>
                  <a:cubicBezTo>
                    <a:pt x="699508" y="33624"/>
                    <a:pt x="706575" y="34908"/>
                    <a:pt x="709145" y="40691"/>
                  </a:cubicBezTo>
                  <a:cubicBezTo>
                    <a:pt x="711073" y="46473"/>
                    <a:pt x="740627" y="96587"/>
                    <a:pt x="741270" y="101727"/>
                  </a:cubicBezTo>
                  <a:cubicBezTo>
                    <a:pt x="742555" y="106867"/>
                    <a:pt x="734845" y="127427"/>
                    <a:pt x="743840" y="135779"/>
                  </a:cubicBezTo>
                  <a:cubicBezTo>
                    <a:pt x="753477" y="144131"/>
                    <a:pt x="773394" y="148629"/>
                    <a:pt x="775322" y="138991"/>
                  </a:cubicBezTo>
                  <a:cubicBezTo>
                    <a:pt x="777249" y="129354"/>
                    <a:pt x="778534" y="121002"/>
                    <a:pt x="778534" y="115219"/>
                  </a:cubicBezTo>
                  <a:cubicBezTo>
                    <a:pt x="778534" y="109437"/>
                    <a:pt x="783031" y="101085"/>
                    <a:pt x="789456" y="103655"/>
                  </a:cubicBezTo>
                  <a:cubicBezTo>
                    <a:pt x="795881" y="106225"/>
                    <a:pt x="804234" y="116504"/>
                    <a:pt x="806161" y="126784"/>
                  </a:cubicBezTo>
                  <a:cubicBezTo>
                    <a:pt x="808089" y="137064"/>
                    <a:pt x="809373" y="155696"/>
                    <a:pt x="806161" y="167261"/>
                  </a:cubicBezTo>
                  <a:cubicBezTo>
                    <a:pt x="802949" y="179468"/>
                    <a:pt x="795239" y="186536"/>
                    <a:pt x="795239" y="196815"/>
                  </a:cubicBezTo>
                  <a:cubicBezTo>
                    <a:pt x="794596" y="206453"/>
                    <a:pt x="803591" y="241147"/>
                    <a:pt x="803591" y="241147"/>
                  </a:cubicBezTo>
                  <a:cubicBezTo>
                    <a:pt x="803591" y="241147"/>
                    <a:pt x="844068" y="300898"/>
                    <a:pt x="848565" y="312463"/>
                  </a:cubicBezTo>
                  <a:cubicBezTo>
                    <a:pt x="853063" y="324670"/>
                    <a:pt x="863342" y="329168"/>
                    <a:pt x="867840" y="330453"/>
                  </a:cubicBezTo>
                  <a:cubicBezTo>
                    <a:pt x="872337" y="331738"/>
                    <a:pt x="885187" y="339447"/>
                    <a:pt x="890969" y="351655"/>
                  </a:cubicBezTo>
                  <a:cubicBezTo>
                    <a:pt x="896752" y="363862"/>
                    <a:pt x="911529" y="372214"/>
                    <a:pt x="911529" y="380567"/>
                  </a:cubicBezTo>
                  <a:cubicBezTo>
                    <a:pt x="911529" y="388919"/>
                    <a:pt x="908959" y="417188"/>
                    <a:pt x="907674" y="422328"/>
                  </a:cubicBezTo>
                  <a:cubicBezTo>
                    <a:pt x="912171" y="428111"/>
                    <a:pt x="920524" y="432608"/>
                    <a:pt x="916669" y="449313"/>
                  </a:cubicBezTo>
                </a:path>
              </a:pathLst>
            </a:custGeom>
            <a:grpFill/>
            <a:ln w="64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 472">
              <a:extLst>
                <a:ext uri="{FF2B5EF4-FFF2-40B4-BE49-F238E27FC236}">
                  <a16:creationId xmlns:a16="http://schemas.microsoft.com/office/drawing/2014/main" id="{AE6536BC-3B14-2E57-3C93-9E9F59C07900}"/>
                </a:ext>
              </a:extLst>
            </p:cNvPr>
            <p:cNvSpPr/>
            <p:nvPr/>
          </p:nvSpPr>
          <p:spPr>
            <a:xfrm>
              <a:off x="2196279" y="4492117"/>
              <a:ext cx="917657" cy="984504"/>
            </a:xfrm>
            <a:custGeom>
              <a:avLst/>
              <a:gdLst>
                <a:gd name="connsiteX0" fmla="*/ 916669 w 917657"/>
                <a:gd name="connsiteY0" fmla="*/ 449313 h 984504"/>
                <a:gd name="connsiteX1" fmla="*/ 899964 w 917657"/>
                <a:gd name="connsiteY1" fmla="*/ 481437 h 984504"/>
                <a:gd name="connsiteX2" fmla="*/ 872980 w 917657"/>
                <a:gd name="connsiteY2" fmla="*/ 514204 h 984504"/>
                <a:gd name="connsiteX3" fmla="*/ 865270 w 917657"/>
                <a:gd name="connsiteY3" fmla="*/ 553396 h 984504"/>
                <a:gd name="connsiteX4" fmla="*/ 828648 w 917657"/>
                <a:gd name="connsiteY4" fmla="*/ 577810 h 984504"/>
                <a:gd name="connsiteX5" fmla="*/ 811301 w 917657"/>
                <a:gd name="connsiteY5" fmla="*/ 577810 h 984504"/>
                <a:gd name="connsiteX6" fmla="*/ 809373 w 917657"/>
                <a:gd name="connsiteY6" fmla="*/ 564318 h 984504"/>
                <a:gd name="connsiteX7" fmla="*/ 777249 w 917657"/>
                <a:gd name="connsiteY7" fmla="*/ 591303 h 984504"/>
                <a:gd name="connsiteX8" fmla="*/ 771467 w 917657"/>
                <a:gd name="connsiteY8" fmla="*/ 623427 h 984504"/>
                <a:gd name="connsiteX9" fmla="*/ 801021 w 917657"/>
                <a:gd name="connsiteY9" fmla="*/ 671613 h 984504"/>
                <a:gd name="connsiteX10" fmla="*/ 817726 w 917657"/>
                <a:gd name="connsiteY10" fmla="*/ 726225 h 984504"/>
                <a:gd name="connsiteX11" fmla="*/ 820296 w 917657"/>
                <a:gd name="connsiteY11" fmla="*/ 790474 h 984504"/>
                <a:gd name="connsiteX12" fmla="*/ 805518 w 917657"/>
                <a:gd name="connsiteY12" fmla="*/ 844442 h 984504"/>
                <a:gd name="connsiteX13" fmla="*/ 817083 w 917657"/>
                <a:gd name="connsiteY13" fmla="*/ 907406 h 984504"/>
                <a:gd name="connsiteX14" fmla="*/ 778534 w 917657"/>
                <a:gd name="connsiteY14" fmla="*/ 927966 h 984504"/>
                <a:gd name="connsiteX15" fmla="*/ 734845 w 917657"/>
                <a:gd name="connsiteY15" fmla="*/ 927966 h 984504"/>
                <a:gd name="connsiteX16" fmla="*/ 684731 w 917657"/>
                <a:gd name="connsiteY16" fmla="*/ 942743 h 984504"/>
                <a:gd name="connsiteX17" fmla="*/ 643612 w 917657"/>
                <a:gd name="connsiteY17" fmla="*/ 984505 h 984504"/>
                <a:gd name="connsiteX18" fmla="*/ 614700 w 917657"/>
                <a:gd name="connsiteY18" fmla="*/ 971012 h 984504"/>
                <a:gd name="connsiteX19" fmla="*/ 612130 w 917657"/>
                <a:gd name="connsiteY19" fmla="*/ 968443 h 984504"/>
                <a:gd name="connsiteX20" fmla="*/ 610845 w 917657"/>
                <a:gd name="connsiteY20" fmla="*/ 967158 h 984504"/>
                <a:gd name="connsiteX21" fmla="*/ 605705 w 917657"/>
                <a:gd name="connsiteY21" fmla="*/ 963303 h 984504"/>
                <a:gd name="connsiteX22" fmla="*/ 601850 w 917657"/>
                <a:gd name="connsiteY22" fmla="*/ 960733 h 984504"/>
                <a:gd name="connsiteX23" fmla="*/ 595425 w 917657"/>
                <a:gd name="connsiteY23" fmla="*/ 956878 h 984504"/>
                <a:gd name="connsiteX24" fmla="*/ 585145 w 917657"/>
                <a:gd name="connsiteY24" fmla="*/ 951095 h 984504"/>
                <a:gd name="connsiteX25" fmla="*/ 558161 w 917657"/>
                <a:gd name="connsiteY25" fmla="*/ 938246 h 984504"/>
                <a:gd name="connsiteX26" fmla="*/ 530534 w 917657"/>
                <a:gd name="connsiteY26" fmla="*/ 934391 h 984504"/>
                <a:gd name="connsiteX27" fmla="*/ 481705 w 917657"/>
                <a:gd name="connsiteY27" fmla="*/ 924111 h 984504"/>
                <a:gd name="connsiteX28" fmla="*/ 466928 w 917657"/>
                <a:gd name="connsiteY28" fmla="*/ 920898 h 984504"/>
                <a:gd name="connsiteX29" fmla="*/ 445726 w 917657"/>
                <a:gd name="connsiteY29" fmla="*/ 930536 h 984504"/>
                <a:gd name="connsiteX30" fmla="*/ 428378 w 917657"/>
                <a:gd name="connsiteY30" fmla="*/ 935676 h 984504"/>
                <a:gd name="connsiteX31" fmla="*/ 424524 w 917657"/>
                <a:gd name="connsiteY31" fmla="*/ 915759 h 984504"/>
                <a:gd name="connsiteX32" fmla="*/ 407819 w 917657"/>
                <a:gd name="connsiteY32" fmla="*/ 902909 h 984504"/>
                <a:gd name="connsiteX33" fmla="*/ 397539 w 917657"/>
                <a:gd name="connsiteY33" fmla="*/ 901624 h 984504"/>
                <a:gd name="connsiteX34" fmla="*/ 402036 w 917657"/>
                <a:gd name="connsiteY34" fmla="*/ 912546 h 984504"/>
                <a:gd name="connsiteX35" fmla="*/ 406534 w 917657"/>
                <a:gd name="connsiteY35" fmla="*/ 924754 h 984504"/>
                <a:gd name="connsiteX36" fmla="*/ 385332 w 917657"/>
                <a:gd name="connsiteY36" fmla="*/ 918971 h 984504"/>
                <a:gd name="connsiteX37" fmla="*/ 364772 w 917657"/>
                <a:gd name="connsiteY37" fmla="*/ 917044 h 984504"/>
                <a:gd name="connsiteX38" fmla="*/ 357705 w 917657"/>
                <a:gd name="connsiteY38" fmla="*/ 909334 h 984504"/>
                <a:gd name="connsiteX39" fmla="*/ 374410 w 917657"/>
                <a:gd name="connsiteY39" fmla="*/ 900339 h 984504"/>
                <a:gd name="connsiteX40" fmla="*/ 379549 w 917657"/>
                <a:gd name="connsiteY40" fmla="*/ 890701 h 984504"/>
                <a:gd name="connsiteX41" fmla="*/ 367342 w 917657"/>
                <a:gd name="connsiteY41" fmla="*/ 873997 h 984504"/>
                <a:gd name="connsiteX42" fmla="*/ 354492 w 917657"/>
                <a:gd name="connsiteY42" fmla="*/ 873354 h 984504"/>
                <a:gd name="connsiteX43" fmla="*/ 337788 w 917657"/>
                <a:gd name="connsiteY43" fmla="*/ 870142 h 984504"/>
                <a:gd name="connsiteX44" fmla="*/ 321726 w 917657"/>
                <a:gd name="connsiteY44" fmla="*/ 874639 h 984504"/>
                <a:gd name="connsiteX45" fmla="*/ 305021 w 917657"/>
                <a:gd name="connsiteY45" fmla="*/ 886204 h 984504"/>
                <a:gd name="connsiteX46" fmla="*/ 291529 w 917657"/>
                <a:gd name="connsiteY46" fmla="*/ 896484 h 984504"/>
                <a:gd name="connsiteX47" fmla="*/ 282534 w 917657"/>
                <a:gd name="connsiteY47" fmla="*/ 925396 h 984504"/>
                <a:gd name="connsiteX48" fmla="*/ 305663 w 917657"/>
                <a:gd name="connsiteY48" fmla="*/ 934391 h 984504"/>
                <a:gd name="connsiteX49" fmla="*/ 317871 w 917657"/>
                <a:gd name="connsiteY49" fmla="*/ 926681 h 984504"/>
                <a:gd name="connsiteX50" fmla="*/ 328150 w 917657"/>
                <a:gd name="connsiteY50" fmla="*/ 918971 h 984504"/>
                <a:gd name="connsiteX51" fmla="*/ 343570 w 917657"/>
                <a:gd name="connsiteY51" fmla="*/ 927323 h 984504"/>
                <a:gd name="connsiteX52" fmla="*/ 345498 w 917657"/>
                <a:gd name="connsiteY52" fmla="*/ 940816 h 984504"/>
                <a:gd name="connsiteX53" fmla="*/ 337788 w 917657"/>
                <a:gd name="connsiteY53" fmla="*/ 951738 h 984504"/>
                <a:gd name="connsiteX54" fmla="*/ 329435 w 917657"/>
                <a:gd name="connsiteY54" fmla="*/ 961375 h 984504"/>
                <a:gd name="connsiteX55" fmla="*/ 321083 w 917657"/>
                <a:gd name="connsiteY55" fmla="*/ 947241 h 984504"/>
                <a:gd name="connsiteX56" fmla="*/ 306306 w 917657"/>
                <a:gd name="connsiteY56" fmla="*/ 945313 h 984504"/>
                <a:gd name="connsiteX57" fmla="*/ 296669 w 917657"/>
                <a:gd name="connsiteY57" fmla="*/ 957520 h 984504"/>
                <a:gd name="connsiteX58" fmla="*/ 283176 w 917657"/>
                <a:gd name="connsiteY58" fmla="*/ 967800 h 984504"/>
                <a:gd name="connsiteX59" fmla="*/ 257477 w 917657"/>
                <a:gd name="connsiteY59" fmla="*/ 962660 h 984504"/>
                <a:gd name="connsiteX60" fmla="*/ 234990 w 917657"/>
                <a:gd name="connsiteY60" fmla="*/ 951738 h 984504"/>
                <a:gd name="connsiteX61" fmla="*/ 206078 w 917657"/>
                <a:gd name="connsiteY61" fmla="*/ 949810 h 984504"/>
                <a:gd name="connsiteX62" fmla="*/ 175238 w 917657"/>
                <a:gd name="connsiteY62" fmla="*/ 972297 h 984504"/>
                <a:gd name="connsiteX63" fmla="*/ 145684 w 917657"/>
                <a:gd name="connsiteY63" fmla="*/ 976153 h 984504"/>
                <a:gd name="connsiteX64" fmla="*/ 91715 w 917657"/>
                <a:gd name="connsiteY64" fmla="*/ 976153 h 984504"/>
                <a:gd name="connsiteX65" fmla="*/ 62161 w 917657"/>
                <a:gd name="connsiteY65" fmla="*/ 976795 h 984504"/>
                <a:gd name="connsiteX66" fmla="*/ 39031 w 917657"/>
                <a:gd name="connsiteY66" fmla="*/ 972297 h 984504"/>
                <a:gd name="connsiteX67" fmla="*/ 42886 w 917657"/>
                <a:gd name="connsiteY67" fmla="*/ 962660 h 984504"/>
                <a:gd name="connsiteX68" fmla="*/ 45456 w 917657"/>
                <a:gd name="connsiteY68" fmla="*/ 953023 h 984504"/>
                <a:gd name="connsiteX69" fmla="*/ 36461 w 917657"/>
                <a:gd name="connsiteY69" fmla="*/ 943385 h 984504"/>
                <a:gd name="connsiteX70" fmla="*/ 26824 w 917657"/>
                <a:gd name="connsiteY70" fmla="*/ 956878 h 984504"/>
                <a:gd name="connsiteX71" fmla="*/ 18472 w 917657"/>
                <a:gd name="connsiteY71" fmla="*/ 958805 h 984504"/>
                <a:gd name="connsiteX72" fmla="*/ 8192 w 917657"/>
                <a:gd name="connsiteY72" fmla="*/ 953023 h 984504"/>
                <a:gd name="connsiteX73" fmla="*/ 9477 w 917657"/>
                <a:gd name="connsiteY73" fmla="*/ 939531 h 984504"/>
                <a:gd name="connsiteX74" fmla="*/ 482 w 917657"/>
                <a:gd name="connsiteY74" fmla="*/ 926681 h 984504"/>
                <a:gd name="connsiteX75" fmla="*/ 482 w 917657"/>
                <a:gd name="connsiteY75" fmla="*/ 909334 h 984504"/>
                <a:gd name="connsiteX76" fmla="*/ 3694 w 917657"/>
                <a:gd name="connsiteY76" fmla="*/ 882992 h 984504"/>
                <a:gd name="connsiteX77" fmla="*/ 4979 w 917657"/>
                <a:gd name="connsiteY77" fmla="*/ 865002 h 984504"/>
                <a:gd name="connsiteX78" fmla="*/ 8192 w 917657"/>
                <a:gd name="connsiteY78" fmla="*/ 850225 h 984504"/>
                <a:gd name="connsiteX79" fmla="*/ 20399 w 917657"/>
                <a:gd name="connsiteY79" fmla="*/ 817458 h 984504"/>
                <a:gd name="connsiteX80" fmla="*/ 30036 w 917657"/>
                <a:gd name="connsiteY80" fmla="*/ 797541 h 984504"/>
                <a:gd name="connsiteX81" fmla="*/ 33249 w 917657"/>
                <a:gd name="connsiteY81" fmla="*/ 783406 h 984504"/>
                <a:gd name="connsiteX82" fmla="*/ 20399 w 917657"/>
                <a:gd name="connsiteY82" fmla="*/ 759634 h 984504"/>
                <a:gd name="connsiteX83" fmla="*/ 22326 w 917657"/>
                <a:gd name="connsiteY83" fmla="*/ 721727 h 984504"/>
                <a:gd name="connsiteX84" fmla="*/ 31964 w 917657"/>
                <a:gd name="connsiteY84" fmla="*/ 701810 h 984504"/>
                <a:gd name="connsiteX85" fmla="*/ 53808 w 917657"/>
                <a:gd name="connsiteY85" fmla="*/ 664546 h 984504"/>
                <a:gd name="connsiteX86" fmla="*/ 60233 w 917657"/>
                <a:gd name="connsiteY86" fmla="*/ 652339 h 984504"/>
                <a:gd name="connsiteX87" fmla="*/ 58948 w 917657"/>
                <a:gd name="connsiteY87" fmla="*/ 644629 h 984504"/>
                <a:gd name="connsiteX88" fmla="*/ 66658 w 917657"/>
                <a:gd name="connsiteY88" fmla="*/ 639489 h 984504"/>
                <a:gd name="connsiteX89" fmla="*/ 73083 w 917657"/>
                <a:gd name="connsiteY89" fmla="*/ 634992 h 984504"/>
                <a:gd name="connsiteX90" fmla="*/ 75653 w 917657"/>
                <a:gd name="connsiteY90" fmla="*/ 619572 h 984504"/>
                <a:gd name="connsiteX91" fmla="*/ 69228 w 917657"/>
                <a:gd name="connsiteY91" fmla="*/ 599012 h 984504"/>
                <a:gd name="connsiteX92" fmla="*/ 82720 w 917657"/>
                <a:gd name="connsiteY92" fmla="*/ 573313 h 984504"/>
                <a:gd name="connsiteX93" fmla="*/ 89788 w 917657"/>
                <a:gd name="connsiteY93" fmla="*/ 533479 h 984504"/>
                <a:gd name="connsiteX94" fmla="*/ 102637 w 917657"/>
                <a:gd name="connsiteY94" fmla="*/ 502639 h 984504"/>
                <a:gd name="connsiteX95" fmla="*/ 132192 w 917657"/>
                <a:gd name="connsiteY95" fmla="*/ 475655 h 984504"/>
                <a:gd name="connsiteX96" fmla="*/ 146969 w 917657"/>
                <a:gd name="connsiteY96" fmla="*/ 458308 h 984504"/>
                <a:gd name="connsiteX97" fmla="*/ 164316 w 917657"/>
                <a:gd name="connsiteY97" fmla="*/ 442888 h 984504"/>
                <a:gd name="connsiteX98" fmla="*/ 185518 w 917657"/>
                <a:gd name="connsiteY98" fmla="*/ 431966 h 984504"/>
                <a:gd name="connsiteX99" fmla="*/ 190658 w 917657"/>
                <a:gd name="connsiteY99" fmla="*/ 410121 h 984504"/>
                <a:gd name="connsiteX100" fmla="*/ 209933 w 917657"/>
                <a:gd name="connsiteY100" fmla="*/ 379924 h 984504"/>
                <a:gd name="connsiteX101" fmla="*/ 213145 w 917657"/>
                <a:gd name="connsiteY101" fmla="*/ 365147 h 984504"/>
                <a:gd name="connsiteX102" fmla="*/ 224068 w 917657"/>
                <a:gd name="connsiteY102" fmla="*/ 361292 h 984504"/>
                <a:gd name="connsiteX103" fmla="*/ 262617 w 917657"/>
                <a:gd name="connsiteY103" fmla="*/ 311178 h 984504"/>
                <a:gd name="connsiteX104" fmla="*/ 270327 w 917657"/>
                <a:gd name="connsiteY104" fmla="*/ 275199 h 984504"/>
                <a:gd name="connsiteX105" fmla="*/ 273539 w 917657"/>
                <a:gd name="connsiteY105" fmla="*/ 247572 h 984504"/>
                <a:gd name="connsiteX106" fmla="*/ 301808 w 917657"/>
                <a:gd name="connsiteY106" fmla="*/ 214805 h 984504"/>
                <a:gd name="connsiteX107" fmla="*/ 314016 w 917657"/>
                <a:gd name="connsiteY107" fmla="*/ 180753 h 984504"/>
                <a:gd name="connsiteX108" fmla="*/ 301808 w 917657"/>
                <a:gd name="connsiteY108" fmla="*/ 151199 h 984504"/>
                <a:gd name="connsiteX109" fmla="*/ 289601 w 917657"/>
                <a:gd name="connsiteY109" fmla="*/ 130639 h 984504"/>
                <a:gd name="connsiteX110" fmla="*/ 286389 w 917657"/>
                <a:gd name="connsiteY110" fmla="*/ 108794 h 984504"/>
                <a:gd name="connsiteX111" fmla="*/ 288316 w 917657"/>
                <a:gd name="connsiteY111" fmla="*/ 91447 h 984504"/>
                <a:gd name="connsiteX112" fmla="*/ 295384 w 917657"/>
                <a:gd name="connsiteY112" fmla="*/ 90162 h 984504"/>
                <a:gd name="connsiteX113" fmla="*/ 336503 w 917657"/>
                <a:gd name="connsiteY113" fmla="*/ 80525 h 984504"/>
                <a:gd name="connsiteX114" fmla="*/ 371840 w 917657"/>
                <a:gd name="connsiteY114" fmla="*/ 77955 h 984504"/>
                <a:gd name="connsiteX115" fmla="*/ 368627 w 917657"/>
                <a:gd name="connsiteY115" fmla="*/ 96587 h 984504"/>
                <a:gd name="connsiteX116" fmla="*/ 385974 w 917657"/>
                <a:gd name="connsiteY116" fmla="*/ 121002 h 984504"/>
                <a:gd name="connsiteX117" fmla="*/ 411031 w 917657"/>
                <a:gd name="connsiteY117" fmla="*/ 144774 h 984504"/>
                <a:gd name="connsiteX118" fmla="*/ 402036 w 917657"/>
                <a:gd name="connsiteY118" fmla="*/ 174328 h 984504"/>
                <a:gd name="connsiteX119" fmla="*/ 421311 w 917657"/>
                <a:gd name="connsiteY119" fmla="*/ 176898 h 984504"/>
                <a:gd name="connsiteX120" fmla="*/ 437373 w 917657"/>
                <a:gd name="connsiteY120" fmla="*/ 158266 h 984504"/>
                <a:gd name="connsiteX121" fmla="*/ 456005 w 917657"/>
                <a:gd name="connsiteY121" fmla="*/ 155054 h 984504"/>
                <a:gd name="connsiteX122" fmla="*/ 447011 w 917657"/>
                <a:gd name="connsiteY122" fmla="*/ 141561 h 984504"/>
                <a:gd name="connsiteX123" fmla="*/ 456005 w 917657"/>
                <a:gd name="connsiteY123" fmla="*/ 128069 h 984504"/>
                <a:gd name="connsiteX124" fmla="*/ 482347 w 917657"/>
                <a:gd name="connsiteY124" fmla="*/ 128069 h 984504"/>
                <a:gd name="connsiteX125" fmla="*/ 502907 w 917657"/>
                <a:gd name="connsiteY125" fmla="*/ 118432 h 984504"/>
                <a:gd name="connsiteX126" fmla="*/ 498410 w 917657"/>
                <a:gd name="connsiteY126" fmla="*/ 100442 h 984504"/>
                <a:gd name="connsiteX127" fmla="*/ 498410 w 917657"/>
                <a:gd name="connsiteY127" fmla="*/ 100442 h 984504"/>
                <a:gd name="connsiteX128" fmla="*/ 518969 w 917657"/>
                <a:gd name="connsiteY128" fmla="*/ 94660 h 984504"/>
                <a:gd name="connsiteX129" fmla="*/ 567156 w 917657"/>
                <a:gd name="connsiteY129" fmla="*/ 79240 h 984504"/>
                <a:gd name="connsiteX130" fmla="*/ 587715 w 917657"/>
                <a:gd name="connsiteY130" fmla="*/ 61250 h 984504"/>
                <a:gd name="connsiteX131" fmla="*/ 582575 w 917657"/>
                <a:gd name="connsiteY131" fmla="*/ 34908 h 984504"/>
                <a:gd name="connsiteX132" fmla="*/ 566513 w 917657"/>
                <a:gd name="connsiteY132" fmla="*/ 32339 h 984504"/>
                <a:gd name="connsiteX133" fmla="*/ 549809 w 917657"/>
                <a:gd name="connsiteY133" fmla="*/ 25271 h 984504"/>
                <a:gd name="connsiteX134" fmla="*/ 568441 w 917657"/>
                <a:gd name="connsiteY134" fmla="*/ 7924 h 984504"/>
                <a:gd name="connsiteX135" fmla="*/ 583860 w 917657"/>
                <a:gd name="connsiteY135" fmla="*/ 7924 h 984504"/>
                <a:gd name="connsiteX136" fmla="*/ 587073 w 917657"/>
                <a:gd name="connsiteY136" fmla="*/ 857 h 984504"/>
                <a:gd name="connsiteX137" fmla="*/ 598638 w 917657"/>
                <a:gd name="connsiteY137" fmla="*/ 857 h 984504"/>
                <a:gd name="connsiteX138" fmla="*/ 603777 w 917657"/>
                <a:gd name="connsiteY138" fmla="*/ 10494 h 984504"/>
                <a:gd name="connsiteX139" fmla="*/ 623695 w 917657"/>
                <a:gd name="connsiteY139" fmla="*/ 9851 h 984504"/>
                <a:gd name="connsiteX140" fmla="*/ 652607 w 917657"/>
                <a:gd name="connsiteY140" fmla="*/ 9209 h 984504"/>
                <a:gd name="connsiteX141" fmla="*/ 668026 w 917657"/>
                <a:gd name="connsiteY141" fmla="*/ 31053 h 984504"/>
                <a:gd name="connsiteX142" fmla="*/ 691156 w 917657"/>
                <a:gd name="connsiteY142" fmla="*/ 29126 h 984504"/>
                <a:gd name="connsiteX143" fmla="*/ 709145 w 917657"/>
                <a:gd name="connsiteY143" fmla="*/ 40691 h 984504"/>
                <a:gd name="connsiteX144" fmla="*/ 741270 w 917657"/>
                <a:gd name="connsiteY144" fmla="*/ 101727 h 984504"/>
                <a:gd name="connsiteX145" fmla="*/ 743840 w 917657"/>
                <a:gd name="connsiteY145" fmla="*/ 135779 h 984504"/>
                <a:gd name="connsiteX146" fmla="*/ 775322 w 917657"/>
                <a:gd name="connsiteY146" fmla="*/ 138991 h 984504"/>
                <a:gd name="connsiteX147" fmla="*/ 778534 w 917657"/>
                <a:gd name="connsiteY147" fmla="*/ 115219 h 984504"/>
                <a:gd name="connsiteX148" fmla="*/ 789456 w 917657"/>
                <a:gd name="connsiteY148" fmla="*/ 103655 h 984504"/>
                <a:gd name="connsiteX149" fmla="*/ 806161 w 917657"/>
                <a:gd name="connsiteY149" fmla="*/ 126784 h 984504"/>
                <a:gd name="connsiteX150" fmla="*/ 806161 w 917657"/>
                <a:gd name="connsiteY150" fmla="*/ 167261 h 984504"/>
                <a:gd name="connsiteX151" fmla="*/ 795239 w 917657"/>
                <a:gd name="connsiteY151" fmla="*/ 196815 h 984504"/>
                <a:gd name="connsiteX152" fmla="*/ 803591 w 917657"/>
                <a:gd name="connsiteY152" fmla="*/ 241147 h 984504"/>
                <a:gd name="connsiteX153" fmla="*/ 848565 w 917657"/>
                <a:gd name="connsiteY153" fmla="*/ 312463 h 984504"/>
                <a:gd name="connsiteX154" fmla="*/ 867840 w 917657"/>
                <a:gd name="connsiteY154" fmla="*/ 330453 h 984504"/>
                <a:gd name="connsiteX155" fmla="*/ 890969 w 917657"/>
                <a:gd name="connsiteY155" fmla="*/ 351655 h 984504"/>
                <a:gd name="connsiteX156" fmla="*/ 911529 w 917657"/>
                <a:gd name="connsiteY156" fmla="*/ 380567 h 984504"/>
                <a:gd name="connsiteX157" fmla="*/ 907674 w 917657"/>
                <a:gd name="connsiteY157" fmla="*/ 422328 h 984504"/>
                <a:gd name="connsiteX158" fmla="*/ 916669 w 917657"/>
                <a:gd name="connsiteY158" fmla="*/ 449313 h 98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917657" h="984504">
                  <a:moveTo>
                    <a:pt x="916669" y="449313"/>
                  </a:moveTo>
                  <a:cubicBezTo>
                    <a:pt x="913456" y="466017"/>
                    <a:pt x="905746" y="473727"/>
                    <a:pt x="899964" y="481437"/>
                  </a:cubicBezTo>
                  <a:cubicBezTo>
                    <a:pt x="894182" y="488505"/>
                    <a:pt x="875550" y="501354"/>
                    <a:pt x="872980" y="514204"/>
                  </a:cubicBezTo>
                  <a:cubicBezTo>
                    <a:pt x="871052" y="527054"/>
                    <a:pt x="883259" y="539904"/>
                    <a:pt x="865270" y="553396"/>
                  </a:cubicBezTo>
                  <a:cubicBezTo>
                    <a:pt x="847280" y="566888"/>
                    <a:pt x="839570" y="572028"/>
                    <a:pt x="828648" y="577810"/>
                  </a:cubicBezTo>
                  <a:cubicBezTo>
                    <a:pt x="817726" y="583593"/>
                    <a:pt x="811943" y="584235"/>
                    <a:pt x="811301" y="577810"/>
                  </a:cubicBezTo>
                  <a:cubicBezTo>
                    <a:pt x="810658" y="571385"/>
                    <a:pt x="817083" y="563676"/>
                    <a:pt x="809373" y="564318"/>
                  </a:cubicBezTo>
                  <a:cubicBezTo>
                    <a:pt x="802306" y="564961"/>
                    <a:pt x="781747" y="582308"/>
                    <a:pt x="777249" y="591303"/>
                  </a:cubicBezTo>
                  <a:cubicBezTo>
                    <a:pt x="772752" y="600940"/>
                    <a:pt x="761829" y="610577"/>
                    <a:pt x="771467" y="623427"/>
                  </a:cubicBezTo>
                  <a:cubicBezTo>
                    <a:pt x="781747" y="636277"/>
                    <a:pt x="795239" y="647199"/>
                    <a:pt x="801021" y="671613"/>
                  </a:cubicBezTo>
                  <a:cubicBezTo>
                    <a:pt x="806803" y="695386"/>
                    <a:pt x="813871" y="703738"/>
                    <a:pt x="817726" y="726225"/>
                  </a:cubicBezTo>
                  <a:cubicBezTo>
                    <a:pt x="821581" y="748712"/>
                    <a:pt x="826078" y="770556"/>
                    <a:pt x="820296" y="790474"/>
                  </a:cubicBezTo>
                  <a:cubicBezTo>
                    <a:pt x="814513" y="810391"/>
                    <a:pt x="793311" y="826453"/>
                    <a:pt x="805518" y="844442"/>
                  </a:cubicBezTo>
                  <a:cubicBezTo>
                    <a:pt x="817726" y="862432"/>
                    <a:pt x="821581" y="897769"/>
                    <a:pt x="817083" y="907406"/>
                  </a:cubicBezTo>
                  <a:cubicBezTo>
                    <a:pt x="812586" y="917044"/>
                    <a:pt x="801664" y="923469"/>
                    <a:pt x="778534" y="927966"/>
                  </a:cubicBezTo>
                  <a:cubicBezTo>
                    <a:pt x="755405" y="931821"/>
                    <a:pt x="753477" y="930536"/>
                    <a:pt x="734845" y="927966"/>
                  </a:cubicBezTo>
                  <a:cubicBezTo>
                    <a:pt x="715570" y="925396"/>
                    <a:pt x="698223" y="930536"/>
                    <a:pt x="684731" y="942743"/>
                  </a:cubicBezTo>
                  <a:cubicBezTo>
                    <a:pt x="671239" y="954950"/>
                    <a:pt x="641042" y="960733"/>
                    <a:pt x="643612" y="984505"/>
                  </a:cubicBezTo>
                  <a:cubicBezTo>
                    <a:pt x="630762" y="981292"/>
                    <a:pt x="619840" y="976795"/>
                    <a:pt x="614700" y="971012"/>
                  </a:cubicBezTo>
                  <a:cubicBezTo>
                    <a:pt x="614057" y="970370"/>
                    <a:pt x="612772" y="969728"/>
                    <a:pt x="612130" y="968443"/>
                  </a:cubicBezTo>
                  <a:cubicBezTo>
                    <a:pt x="611487" y="967800"/>
                    <a:pt x="610845" y="967800"/>
                    <a:pt x="610845" y="967158"/>
                  </a:cubicBezTo>
                  <a:cubicBezTo>
                    <a:pt x="608917" y="965873"/>
                    <a:pt x="607632" y="964587"/>
                    <a:pt x="605705" y="963303"/>
                  </a:cubicBezTo>
                  <a:cubicBezTo>
                    <a:pt x="604420" y="962660"/>
                    <a:pt x="603135" y="961375"/>
                    <a:pt x="601850" y="960733"/>
                  </a:cubicBezTo>
                  <a:cubicBezTo>
                    <a:pt x="599923" y="959448"/>
                    <a:pt x="597353" y="958163"/>
                    <a:pt x="595425" y="956878"/>
                  </a:cubicBezTo>
                  <a:cubicBezTo>
                    <a:pt x="592213" y="954950"/>
                    <a:pt x="588358" y="953023"/>
                    <a:pt x="585145" y="951095"/>
                  </a:cubicBezTo>
                  <a:cubicBezTo>
                    <a:pt x="574866" y="944671"/>
                    <a:pt x="558803" y="938246"/>
                    <a:pt x="558161" y="938246"/>
                  </a:cubicBezTo>
                  <a:cubicBezTo>
                    <a:pt x="557518" y="938246"/>
                    <a:pt x="544669" y="937603"/>
                    <a:pt x="530534" y="934391"/>
                  </a:cubicBezTo>
                  <a:cubicBezTo>
                    <a:pt x="515757" y="931178"/>
                    <a:pt x="486845" y="926681"/>
                    <a:pt x="481705" y="924111"/>
                  </a:cubicBezTo>
                  <a:cubicBezTo>
                    <a:pt x="477207" y="921541"/>
                    <a:pt x="472068" y="918329"/>
                    <a:pt x="466928" y="920898"/>
                  </a:cubicBezTo>
                  <a:cubicBezTo>
                    <a:pt x="461788" y="922826"/>
                    <a:pt x="450223" y="926681"/>
                    <a:pt x="445726" y="930536"/>
                  </a:cubicBezTo>
                  <a:cubicBezTo>
                    <a:pt x="441228" y="934391"/>
                    <a:pt x="430306" y="942100"/>
                    <a:pt x="428378" y="935676"/>
                  </a:cubicBezTo>
                  <a:cubicBezTo>
                    <a:pt x="426451" y="929251"/>
                    <a:pt x="426451" y="917686"/>
                    <a:pt x="424524" y="915759"/>
                  </a:cubicBezTo>
                  <a:cubicBezTo>
                    <a:pt x="423239" y="913831"/>
                    <a:pt x="411674" y="904836"/>
                    <a:pt x="407819" y="902909"/>
                  </a:cubicBezTo>
                  <a:cubicBezTo>
                    <a:pt x="403964" y="900981"/>
                    <a:pt x="399467" y="897769"/>
                    <a:pt x="397539" y="901624"/>
                  </a:cubicBezTo>
                  <a:cubicBezTo>
                    <a:pt x="395612" y="904836"/>
                    <a:pt x="396897" y="906764"/>
                    <a:pt x="402036" y="912546"/>
                  </a:cubicBezTo>
                  <a:cubicBezTo>
                    <a:pt x="406534" y="918329"/>
                    <a:pt x="409104" y="924754"/>
                    <a:pt x="406534" y="924754"/>
                  </a:cubicBezTo>
                  <a:cubicBezTo>
                    <a:pt x="403964" y="924754"/>
                    <a:pt x="393684" y="920256"/>
                    <a:pt x="385332" y="918971"/>
                  </a:cubicBezTo>
                  <a:cubicBezTo>
                    <a:pt x="377622" y="917686"/>
                    <a:pt x="367985" y="917686"/>
                    <a:pt x="364772" y="917044"/>
                  </a:cubicBezTo>
                  <a:cubicBezTo>
                    <a:pt x="361560" y="916401"/>
                    <a:pt x="349353" y="915759"/>
                    <a:pt x="357705" y="909334"/>
                  </a:cubicBezTo>
                  <a:cubicBezTo>
                    <a:pt x="366057" y="902909"/>
                    <a:pt x="371197" y="902909"/>
                    <a:pt x="374410" y="900339"/>
                  </a:cubicBezTo>
                  <a:cubicBezTo>
                    <a:pt x="378264" y="897769"/>
                    <a:pt x="387259" y="900981"/>
                    <a:pt x="379549" y="890701"/>
                  </a:cubicBezTo>
                  <a:cubicBezTo>
                    <a:pt x="371840" y="880422"/>
                    <a:pt x="371197" y="875924"/>
                    <a:pt x="367342" y="873997"/>
                  </a:cubicBezTo>
                  <a:cubicBezTo>
                    <a:pt x="363487" y="872712"/>
                    <a:pt x="360917" y="873997"/>
                    <a:pt x="354492" y="873354"/>
                  </a:cubicBezTo>
                  <a:cubicBezTo>
                    <a:pt x="347425" y="872712"/>
                    <a:pt x="342285" y="870142"/>
                    <a:pt x="337788" y="870142"/>
                  </a:cubicBezTo>
                  <a:cubicBezTo>
                    <a:pt x="333290" y="870142"/>
                    <a:pt x="326865" y="870142"/>
                    <a:pt x="321726" y="874639"/>
                  </a:cubicBezTo>
                  <a:cubicBezTo>
                    <a:pt x="316586" y="879137"/>
                    <a:pt x="310161" y="881707"/>
                    <a:pt x="305021" y="886204"/>
                  </a:cubicBezTo>
                  <a:cubicBezTo>
                    <a:pt x="299239" y="890059"/>
                    <a:pt x="295384" y="888774"/>
                    <a:pt x="291529" y="896484"/>
                  </a:cubicBezTo>
                  <a:cubicBezTo>
                    <a:pt x="287674" y="903551"/>
                    <a:pt x="269684" y="918971"/>
                    <a:pt x="282534" y="925396"/>
                  </a:cubicBezTo>
                  <a:cubicBezTo>
                    <a:pt x="295384" y="931821"/>
                    <a:pt x="299881" y="935033"/>
                    <a:pt x="305663" y="934391"/>
                  </a:cubicBezTo>
                  <a:cubicBezTo>
                    <a:pt x="310803" y="933748"/>
                    <a:pt x="314658" y="931178"/>
                    <a:pt x="317871" y="926681"/>
                  </a:cubicBezTo>
                  <a:cubicBezTo>
                    <a:pt x="321083" y="922183"/>
                    <a:pt x="324295" y="918971"/>
                    <a:pt x="328150" y="918971"/>
                  </a:cubicBezTo>
                  <a:cubicBezTo>
                    <a:pt x="332005" y="918971"/>
                    <a:pt x="340358" y="923469"/>
                    <a:pt x="343570" y="927323"/>
                  </a:cubicBezTo>
                  <a:cubicBezTo>
                    <a:pt x="346783" y="931178"/>
                    <a:pt x="349353" y="936961"/>
                    <a:pt x="345498" y="940816"/>
                  </a:cubicBezTo>
                  <a:cubicBezTo>
                    <a:pt x="342285" y="945313"/>
                    <a:pt x="341643" y="943385"/>
                    <a:pt x="337788" y="951738"/>
                  </a:cubicBezTo>
                  <a:cubicBezTo>
                    <a:pt x="334575" y="960090"/>
                    <a:pt x="333290" y="968443"/>
                    <a:pt x="329435" y="961375"/>
                  </a:cubicBezTo>
                  <a:cubicBezTo>
                    <a:pt x="325581" y="954950"/>
                    <a:pt x="325581" y="949810"/>
                    <a:pt x="321083" y="947241"/>
                  </a:cubicBezTo>
                  <a:cubicBezTo>
                    <a:pt x="316586" y="944671"/>
                    <a:pt x="310161" y="940816"/>
                    <a:pt x="306306" y="945313"/>
                  </a:cubicBezTo>
                  <a:cubicBezTo>
                    <a:pt x="301808" y="949810"/>
                    <a:pt x="297311" y="956235"/>
                    <a:pt x="296669" y="957520"/>
                  </a:cubicBezTo>
                  <a:cubicBezTo>
                    <a:pt x="296026" y="958805"/>
                    <a:pt x="292814" y="967800"/>
                    <a:pt x="283176" y="967800"/>
                  </a:cubicBezTo>
                  <a:cubicBezTo>
                    <a:pt x="273539" y="968443"/>
                    <a:pt x="264544" y="966515"/>
                    <a:pt x="257477" y="962660"/>
                  </a:cubicBezTo>
                  <a:cubicBezTo>
                    <a:pt x="250409" y="958805"/>
                    <a:pt x="242700" y="954308"/>
                    <a:pt x="234990" y="951738"/>
                  </a:cubicBezTo>
                  <a:cubicBezTo>
                    <a:pt x="227280" y="949168"/>
                    <a:pt x="217000" y="942100"/>
                    <a:pt x="206078" y="949810"/>
                  </a:cubicBezTo>
                  <a:cubicBezTo>
                    <a:pt x="195798" y="957520"/>
                    <a:pt x="188088" y="968443"/>
                    <a:pt x="175238" y="972297"/>
                  </a:cubicBezTo>
                  <a:cubicBezTo>
                    <a:pt x="162389" y="976153"/>
                    <a:pt x="150181" y="977437"/>
                    <a:pt x="145684" y="976153"/>
                  </a:cubicBezTo>
                  <a:cubicBezTo>
                    <a:pt x="141829" y="974868"/>
                    <a:pt x="104565" y="976153"/>
                    <a:pt x="91715" y="976153"/>
                  </a:cubicBezTo>
                  <a:cubicBezTo>
                    <a:pt x="79508" y="976153"/>
                    <a:pt x="72440" y="976153"/>
                    <a:pt x="62161" y="976795"/>
                  </a:cubicBezTo>
                  <a:cubicBezTo>
                    <a:pt x="51881" y="978080"/>
                    <a:pt x="39031" y="974225"/>
                    <a:pt x="39031" y="972297"/>
                  </a:cubicBezTo>
                  <a:cubicBezTo>
                    <a:pt x="38389" y="970370"/>
                    <a:pt x="41601" y="965873"/>
                    <a:pt x="42886" y="962660"/>
                  </a:cubicBezTo>
                  <a:cubicBezTo>
                    <a:pt x="44171" y="958805"/>
                    <a:pt x="48668" y="959448"/>
                    <a:pt x="45456" y="953023"/>
                  </a:cubicBezTo>
                  <a:cubicBezTo>
                    <a:pt x="42244" y="946598"/>
                    <a:pt x="39674" y="940816"/>
                    <a:pt x="36461" y="943385"/>
                  </a:cubicBezTo>
                  <a:cubicBezTo>
                    <a:pt x="33249" y="945956"/>
                    <a:pt x="29394" y="955593"/>
                    <a:pt x="26824" y="956878"/>
                  </a:cubicBezTo>
                  <a:cubicBezTo>
                    <a:pt x="24254" y="958163"/>
                    <a:pt x="21041" y="959448"/>
                    <a:pt x="18472" y="958805"/>
                  </a:cubicBezTo>
                  <a:cubicBezTo>
                    <a:pt x="15259" y="958163"/>
                    <a:pt x="6907" y="958805"/>
                    <a:pt x="8192" y="953023"/>
                  </a:cubicBezTo>
                  <a:cubicBezTo>
                    <a:pt x="8834" y="947241"/>
                    <a:pt x="13332" y="945313"/>
                    <a:pt x="9477" y="939531"/>
                  </a:cubicBezTo>
                  <a:cubicBezTo>
                    <a:pt x="5622" y="933748"/>
                    <a:pt x="1124" y="927323"/>
                    <a:pt x="482" y="926681"/>
                  </a:cubicBezTo>
                  <a:cubicBezTo>
                    <a:pt x="-161" y="926038"/>
                    <a:pt x="-161" y="924111"/>
                    <a:pt x="482" y="909334"/>
                  </a:cubicBezTo>
                  <a:cubicBezTo>
                    <a:pt x="1124" y="895199"/>
                    <a:pt x="2409" y="891344"/>
                    <a:pt x="3694" y="882992"/>
                  </a:cubicBezTo>
                  <a:cubicBezTo>
                    <a:pt x="4979" y="874639"/>
                    <a:pt x="4979" y="866287"/>
                    <a:pt x="4979" y="865002"/>
                  </a:cubicBezTo>
                  <a:cubicBezTo>
                    <a:pt x="4979" y="863717"/>
                    <a:pt x="3694" y="865002"/>
                    <a:pt x="8192" y="850225"/>
                  </a:cubicBezTo>
                  <a:cubicBezTo>
                    <a:pt x="12047" y="835448"/>
                    <a:pt x="19114" y="823883"/>
                    <a:pt x="20399" y="817458"/>
                  </a:cubicBezTo>
                  <a:cubicBezTo>
                    <a:pt x="21684" y="811033"/>
                    <a:pt x="25539" y="804608"/>
                    <a:pt x="30036" y="797541"/>
                  </a:cubicBezTo>
                  <a:cubicBezTo>
                    <a:pt x="34534" y="790474"/>
                    <a:pt x="37746" y="793043"/>
                    <a:pt x="33249" y="783406"/>
                  </a:cubicBezTo>
                  <a:cubicBezTo>
                    <a:pt x="29394" y="773769"/>
                    <a:pt x="21041" y="782121"/>
                    <a:pt x="20399" y="759634"/>
                  </a:cubicBezTo>
                  <a:cubicBezTo>
                    <a:pt x="19114" y="737147"/>
                    <a:pt x="18472" y="731365"/>
                    <a:pt x="22326" y="721727"/>
                  </a:cubicBezTo>
                  <a:cubicBezTo>
                    <a:pt x="26181" y="712090"/>
                    <a:pt x="24896" y="708878"/>
                    <a:pt x="31964" y="701810"/>
                  </a:cubicBezTo>
                  <a:cubicBezTo>
                    <a:pt x="39031" y="694743"/>
                    <a:pt x="49953" y="670328"/>
                    <a:pt x="53808" y="664546"/>
                  </a:cubicBezTo>
                  <a:cubicBezTo>
                    <a:pt x="57663" y="658764"/>
                    <a:pt x="61518" y="656836"/>
                    <a:pt x="60233" y="652339"/>
                  </a:cubicBezTo>
                  <a:cubicBezTo>
                    <a:pt x="58948" y="648484"/>
                    <a:pt x="57021" y="647199"/>
                    <a:pt x="58948" y="644629"/>
                  </a:cubicBezTo>
                  <a:cubicBezTo>
                    <a:pt x="60876" y="642059"/>
                    <a:pt x="64088" y="642059"/>
                    <a:pt x="66658" y="639489"/>
                  </a:cubicBezTo>
                  <a:cubicBezTo>
                    <a:pt x="69228" y="637562"/>
                    <a:pt x="71156" y="639489"/>
                    <a:pt x="73083" y="634992"/>
                  </a:cubicBezTo>
                  <a:cubicBezTo>
                    <a:pt x="75010" y="629852"/>
                    <a:pt x="75653" y="621500"/>
                    <a:pt x="75653" y="619572"/>
                  </a:cubicBezTo>
                  <a:cubicBezTo>
                    <a:pt x="75653" y="617645"/>
                    <a:pt x="61518" y="614432"/>
                    <a:pt x="69228" y="599012"/>
                  </a:cubicBezTo>
                  <a:cubicBezTo>
                    <a:pt x="76938" y="583593"/>
                    <a:pt x="79508" y="585520"/>
                    <a:pt x="82720" y="573313"/>
                  </a:cubicBezTo>
                  <a:cubicBezTo>
                    <a:pt x="85933" y="561106"/>
                    <a:pt x="87860" y="543759"/>
                    <a:pt x="89788" y="533479"/>
                  </a:cubicBezTo>
                  <a:cubicBezTo>
                    <a:pt x="92358" y="523199"/>
                    <a:pt x="94928" y="509064"/>
                    <a:pt x="102637" y="502639"/>
                  </a:cubicBezTo>
                  <a:cubicBezTo>
                    <a:pt x="110347" y="495572"/>
                    <a:pt x="132192" y="475655"/>
                    <a:pt x="132192" y="475655"/>
                  </a:cubicBezTo>
                  <a:cubicBezTo>
                    <a:pt x="132192" y="475655"/>
                    <a:pt x="136047" y="467945"/>
                    <a:pt x="146969" y="458308"/>
                  </a:cubicBezTo>
                  <a:cubicBezTo>
                    <a:pt x="157891" y="448670"/>
                    <a:pt x="157249" y="445458"/>
                    <a:pt x="164316" y="442888"/>
                  </a:cubicBezTo>
                  <a:cubicBezTo>
                    <a:pt x="171384" y="439675"/>
                    <a:pt x="184233" y="437106"/>
                    <a:pt x="185518" y="431966"/>
                  </a:cubicBezTo>
                  <a:cubicBezTo>
                    <a:pt x="186161" y="426826"/>
                    <a:pt x="188731" y="413976"/>
                    <a:pt x="190658" y="410121"/>
                  </a:cubicBezTo>
                  <a:cubicBezTo>
                    <a:pt x="192586" y="406266"/>
                    <a:pt x="206078" y="387634"/>
                    <a:pt x="209933" y="379924"/>
                  </a:cubicBezTo>
                  <a:cubicBezTo>
                    <a:pt x="213145" y="374142"/>
                    <a:pt x="213788" y="368359"/>
                    <a:pt x="213145" y="365147"/>
                  </a:cubicBezTo>
                  <a:cubicBezTo>
                    <a:pt x="217643" y="363220"/>
                    <a:pt x="221497" y="361934"/>
                    <a:pt x="224068" y="361292"/>
                  </a:cubicBezTo>
                  <a:cubicBezTo>
                    <a:pt x="231135" y="358722"/>
                    <a:pt x="259404" y="322100"/>
                    <a:pt x="262617" y="311178"/>
                  </a:cubicBezTo>
                  <a:cubicBezTo>
                    <a:pt x="265187" y="300256"/>
                    <a:pt x="270327" y="282909"/>
                    <a:pt x="270327" y="275199"/>
                  </a:cubicBezTo>
                  <a:cubicBezTo>
                    <a:pt x="270327" y="267489"/>
                    <a:pt x="264544" y="254639"/>
                    <a:pt x="273539" y="247572"/>
                  </a:cubicBezTo>
                  <a:cubicBezTo>
                    <a:pt x="282534" y="240504"/>
                    <a:pt x="297311" y="226370"/>
                    <a:pt x="301808" y="214805"/>
                  </a:cubicBezTo>
                  <a:cubicBezTo>
                    <a:pt x="306306" y="202598"/>
                    <a:pt x="317228" y="192318"/>
                    <a:pt x="314016" y="180753"/>
                  </a:cubicBezTo>
                  <a:cubicBezTo>
                    <a:pt x="310803" y="169188"/>
                    <a:pt x="306948" y="155696"/>
                    <a:pt x="301808" y="151199"/>
                  </a:cubicBezTo>
                  <a:cubicBezTo>
                    <a:pt x="296669" y="146701"/>
                    <a:pt x="292814" y="137064"/>
                    <a:pt x="289601" y="130639"/>
                  </a:cubicBezTo>
                  <a:cubicBezTo>
                    <a:pt x="286389" y="123572"/>
                    <a:pt x="286389" y="113292"/>
                    <a:pt x="286389" y="108794"/>
                  </a:cubicBezTo>
                  <a:cubicBezTo>
                    <a:pt x="286389" y="104940"/>
                    <a:pt x="289601" y="96587"/>
                    <a:pt x="288316" y="91447"/>
                  </a:cubicBezTo>
                  <a:cubicBezTo>
                    <a:pt x="290886" y="90805"/>
                    <a:pt x="293456" y="90805"/>
                    <a:pt x="295384" y="90162"/>
                  </a:cubicBezTo>
                  <a:cubicBezTo>
                    <a:pt x="306306" y="88877"/>
                    <a:pt x="326865" y="84380"/>
                    <a:pt x="336503" y="80525"/>
                  </a:cubicBezTo>
                  <a:cubicBezTo>
                    <a:pt x="346783" y="76670"/>
                    <a:pt x="370555" y="73458"/>
                    <a:pt x="371840" y="77955"/>
                  </a:cubicBezTo>
                  <a:cubicBezTo>
                    <a:pt x="373125" y="82452"/>
                    <a:pt x="365415" y="85023"/>
                    <a:pt x="368627" y="96587"/>
                  </a:cubicBezTo>
                  <a:cubicBezTo>
                    <a:pt x="371197" y="108152"/>
                    <a:pt x="375052" y="115862"/>
                    <a:pt x="385974" y="121002"/>
                  </a:cubicBezTo>
                  <a:cubicBezTo>
                    <a:pt x="396897" y="126142"/>
                    <a:pt x="414244" y="136422"/>
                    <a:pt x="411031" y="144774"/>
                  </a:cubicBezTo>
                  <a:cubicBezTo>
                    <a:pt x="407819" y="153126"/>
                    <a:pt x="396254" y="169188"/>
                    <a:pt x="402036" y="174328"/>
                  </a:cubicBezTo>
                  <a:cubicBezTo>
                    <a:pt x="407819" y="179468"/>
                    <a:pt x="413601" y="182681"/>
                    <a:pt x="421311" y="176898"/>
                  </a:cubicBezTo>
                  <a:cubicBezTo>
                    <a:pt x="429021" y="171116"/>
                    <a:pt x="429021" y="159551"/>
                    <a:pt x="437373" y="158266"/>
                  </a:cubicBezTo>
                  <a:cubicBezTo>
                    <a:pt x="445726" y="156981"/>
                    <a:pt x="456005" y="155054"/>
                    <a:pt x="456005" y="155054"/>
                  </a:cubicBezTo>
                  <a:cubicBezTo>
                    <a:pt x="456005" y="155054"/>
                    <a:pt x="447653" y="144131"/>
                    <a:pt x="447011" y="141561"/>
                  </a:cubicBezTo>
                  <a:cubicBezTo>
                    <a:pt x="446368" y="138991"/>
                    <a:pt x="449580" y="127427"/>
                    <a:pt x="456005" y="128069"/>
                  </a:cubicBezTo>
                  <a:cubicBezTo>
                    <a:pt x="462430" y="128712"/>
                    <a:pt x="472710" y="129354"/>
                    <a:pt x="482347" y="128069"/>
                  </a:cubicBezTo>
                  <a:cubicBezTo>
                    <a:pt x="491985" y="126784"/>
                    <a:pt x="502907" y="124857"/>
                    <a:pt x="502907" y="118432"/>
                  </a:cubicBezTo>
                  <a:cubicBezTo>
                    <a:pt x="502907" y="112007"/>
                    <a:pt x="495840" y="103012"/>
                    <a:pt x="498410" y="100442"/>
                  </a:cubicBezTo>
                  <a:cubicBezTo>
                    <a:pt x="498410" y="100442"/>
                    <a:pt x="498410" y="100442"/>
                    <a:pt x="498410" y="100442"/>
                  </a:cubicBezTo>
                  <a:cubicBezTo>
                    <a:pt x="501622" y="97230"/>
                    <a:pt x="510617" y="94017"/>
                    <a:pt x="518969" y="94660"/>
                  </a:cubicBezTo>
                  <a:cubicBezTo>
                    <a:pt x="527964" y="95302"/>
                    <a:pt x="561373" y="83095"/>
                    <a:pt x="567156" y="79240"/>
                  </a:cubicBezTo>
                  <a:cubicBezTo>
                    <a:pt x="573581" y="75385"/>
                    <a:pt x="587715" y="70245"/>
                    <a:pt x="587715" y="61250"/>
                  </a:cubicBezTo>
                  <a:cubicBezTo>
                    <a:pt x="587715" y="52256"/>
                    <a:pt x="584503" y="34908"/>
                    <a:pt x="582575" y="34908"/>
                  </a:cubicBezTo>
                  <a:cubicBezTo>
                    <a:pt x="580648" y="34266"/>
                    <a:pt x="574866" y="31696"/>
                    <a:pt x="566513" y="32339"/>
                  </a:cubicBezTo>
                  <a:cubicBezTo>
                    <a:pt x="558161" y="32981"/>
                    <a:pt x="547881" y="30411"/>
                    <a:pt x="549809" y="25271"/>
                  </a:cubicBezTo>
                  <a:cubicBezTo>
                    <a:pt x="551736" y="20131"/>
                    <a:pt x="567156" y="7924"/>
                    <a:pt x="568441" y="7924"/>
                  </a:cubicBezTo>
                  <a:cubicBezTo>
                    <a:pt x="570368" y="7924"/>
                    <a:pt x="582575" y="6639"/>
                    <a:pt x="583860" y="7924"/>
                  </a:cubicBezTo>
                  <a:cubicBezTo>
                    <a:pt x="585788" y="9209"/>
                    <a:pt x="582575" y="3427"/>
                    <a:pt x="587073" y="857"/>
                  </a:cubicBezTo>
                  <a:cubicBezTo>
                    <a:pt x="591570" y="-1071"/>
                    <a:pt x="597995" y="857"/>
                    <a:pt x="598638" y="857"/>
                  </a:cubicBezTo>
                  <a:cubicBezTo>
                    <a:pt x="599280" y="857"/>
                    <a:pt x="595425" y="7924"/>
                    <a:pt x="603777" y="10494"/>
                  </a:cubicBezTo>
                  <a:cubicBezTo>
                    <a:pt x="612130" y="12421"/>
                    <a:pt x="619840" y="9851"/>
                    <a:pt x="623695" y="9851"/>
                  </a:cubicBezTo>
                  <a:cubicBezTo>
                    <a:pt x="627550" y="9851"/>
                    <a:pt x="648109" y="4069"/>
                    <a:pt x="652607" y="9209"/>
                  </a:cubicBezTo>
                  <a:cubicBezTo>
                    <a:pt x="657104" y="14349"/>
                    <a:pt x="662244" y="31053"/>
                    <a:pt x="668026" y="31053"/>
                  </a:cubicBezTo>
                  <a:cubicBezTo>
                    <a:pt x="674451" y="31053"/>
                    <a:pt x="682803" y="24629"/>
                    <a:pt x="691156" y="29126"/>
                  </a:cubicBezTo>
                  <a:cubicBezTo>
                    <a:pt x="699508" y="33624"/>
                    <a:pt x="706575" y="34908"/>
                    <a:pt x="709145" y="40691"/>
                  </a:cubicBezTo>
                  <a:cubicBezTo>
                    <a:pt x="711073" y="46473"/>
                    <a:pt x="740627" y="96587"/>
                    <a:pt x="741270" y="101727"/>
                  </a:cubicBezTo>
                  <a:cubicBezTo>
                    <a:pt x="742555" y="106867"/>
                    <a:pt x="734845" y="127427"/>
                    <a:pt x="743840" y="135779"/>
                  </a:cubicBezTo>
                  <a:cubicBezTo>
                    <a:pt x="753477" y="144131"/>
                    <a:pt x="773394" y="148629"/>
                    <a:pt x="775322" y="138991"/>
                  </a:cubicBezTo>
                  <a:cubicBezTo>
                    <a:pt x="777249" y="129354"/>
                    <a:pt x="778534" y="121002"/>
                    <a:pt x="778534" y="115219"/>
                  </a:cubicBezTo>
                  <a:cubicBezTo>
                    <a:pt x="778534" y="109437"/>
                    <a:pt x="783031" y="101085"/>
                    <a:pt x="789456" y="103655"/>
                  </a:cubicBezTo>
                  <a:cubicBezTo>
                    <a:pt x="795881" y="106225"/>
                    <a:pt x="804234" y="116504"/>
                    <a:pt x="806161" y="126784"/>
                  </a:cubicBezTo>
                  <a:cubicBezTo>
                    <a:pt x="808089" y="137064"/>
                    <a:pt x="809373" y="155696"/>
                    <a:pt x="806161" y="167261"/>
                  </a:cubicBezTo>
                  <a:cubicBezTo>
                    <a:pt x="802949" y="179468"/>
                    <a:pt x="795239" y="186536"/>
                    <a:pt x="795239" y="196815"/>
                  </a:cubicBezTo>
                  <a:cubicBezTo>
                    <a:pt x="794596" y="206453"/>
                    <a:pt x="803591" y="241147"/>
                    <a:pt x="803591" y="241147"/>
                  </a:cubicBezTo>
                  <a:cubicBezTo>
                    <a:pt x="803591" y="241147"/>
                    <a:pt x="844068" y="300898"/>
                    <a:pt x="848565" y="312463"/>
                  </a:cubicBezTo>
                  <a:cubicBezTo>
                    <a:pt x="853063" y="324670"/>
                    <a:pt x="863342" y="329168"/>
                    <a:pt x="867840" y="330453"/>
                  </a:cubicBezTo>
                  <a:cubicBezTo>
                    <a:pt x="872337" y="331738"/>
                    <a:pt x="885187" y="339447"/>
                    <a:pt x="890969" y="351655"/>
                  </a:cubicBezTo>
                  <a:cubicBezTo>
                    <a:pt x="896752" y="363862"/>
                    <a:pt x="911529" y="372214"/>
                    <a:pt x="911529" y="380567"/>
                  </a:cubicBezTo>
                  <a:cubicBezTo>
                    <a:pt x="911529" y="388919"/>
                    <a:pt x="908959" y="417188"/>
                    <a:pt x="907674" y="422328"/>
                  </a:cubicBezTo>
                  <a:cubicBezTo>
                    <a:pt x="912171" y="428111"/>
                    <a:pt x="920524" y="432608"/>
                    <a:pt x="916669" y="449313"/>
                  </a:cubicBezTo>
                  <a:close/>
                </a:path>
              </a:pathLst>
            </a:custGeom>
            <a:grpFill/>
            <a:ln w="202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75" name="Gerade Verbindung 473">
            <a:extLst>
              <a:ext uri="{FF2B5EF4-FFF2-40B4-BE49-F238E27FC236}">
                <a16:creationId xmlns:a16="http://schemas.microsoft.com/office/drawing/2014/main" id="{A2E6F9F6-C820-6F1E-673A-4B4FEFD25186}"/>
              </a:ext>
            </a:extLst>
          </p:cNvPr>
          <p:cNvCxnSpPr>
            <a:cxnSpLocks/>
            <a:endCxn id="78" idx="1"/>
          </p:cNvCxnSpPr>
          <p:nvPr/>
        </p:nvCxnSpPr>
        <p:spPr>
          <a:xfrm flipH="1">
            <a:off x="1582854" y="1514758"/>
            <a:ext cx="1054358" cy="1807584"/>
          </a:xfrm>
          <a:prstGeom prst="line">
            <a:avLst/>
          </a:prstGeom>
          <a:ln w="63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474">
            <a:extLst>
              <a:ext uri="{FF2B5EF4-FFF2-40B4-BE49-F238E27FC236}">
                <a16:creationId xmlns:a16="http://schemas.microsoft.com/office/drawing/2014/main" id="{7A2719A4-CF79-F86A-D2D6-0F22CE0C8EE7}"/>
              </a:ext>
            </a:extLst>
          </p:cNvPr>
          <p:cNvCxnSpPr>
            <a:cxnSpLocks/>
            <a:endCxn id="78" idx="2"/>
          </p:cNvCxnSpPr>
          <p:nvPr/>
        </p:nvCxnSpPr>
        <p:spPr>
          <a:xfrm flipH="1" flipV="1">
            <a:off x="1582854" y="3466342"/>
            <a:ext cx="1054358" cy="2466160"/>
          </a:xfrm>
          <a:prstGeom prst="line">
            <a:avLst/>
          </a:prstGeom>
          <a:ln w="63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D632CC1B-50F9-3810-F323-D6B102F14185}"/>
              </a:ext>
            </a:extLst>
          </p:cNvPr>
          <p:cNvGrpSpPr/>
          <p:nvPr/>
        </p:nvGrpSpPr>
        <p:grpSpPr>
          <a:xfrm>
            <a:off x="1438854" y="3322342"/>
            <a:ext cx="144000" cy="144000"/>
            <a:chOff x="5036780" y="3691554"/>
            <a:chExt cx="913170" cy="913174"/>
          </a:xfrm>
        </p:grpSpPr>
        <p:sp>
          <p:nvSpPr>
            <p:cNvPr id="78" name="Freihandform 476">
              <a:extLst>
                <a:ext uri="{FF2B5EF4-FFF2-40B4-BE49-F238E27FC236}">
                  <a16:creationId xmlns:a16="http://schemas.microsoft.com/office/drawing/2014/main" id="{94651868-085B-2C58-C84C-9FD1D8930B82}"/>
                </a:ext>
              </a:extLst>
            </p:cNvPr>
            <p:cNvSpPr/>
            <p:nvPr/>
          </p:nvSpPr>
          <p:spPr>
            <a:xfrm>
              <a:off x="5036780" y="3691554"/>
              <a:ext cx="913170" cy="913174"/>
            </a:xfrm>
            <a:custGeom>
              <a:avLst/>
              <a:gdLst>
                <a:gd name="connsiteX0" fmla="*/ 0 w 853225"/>
                <a:gd name="connsiteY0" fmla="*/ 0 h 557440"/>
                <a:gd name="connsiteX1" fmla="*/ 853225 w 853225"/>
                <a:gd name="connsiteY1" fmla="*/ 0 h 557440"/>
                <a:gd name="connsiteX2" fmla="*/ 853225 w 853225"/>
                <a:gd name="connsiteY2" fmla="*/ 557441 h 557440"/>
                <a:gd name="connsiteX3" fmla="*/ 0 w 853225"/>
                <a:gd name="connsiteY3" fmla="*/ 557441 h 557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3225" h="557440">
                  <a:moveTo>
                    <a:pt x="0" y="0"/>
                  </a:moveTo>
                  <a:lnTo>
                    <a:pt x="853225" y="0"/>
                  </a:lnTo>
                  <a:lnTo>
                    <a:pt x="853225" y="557441"/>
                  </a:lnTo>
                  <a:lnTo>
                    <a:pt x="0" y="557441"/>
                  </a:lnTo>
                  <a:close/>
                </a:path>
              </a:pathLst>
            </a:custGeom>
            <a:solidFill>
              <a:srgbClr val="005A8B"/>
            </a:solidFill>
            <a:ln w="94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 478">
              <a:extLst>
                <a:ext uri="{FF2B5EF4-FFF2-40B4-BE49-F238E27FC236}">
                  <a16:creationId xmlns:a16="http://schemas.microsoft.com/office/drawing/2014/main" id="{CB976E07-39D6-7EE1-5888-CB1BCB822FB5}"/>
                </a:ext>
              </a:extLst>
            </p:cNvPr>
            <p:cNvSpPr/>
            <p:nvPr/>
          </p:nvSpPr>
          <p:spPr>
            <a:xfrm>
              <a:off x="5351164" y="3996458"/>
              <a:ext cx="284407" cy="303367"/>
            </a:xfrm>
            <a:custGeom>
              <a:avLst/>
              <a:gdLst>
                <a:gd name="connsiteX0" fmla="*/ 284408 w 284408"/>
                <a:gd name="connsiteY0" fmla="*/ 141256 h 303369"/>
                <a:gd name="connsiteX1" fmla="*/ 281564 w 284408"/>
                <a:gd name="connsiteY1" fmla="*/ 133672 h 303369"/>
                <a:gd name="connsiteX2" fmla="*/ 277772 w 284408"/>
                <a:gd name="connsiteY2" fmla="*/ 129880 h 303369"/>
                <a:gd name="connsiteX3" fmla="*/ 273032 w 284408"/>
                <a:gd name="connsiteY3" fmla="*/ 128932 h 303369"/>
                <a:gd name="connsiteX4" fmla="*/ 166853 w 284408"/>
                <a:gd name="connsiteY4" fmla="*/ 128932 h 303369"/>
                <a:gd name="connsiteX5" fmla="*/ 166853 w 284408"/>
                <a:gd name="connsiteY5" fmla="*/ 11376 h 303369"/>
                <a:gd name="connsiteX6" fmla="*/ 165905 w 284408"/>
                <a:gd name="connsiteY6" fmla="*/ 6636 h 303369"/>
                <a:gd name="connsiteX7" fmla="*/ 162113 w 284408"/>
                <a:gd name="connsiteY7" fmla="*/ 2844 h 303369"/>
                <a:gd name="connsiteX8" fmla="*/ 154529 w 284408"/>
                <a:gd name="connsiteY8" fmla="*/ 948 h 303369"/>
                <a:gd name="connsiteX9" fmla="*/ 143152 w 284408"/>
                <a:gd name="connsiteY9" fmla="*/ 0 h 303369"/>
                <a:gd name="connsiteX10" fmla="*/ 131776 w 284408"/>
                <a:gd name="connsiteY10" fmla="*/ 948 h 303369"/>
                <a:gd name="connsiteX11" fmla="*/ 124192 w 284408"/>
                <a:gd name="connsiteY11" fmla="*/ 2844 h 303369"/>
                <a:gd name="connsiteX12" fmla="*/ 120400 w 284408"/>
                <a:gd name="connsiteY12" fmla="*/ 6636 h 303369"/>
                <a:gd name="connsiteX13" fmla="*/ 119452 w 284408"/>
                <a:gd name="connsiteY13" fmla="*/ 11376 h 303369"/>
                <a:gd name="connsiteX14" fmla="*/ 119452 w 284408"/>
                <a:gd name="connsiteY14" fmla="*/ 128932 h 303369"/>
                <a:gd name="connsiteX15" fmla="*/ 12324 w 284408"/>
                <a:gd name="connsiteY15" fmla="*/ 128932 h 303369"/>
                <a:gd name="connsiteX16" fmla="*/ 7584 w 284408"/>
                <a:gd name="connsiteY16" fmla="*/ 129880 h 303369"/>
                <a:gd name="connsiteX17" fmla="*/ 3792 w 284408"/>
                <a:gd name="connsiteY17" fmla="*/ 133672 h 303369"/>
                <a:gd name="connsiteX18" fmla="*/ 948 w 284408"/>
                <a:gd name="connsiteY18" fmla="*/ 141256 h 303369"/>
                <a:gd name="connsiteX19" fmla="*/ 0 w 284408"/>
                <a:gd name="connsiteY19" fmla="*/ 151685 h 303369"/>
                <a:gd name="connsiteX20" fmla="*/ 948 w 284408"/>
                <a:gd name="connsiteY20" fmla="*/ 162113 h 303369"/>
                <a:gd name="connsiteX21" fmla="*/ 3792 w 284408"/>
                <a:gd name="connsiteY21" fmla="*/ 169697 h 303369"/>
                <a:gd name="connsiteX22" fmla="*/ 7584 w 284408"/>
                <a:gd name="connsiteY22" fmla="*/ 173489 h 303369"/>
                <a:gd name="connsiteX23" fmla="*/ 12324 w 284408"/>
                <a:gd name="connsiteY23" fmla="*/ 174437 h 303369"/>
                <a:gd name="connsiteX24" fmla="*/ 118504 w 284408"/>
                <a:gd name="connsiteY24" fmla="*/ 174437 h 303369"/>
                <a:gd name="connsiteX25" fmla="*/ 118504 w 284408"/>
                <a:gd name="connsiteY25" fmla="*/ 292941 h 303369"/>
                <a:gd name="connsiteX26" fmla="*/ 119452 w 284408"/>
                <a:gd name="connsiteY26" fmla="*/ 297681 h 303369"/>
                <a:gd name="connsiteX27" fmla="*/ 123244 w 284408"/>
                <a:gd name="connsiteY27" fmla="*/ 300525 h 303369"/>
                <a:gd name="connsiteX28" fmla="*/ 130828 w 284408"/>
                <a:gd name="connsiteY28" fmla="*/ 302421 h 303369"/>
                <a:gd name="connsiteX29" fmla="*/ 142204 w 284408"/>
                <a:gd name="connsiteY29" fmla="*/ 303369 h 303369"/>
                <a:gd name="connsiteX30" fmla="*/ 153581 w 284408"/>
                <a:gd name="connsiteY30" fmla="*/ 302421 h 303369"/>
                <a:gd name="connsiteX31" fmla="*/ 161165 w 284408"/>
                <a:gd name="connsiteY31" fmla="*/ 300525 h 303369"/>
                <a:gd name="connsiteX32" fmla="*/ 164957 w 284408"/>
                <a:gd name="connsiteY32" fmla="*/ 297681 h 303369"/>
                <a:gd name="connsiteX33" fmla="*/ 165905 w 284408"/>
                <a:gd name="connsiteY33" fmla="*/ 292941 h 303369"/>
                <a:gd name="connsiteX34" fmla="*/ 165905 w 284408"/>
                <a:gd name="connsiteY34" fmla="*/ 175385 h 303369"/>
                <a:gd name="connsiteX35" fmla="*/ 272084 w 284408"/>
                <a:gd name="connsiteY35" fmla="*/ 175385 h 303369"/>
                <a:gd name="connsiteX36" fmla="*/ 276824 w 284408"/>
                <a:gd name="connsiteY36" fmla="*/ 174437 h 303369"/>
                <a:gd name="connsiteX37" fmla="*/ 280616 w 284408"/>
                <a:gd name="connsiteY37" fmla="*/ 170645 h 303369"/>
                <a:gd name="connsiteX38" fmla="*/ 283460 w 284408"/>
                <a:gd name="connsiteY38" fmla="*/ 163061 h 303369"/>
                <a:gd name="connsiteX39" fmla="*/ 284408 w 284408"/>
                <a:gd name="connsiteY39" fmla="*/ 152633 h 303369"/>
                <a:gd name="connsiteX40" fmla="*/ 284408 w 284408"/>
                <a:gd name="connsiteY40" fmla="*/ 141256 h 30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84408" h="303369">
                  <a:moveTo>
                    <a:pt x="284408" y="141256"/>
                  </a:moveTo>
                  <a:cubicBezTo>
                    <a:pt x="283460" y="138412"/>
                    <a:pt x="283460" y="135568"/>
                    <a:pt x="281564" y="133672"/>
                  </a:cubicBezTo>
                  <a:cubicBezTo>
                    <a:pt x="279668" y="131776"/>
                    <a:pt x="278720" y="129880"/>
                    <a:pt x="277772" y="129880"/>
                  </a:cubicBezTo>
                  <a:cubicBezTo>
                    <a:pt x="276824" y="128932"/>
                    <a:pt x="274928" y="128932"/>
                    <a:pt x="273032" y="128932"/>
                  </a:cubicBezTo>
                  <a:lnTo>
                    <a:pt x="166853" y="128932"/>
                  </a:lnTo>
                  <a:lnTo>
                    <a:pt x="166853" y="11376"/>
                  </a:lnTo>
                  <a:cubicBezTo>
                    <a:pt x="166853" y="9480"/>
                    <a:pt x="166853" y="8532"/>
                    <a:pt x="165905" y="6636"/>
                  </a:cubicBezTo>
                  <a:cubicBezTo>
                    <a:pt x="164957" y="5688"/>
                    <a:pt x="164009" y="3792"/>
                    <a:pt x="162113" y="2844"/>
                  </a:cubicBezTo>
                  <a:cubicBezTo>
                    <a:pt x="160217" y="1896"/>
                    <a:pt x="158321" y="948"/>
                    <a:pt x="154529" y="948"/>
                  </a:cubicBezTo>
                  <a:cubicBezTo>
                    <a:pt x="151685" y="0"/>
                    <a:pt x="147892" y="0"/>
                    <a:pt x="143152" y="0"/>
                  </a:cubicBezTo>
                  <a:cubicBezTo>
                    <a:pt x="138412" y="0"/>
                    <a:pt x="135568" y="0"/>
                    <a:pt x="131776" y="948"/>
                  </a:cubicBezTo>
                  <a:cubicBezTo>
                    <a:pt x="128932" y="1896"/>
                    <a:pt x="126088" y="1896"/>
                    <a:pt x="124192" y="2844"/>
                  </a:cubicBezTo>
                  <a:cubicBezTo>
                    <a:pt x="122296" y="3792"/>
                    <a:pt x="121348" y="4740"/>
                    <a:pt x="120400" y="6636"/>
                  </a:cubicBezTo>
                  <a:cubicBezTo>
                    <a:pt x="119452" y="7584"/>
                    <a:pt x="119452" y="9480"/>
                    <a:pt x="119452" y="11376"/>
                  </a:cubicBezTo>
                  <a:lnTo>
                    <a:pt x="119452" y="128932"/>
                  </a:lnTo>
                  <a:lnTo>
                    <a:pt x="12324" y="128932"/>
                  </a:lnTo>
                  <a:cubicBezTo>
                    <a:pt x="10428" y="128932"/>
                    <a:pt x="9480" y="128932"/>
                    <a:pt x="7584" y="129880"/>
                  </a:cubicBezTo>
                  <a:cubicBezTo>
                    <a:pt x="6636" y="130828"/>
                    <a:pt x="4740" y="131776"/>
                    <a:pt x="3792" y="133672"/>
                  </a:cubicBezTo>
                  <a:cubicBezTo>
                    <a:pt x="2844" y="135568"/>
                    <a:pt x="1896" y="138412"/>
                    <a:pt x="948" y="141256"/>
                  </a:cubicBezTo>
                  <a:cubicBezTo>
                    <a:pt x="0" y="144100"/>
                    <a:pt x="0" y="147892"/>
                    <a:pt x="0" y="151685"/>
                  </a:cubicBezTo>
                  <a:cubicBezTo>
                    <a:pt x="0" y="155477"/>
                    <a:pt x="0" y="159269"/>
                    <a:pt x="948" y="162113"/>
                  </a:cubicBezTo>
                  <a:cubicBezTo>
                    <a:pt x="1896" y="164957"/>
                    <a:pt x="2844" y="167801"/>
                    <a:pt x="3792" y="169697"/>
                  </a:cubicBezTo>
                  <a:cubicBezTo>
                    <a:pt x="4740" y="171593"/>
                    <a:pt x="5688" y="173489"/>
                    <a:pt x="7584" y="173489"/>
                  </a:cubicBezTo>
                  <a:cubicBezTo>
                    <a:pt x="8532" y="174437"/>
                    <a:pt x="10428" y="174437"/>
                    <a:pt x="12324" y="174437"/>
                  </a:cubicBezTo>
                  <a:lnTo>
                    <a:pt x="118504" y="174437"/>
                  </a:lnTo>
                  <a:lnTo>
                    <a:pt x="118504" y="292941"/>
                  </a:lnTo>
                  <a:cubicBezTo>
                    <a:pt x="118504" y="294837"/>
                    <a:pt x="118504" y="295785"/>
                    <a:pt x="119452" y="297681"/>
                  </a:cubicBezTo>
                  <a:cubicBezTo>
                    <a:pt x="120400" y="298629"/>
                    <a:pt x="121348" y="299577"/>
                    <a:pt x="123244" y="300525"/>
                  </a:cubicBezTo>
                  <a:cubicBezTo>
                    <a:pt x="125140" y="301473"/>
                    <a:pt x="127984" y="302421"/>
                    <a:pt x="130828" y="302421"/>
                  </a:cubicBezTo>
                  <a:cubicBezTo>
                    <a:pt x="133672" y="303369"/>
                    <a:pt x="137464" y="303369"/>
                    <a:pt x="142204" y="303369"/>
                  </a:cubicBezTo>
                  <a:cubicBezTo>
                    <a:pt x="146944" y="303369"/>
                    <a:pt x="150737" y="303369"/>
                    <a:pt x="153581" y="302421"/>
                  </a:cubicBezTo>
                  <a:cubicBezTo>
                    <a:pt x="156425" y="301473"/>
                    <a:pt x="159269" y="301473"/>
                    <a:pt x="161165" y="300525"/>
                  </a:cubicBezTo>
                  <a:cubicBezTo>
                    <a:pt x="163061" y="299577"/>
                    <a:pt x="164009" y="298629"/>
                    <a:pt x="164957" y="297681"/>
                  </a:cubicBezTo>
                  <a:cubicBezTo>
                    <a:pt x="165905" y="296733"/>
                    <a:pt x="165905" y="294837"/>
                    <a:pt x="165905" y="292941"/>
                  </a:cubicBezTo>
                  <a:lnTo>
                    <a:pt x="165905" y="175385"/>
                  </a:lnTo>
                  <a:lnTo>
                    <a:pt x="272084" y="175385"/>
                  </a:lnTo>
                  <a:cubicBezTo>
                    <a:pt x="273980" y="175385"/>
                    <a:pt x="275876" y="175385"/>
                    <a:pt x="276824" y="174437"/>
                  </a:cubicBezTo>
                  <a:cubicBezTo>
                    <a:pt x="278720" y="173489"/>
                    <a:pt x="279668" y="172541"/>
                    <a:pt x="280616" y="170645"/>
                  </a:cubicBezTo>
                  <a:cubicBezTo>
                    <a:pt x="281564" y="168749"/>
                    <a:pt x="282512" y="165905"/>
                    <a:pt x="283460" y="163061"/>
                  </a:cubicBezTo>
                  <a:cubicBezTo>
                    <a:pt x="284408" y="160217"/>
                    <a:pt x="284408" y="156425"/>
                    <a:pt x="284408" y="152633"/>
                  </a:cubicBezTo>
                  <a:cubicBezTo>
                    <a:pt x="284408" y="147892"/>
                    <a:pt x="284408" y="144100"/>
                    <a:pt x="284408" y="141256"/>
                  </a:cubicBezTo>
                </a:path>
              </a:pathLst>
            </a:custGeom>
            <a:solidFill>
              <a:srgbClr val="FFFFFF"/>
            </a:solidFill>
            <a:ln w="94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81" name="Grafik 80">
            <a:extLst>
              <a:ext uri="{FF2B5EF4-FFF2-40B4-BE49-F238E27FC236}">
                <a16:creationId xmlns:a16="http://schemas.microsoft.com/office/drawing/2014/main" id="{95A90433-37DF-0B3D-9B1B-55BD309694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0275" y="1519900"/>
            <a:ext cx="6193279" cy="4412602"/>
          </a:xfrm>
          <a:prstGeom prst="rect">
            <a:avLst/>
          </a:prstGeom>
        </p:spPr>
      </p:pic>
      <p:sp>
        <p:nvSpPr>
          <p:cNvPr id="86" name="Freihandform 15">
            <a:extLst>
              <a:ext uri="{FF2B5EF4-FFF2-40B4-BE49-F238E27FC236}">
                <a16:creationId xmlns:a16="http://schemas.microsoft.com/office/drawing/2014/main" id="{FE99CA51-4499-CC6C-2075-209E0BD09539}"/>
              </a:ext>
            </a:extLst>
          </p:cNvPr>
          <p:cNvSpPr/>
          <p:nvPr/>
        </p:nvSpPr>
        <p:spPr>
          <a:xfrm>
            <a:off x="9254594" y="3793100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87" name="Freihandform 18">
            <a:extLst>
              <a:ext uri="{FF2B5EF4-FFF2-40B4-BE49-F238E27FC236}">
                <a16:creationId xmlns:a16="http://schemas.microsoft.com/office/drawing/2014/main" id="{E3BDA087-9806-7C4D-0C56-F20977424F01}"/>
              </a:ext>
            </a:extLst>
          </p:cNvPr>
          <p:cNvSpPr/>
          <p:nvPr/>
        </p:nvSpPr>
        <p:spPr>
          <a:xfrm>
            <a:off x="9254594" y="2735977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8" name="Freihandform 34">
            <a:extLst>
              <a:ext uri="{FF2B5EF4-FFF2-40B4-BE49-F238E27FC236}">
                <a16:creationId xmlns:a16="http://schemas.microsoft.com/office/drawing/2014/main" id="{9B8F23B8-9301-8F70-AF7A-27DD4A2BB259}"/>
              </a:ext>
            </a:extLst>
          </p:cNvPr>
          <p:cNvSpPr/>
          <p:nvPr/>
        </p:nvSpPr>
        <p:spPr>
          <a:xfrm>
            <a:off x="9254594" y="1678854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9" name="Freihandform 14">
            <a:extLst>
              <a:ext uri="{FF2B5EF4-FFF2-40B4-BE49-F238E27FC236}">
                <a16:creationId xmlns:a16="http://schemas.microsoft.com/office/drawing/2014/main" id="{9300F2E1-E8FE-5705-1D5A-9AB0092F88C9}"/>
              </a:ext>
            </a:extLst>
          </p:cNvPr>
          <p:cNvSpPr/>
          <p:nvPr/>
        </p:nvSpPr>
        <p:spPr>
          <a:xfrm>
            <a:off x="9254594" y="4850223"/>
            <a:ext cx="641035" cy="641035"/>
          </a:xfrm>
          <a:custGeom>
            <a:avLst/>
            <a:gdLst>
              <a:gd name="connsiteX0" fmla="*/ 1941076 w 3882151"/>
              <a:gd name="connsiteY0" fmla="*/ 3882152 h 3882151"/>
              <a:gd name="connsiteX1" fmla="*/ 3882152 w 3882151"/>
              <a:gd name="connsiteY1" fmla="*/ 1941076 h 3882151"/>
              <a:gd name="connsiteX2" fmla="*/ 1941076 w 3882151"/>
              <a:gd name="connsiteY2" fmla="*/ 0 h 3882151"/>
              <a:gd name="connsiteX3" fmla="*/ 0 w 3882151"/>
              <a:gd name="connsiteY3" fmla="*/ 1941076 h 3882151"/>
              <a:gd name="connsiteX4" fmla="*/ 1941076 w 3882151"/>
              <a:gd name="connsiteY4" fmla="*/ 3882152 h 3882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151" h="3882151">
                <a:moveTo>
                  <a:pt x="1941076" y="3882152"/>
                </a:moveTo>
                <a:cubicBezTo>
                  <a:pt x="3013020" y="3882152"/>
                  <a:pt x="3882152" y="3013020"/>
                  <a:pt x="3882152" y="1941076"/>
                </a:cubicBezTo>
                <a:cubicBezTo>
                  <a:pt x="3882152" y="869133"/>
                  <a:pt x="3013020" y="0"/>
                  <a:pt x="1941076" y="0"/>
                </a:cubicBezTo>
                <a:cubicBezTo>
                  <a:pt x="869133" y="0"/>
                  <a:pt x="0" y="869133"/>
                  <a:pt x="0" y="1941076"/>
                </a:cubicBezTo>
                <a:cubicBezTo>
                  <a:pt x="0" y="3013020"/>
                  <a:pt x="869133" y="3882152"/>
                  <a:pt x="1941076" y="3882152"/>
                </a:cubicBezTo>
              </a:path>
            </a:pathLst>
          </a:custGeom>
          <a:solidFill>
            <a:srgbClr val="AB9C8F"/>
          </a:solidFill>
          <a:ln w="404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EFC7E93A-695B-CFD1-12F3-E7F476AC9BF7}"/>
              </a:ext>
            </a:extLst>
          </p:cNvPr>
          <p:cNvSpPr txBox="1"/>
          <p:nvPr/>
        </p:nvSpPr>
        <p:spPr>
          <a:xfrm>
            <a:off x="10122259" y="1769956"/>
            <a:ext cx="176497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2000" dirty="0"/>
              <a:t>280 MW</a:t>
            </a:r>
            <a:br>
              <a:rPr lang="de-DE" sz="2000" dirty="0"/>
            </a:br>
            <a:r>
              <a:rPr lang="de-DE" sz="1000" dirty="0"/>
              <a:t>Elektrolyseur</a:t>
            </a:r>
          </a:p>
        </p:txBody>
      </p:sp>
      <p:cxnSp>
        <p:nvCxnSpPr>
          <p:cNvPr id="91" name="Gerade Verbindung 31">
            <a:extLst>
              <a:ext uri="{FF2B5EF4-FFF2-40B4-BE49-F238E27FC236}">
                <a16:creationId xmlns:a16="http://schemas.microsoft.com/office/drawing/2014/main" id="{4F6F2E91-1240-7D09-5C1F-1A32132BFA44}"/>
              </a:ext>
            </a:extLst>
          </p:cNvPr>
          <p:cNvCxnSpPr>
            <a:cxnSpLocks/>
          </p:cNvCxnSpPr>
          <p:nvPr/>
        </p:nvCxnSpPr>
        <p:spPr>
          <a:xfrm>
            <a:off x="9251078" y="2524718"/>
            <a:ext cx="241200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Grafik 92">
            <a:extLst>
              <a:ext uri="{FF2B5EF4-FFF2-40B4-BE49-F238E27FC236}">
                <a16:creationId xmlns:a16="http://schemas.microsoft.com/office/drawing/2014/main" id="{23D92BC2-C1FC-3CBE-C026-439097C57F4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54375" y="3879140"/>
            <a:ext cx="457200" cy="457200"/>
          </a:xfrm>
          <a:prstGeom prst="rect">
            <a:avLst/>
          </a:prstGeom>
        </p:spPr>
      </p:pic>
      <p:sp>
        <p:nvSpPr>
          <p:cNvPr id="96" name="Textfeld 95">
            <a:extLst>
              <a:ext uri="{FF2B5EF4-FFF2-40B4-BE49-F238E27FC236}">
                <a16:creationId xmlns:a16="http://schemas.microsoft.com/office/drawing/2014/main" id="{3255C971-E9D2-D994-1527-5137859091B7}"/>
              </a:ext>
            </a:extLst>
          </p:cNvPr>
          <p:cNvSpPr txBox="1"/>
          <p:nvPr/>
        </p:nvSpPr>
        <p:spPr>
          <a:xfrm>
            <a:off x="10122259" y="2810324"/>
            <a:ext cx="176497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2000" dirty="0"/>
              <a:t>200kt / 72kt</a:t>
            </a:r>
            <a:br>
              <a:rPr lang="de-DE" sz="2000" dirty="0"/>
            </a:br>
            <a:r>
              <a:rPr lang="de-DE" sz="1000" dirty="0" err="1"/>
              <a:t>eMethanol</a:t>
            </a:r>
            <a:r>
              <a:rPr lang="de-DE" sz="1000" dirty="0"/>
              <a:t> / </a:t>
            </a:r>
            <a:r>
              <a:rPr lang="de-DE" sz="1000" dirty="0" err="1"/>
              <a:t>eKerosin</a:t>
            </a:r>
            <a:endParaRPr lang="de-DE" sz="1000" dirty="0"/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F7741652-1962-E2E1-0A5C-B4980ED0CEB3}"/>
              </a:ext>
            </a:extLst>
          </p:cNvPr>
          <p:cNvSpPr txBox="1"/>
          <p:nvPr/>
        </p:nvSpPr>
        <p:spPr>
          <a:xfrm>
            <a:off x="10122259" y="3864061"/>
            <a:ext cx="176497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2000" dirty="0"/>
              <a:t>Anschluss 380kV</a:t>
            </a:r>
            <a:br>
              <a:rPr lang="de-DE" sz="2000" dirty="0"/>
            </a:br>
            <a:r>
              <a:rPr lang="de-DE" sz="1000" dirty="0"/>
              <a:t>Umspannwerke Hochspannung</a:t>
            </a: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D85EB62A-6E2A-D1E9-0BA1-C36510EE6454}"/>
              </a:ext>
            </a:extLst>
          </p:cNvPr>
          <p:cNvSpPr txBox="1"/>
          <p:nvPr/>
        </p:nvSpPr>
        <p:spPr>
          <a:xfrm>
            <a:off x="10122259" y="4860343"/>
            <a:ext cx="176497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750"/>
              </a:spcAft>
            </a:pPr>
            <a:r>
              <a:rPr lang="de-DE" sz="2000" dirty="0" err="1"/>
              <a:t>Erschliessung</a:t>
            </a:r>
            <a:r>
              <a:rPr lang="de-DE" sz="2000" dirty="0"/>
              <a:t> </a:t>
            </a:r>
            <a:br>
              <a:rPr lang="de-DE" sz="2000" dirty="0"/>
            </a:br>
            <a:r>
              <a:rPr lang="de-DE" sz="2000" dirty="0"/>
              <a:t>EE-Potential</a:t>
            </a:r>
            <a:br>
              <a:rPr lang="de-DE" sz="2000" dirty="0"/>
            </a:br>
            <a:r>
              <a:rPr lang="de-DE" sz="1000" dirty="0"/>
              <a:t>eingeschränkte Netzinfrastruktur</a:t>
            </a:r>
          </a:p>
        </p:txBody>
      </p:sp>
      <p:cxnSp>
        <p:nvCxnSpPr>
          <p:cNvPr id="99" name="Gerade Verbindung 35">
            <a:extLst>
              <a:ext uri="{FF2B5EF4-FFF2-40B4-BE49-F238E27FC236}">
                <a16:creationId xmlns:a16="http://schemas.microsoft.com/office/drawing/2014/main" id="{10E5987A-29CB-521F-5731-7DA36B9F75D8}"/>
              </a:ext>
            </a:extLst>
          </p:cNvPr>
          <p:cNvCxnSpPr>
            <a:cxnSpLocks/>
          </p:cNvCxnSpPr>
          <p:nvPr/>
        </p:nvCxnSpPr>
        <p:spPr>
          <a:xfrm>
            <a:off x="9251078" y="3585168"/>
            <a:ext cx="241200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36">
            <a:extLst>
              <a:ext uri="{FF2B5EF4-FFF2-40B4-BE49-F238E27FC236}">
                <a16:creationId xmlns:a16="http://schemas.microsoft.com/office/drawing/2014/main" id="{4BB9C08D-0067-9DBD-CEA6-0EDE8D44A282}"/>
              </a:ext>
            </a:extLst>
          </p:cNvPr>
          <p:cNvCxnSpPr>
            <a:cxnSpLocks/>
          </p:cNvCxnSpPr>
          <p:nvPr/>
        </p:nvCxnSpPr>
        <p:spPr>
          <a:xfrm>
            <a:off x="9251078" y="4645618"/>
            <a:ext cx="241200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Grafik 101">
            <a:extLst>
              <a:ext uri="{FF2B5EF4-FFF2-40B4-BE49-F238E27FC236}">
                <a16:creationId xmlns:a16="http://schemas.microsoft.com/office/drawing/2014/main" id="{816953BE-087C-0C70-9CDC-23D38BC53D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1515" y="4919273"/>
            <a:ext cx="498987" cy="498987"/>
          </a:xfrm>
          <a:prstGeom prst="rect">
            <a:avLst/>
          </a:prstGeom>
          <a:noFill/>
          <a:ln w="9525" cap="flat">
            <a:noFill/>
            <a:prstDash val="solid"/>
            <a:miter/>
          </a:ln>
        </p:spPr>
      </p:pic>
      <p:pic>
        <p:nvPicPr>
          <p:cNvPr id="106" name="Grafik 105">
            <a:extLst>
              <a:ext uri="{FF2B5EF4-FFF2-40B4-BE49-F238E27FC236}">
                <a16:creationId xmlns:a16="http://schemas.microsoft.com/office/drawing/2014/main" id="{FBDBB06A-5D28-33A3-175A-ACE48C4FB7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1201" y="1776313"/>
            <a:ext cx="462800" cy="462800"/>
          </a:xfrm>
          <a:prstGeom prst="rect">
            <a:avLst/>
          </a:prstGeom>
        </p:spPr>
      </p:pic>
      <p:pic>
        <p:nvPicPr>
          <p:cNvPr id="108" name="Grafik 107">
            <a:extLst>
              <a:ext uri="{FF2B5EF4-FFF2-40B4-BE49-F238E27FC236}">
                <a16:creationId xmlns:a16="http://schemas.microsoft.com/office/drawing/2014/main" id="{8018E20E-BB66-5A89-5345-35C7B78367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2385" y="2748169"/>
            <a:ext cx="625452" cy="622277"/>
          </a:xfrm>
          <a:prstGeom prst="rect">
            <a:avLst/>
          </a:prstGeom>
          <a:ln>
            <a:noFill/>
          </a:ln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C89328CC-16B5-EA0F-7C32-BAE34EF3181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90101" y="319550"/>
            <a:ext cx="1903760" cy="720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3408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B07874-B922-7647-F194-1E334286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ertschöpfungskette von „Green Fuels Lausitz(+)“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719027-8503-2CC8-6577-0C400B2F9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„Energie braucht Netze“ - Netzwerkveranstaltung 24. April 2026 in Görlit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50D1D2-9A82-AF20-A7D0-D003DA48C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noProof="0" smtClean="0"/>
              <a:t>6</a:t>
            </a:fld>
            <a:endParaRPr lang="en-GB" noProof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00F074DA-504C-0E8D-B131-185663A8BBA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>
                <a:ea typeface="Calibri"/>
                <a:cs typeface="Calibri"/>
              </a:rPr>
              <a:t>Green Fuels Lausitz – Grünes Methanol aus der Lausitz</a:t>
            </a:r>
            <a:endParaRPr lang="de-DE" dirty="0"/>
          </a:p>
        </p:txBody>
      </p:sp>
      <p:pic>
        <p:nvPicPr>
          <p:cNvPr id="11" name="Grafik 10" descr="Ein Bild, das Text, Diagramm, Reihe, Schrift enthält.&#10;&#10;KI-generierte Inhalte können fehlerhaft sein.">
            <a:extLst>
              <a:ext uri="{FF2B5EF4-FFF2-40B4-BE49-F238E27FC236}">
                <a16:creationId xmlns:a16="http://schemas.microsoft.com/office/drawing/2014/main" id="{C4C4ECC1-DCBE-BBD6-1155-AEFFC6701A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9042" y="1271231"/>
            <a:ext cx="8450572" cy="5123219"/>
          </a:xfrm>
          <a:prstGeom prst="rect">
            <a:avLst/>
          </a:prstGeom>
        </p:spPr>
      </p:pic>
      <p:sp>
        <p:nvSpPr>
          <p:cNvPr id="9" name="Date Placeholder 5">
            <a:extLst>
              <a:ext uri="{FF2B5EF4-FFF2-40B4-BE49-F238E27FC236}">
                <a16:creationId xmlns:a16="http://schemas.microsoft.com/office/drawing/2014/main" id="{C29293D6-1ADF-96A4-EDE2-CAE02419C3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</p:spPr>
        <p:txBody>
          <a:bodyPr/>
          <a:lstStyle/>
          <a:p>
            <a:fld id="{14E7623A-8D7B-4797-8995-3AAF6FD6A638}" type="datetime1">
              <a:rPr lang="de-DE" smtClean="0"/>
              <a:t>24.04.2026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8D1A23A-3E3C-B360-FA49-D46F601C7F8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90101" y="319550"/>
            <a:ext cx="1903760" cy="720841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A5F78E86-429D-2C1A-D3E1-30386FB71621}"/>
              </a:ext>
            </a:extLst>
          </p:cNvPr>
          <p:cNvSpPr/>
          <p:nvPr/>
        </p:nvSpPr>
        <p:spPr>
          <a:xfrm>
            <a:off x="580874" y="1271902"/>
            <a:ext cx="2193583" cy="3453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b="1">
                <a:solidFill>
                  <a:schemeClr val="bg1"/>
                </a:solidFill>
                <a:ea typeface="Calibri"/>
                <a:cs typeface="Calibri"/>
              </a:rPr>
              <a:t>Kennzahlen GF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1E2A07F-4F5A-5CE5-B05F-8A6077410B20}"/>
              </a:ext>
            </a:extLst>
          </p:cNvPr>
          <p:cNvSpPr/>
          <p:nvPr/>
        </p:nvSpPr>
        <p:spPr>
          <a:xfrm>
            <a:off x="580874" y="1619201"/>
            <a:ext cx="2193583" cy="47752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30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2BD3454D-2DB9-3538-3BB7-81F4853CEEB7}"/>
              </a:ext>
            </a:extLst>
          </p:cNvPr>
          <p:cNvGrpSpPr/>
          <p:nvPr/>
        </p:nvGrpSpPr>
        <p:grpSpPr>
          <a:xfrm>
            <a:off x="773872" y="2511479"/>
            <a:ext cx="1955876" cy="698379"/>
            <a:chOff x="554124" y="2792489"/>
            <a:chExt cx="1955876" cy="698379"/>
          </a:xfrm>
        </p:grpSpPr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FA4AD069-9807-7286-891D-5C565AA38104}"/>
                </a:ext>
              </a:extLst>
            </p:cNvPr>
            <p:cNvSpPr txBox="1"/>
            <p:nvPr/>
          </p:nvSpPr>
          <p:spPr>
            <a:xfrm>
              <a:off x="1104136" y="2792489"/>
              <a:ext cx="108172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120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50 MW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A7C4E8AE-B52F-EB2A-A379-B24070AED7B5}"/>
                </a:ext>
              </a:extLst>
            </p:cNvPr>
            <p:cNvSpPr txBox="1"/>
            <p:nvPr/>
          </p:nvSpPr>
          <p:spPr>
            <a:xfrm>
              <a:off x="1104136" y="3183091"/>
              <a:ext cx="1405864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defRPr/>
              </a:pPr>
              <a:r>
                <a:rPr lang="en-AU" sz="1000" err="1">
                  <a:solidFill>
                    <a:srgbClr val="003056"/>
                  </a:solidFill>
                  <a:latin typeface="Calibri" panose="020F0502020204030204"/>
                </a:rPr>
                <a:t>Installierte</a:t>
              </a:r>
              <a:r>
                <a:rPr lang="en-AU" sz="1000">
                  <a:solidFill>
                    <a:srgbClr val="003056"/>
                  </a:solidFill>
                  <a:latin typeface="Calibri" panose="020F0502020204030204"/>
                </a:rPr>
                <a:t> </a:t>
              </a:r>
              <a:r>
                <a:rPr lang="en-AU" sz="1000" err="1">
                  <a:solidFill>
                    <a:srgbClr val="003056"/>
                  </a:solidFill>
                  <a:latin typeface="Calibri" panose="020F0502020204030204"/>
                </a:rPr>
                <a:t>Kapazität</a:t>
              </a:r>
              <a:r>
                <a:rPr lang="en-AU" sz="1000">
                  <a:solidFill>
                    <a:srgbClr val="003056"/>
                  </a:solidFill>
                  <a:latin typeface="Calibri" panose="020F0502020204030204"/>
                </a:rPr>
                <a:t> </a:t>
              </a:r>
              <a:r>
                <a:rPr lang="en-AU" sz="1000" err="1">
                  <a:solidFill>
                    <a:srgbClr val="003056"/>
                  </a:solidFill>
                  <a:latin typeface="Calibri" panose="020F0502020204030204"/>
                </a:rPr>
                <a:t>Windenergie</a:t>
              </a:r>
              <a:endParaRPr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3056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endParaRP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610B9AF9-85C7-E4D8-6E6E-B9D97EE8C3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4124" y="2866277"/>
              <a:ext cx="468000" cy="46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FD77B563-94F9-6EAC-F4CD-4E61E6A42B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8514" y="2890668"/>
              <a:ext cx="419220" cy="419220"/>
            </a:xfrm>
            <a:prstGeom prst="ellipse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Grafik 12">
              <a:extLst>
                <a:ext uri="{FF2B5EF4-FFF2-40B4-BE49-F238E27FC236}">
                  <a16:creationId xmlns:a16="http://schemas.microsoft.com/office/drawing/2014/main" id="{11D0C264-EEDB-9EB8-F628-34CDDF4F2E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1650" y="2944003"/>
              <a:ext cx="232946" cy="305638"/>
            </a:xfrm>
            <a:custGeom>
              <a:avLst/>
              <a:gdLst>
                <a:gd name="connsiteX0" fmla="*/ 27493 w 1344303"/>
                <a:gd name="connsiteY0" fmla="*/ 997429 h 1763803"/>
                <a:gd name="connsiteX1" fmla="*/ 93855 w 1344303"/>
                <a:gd name="connsiteY1" fmla="*/ 1001232 h 1763803"/>
                <a:gd name="connsiteX2" fmla="*/ 617166 w 1344303"/>
                <a:gd name="connsiteY2" fmla="*/ 826278 h 1763803"/>
                <a:gd name="connsiteX3" fmla="*/ 510987 w 1344303"/>
                <a:gd name="connsiteY3" fmla="*/ 1763804 h 1763803"/>
                <a:gd name="connsiteX4" fmla="*/ 845641 w 1344303"/>
                <a:gd name="connsiteY4" fmla="*/ 1763804 h 1763803"/>
                <a:gd name="connsiteX5" fmla="*/ 740410 w 1344303"/>
                <a:gd name="connsiteY5" fmla="*/ 831983 h 1763803"/>
                <a:gd name="connsiteX6" fmla="*/ 1275098 w 1344303"/>
                <a:gd name="connsiteY6" fmla="*/ 1026905 h 1763803"/>
                <a:gd name="connsiteX7" fmla="*/ 1317759 w 1344303"/>
                <a:gd name="connsiteY7" fmla="*/ 1025003 h 1763803"/>
                <a:gd name="connsiteX8" fmla="*/ 1331980 w 1344303"/>
                <a:gd name="connsiteY8" fmla="*/ 1024052 h 1763803"/>
                <a:gd name="connsiteX9" fmla="*/ 1344304 w 1344303"/>
                <a:gd name="connsiteY9" fmla="*/ 995527 h 1763803"/>
                <a:gd name="connsiteX10" fmla="*/ 1335772 w 1344303"/>
                <a:gd name="connsiteY10" fmla="*/ 984117 h 1763803"/>
                <a:gd name="connsiteX11" fmla="*/ 765059 w 1344303"/>
                <a:gd name="connsiteY11" fmla="*/ 680800 h 1763803"/>
                <a:gd name="connsiteX12" fmla="*/ 748942 w 1344303"/>
                <a:gd name="connsiteY12" fmla="*/ 657029 h 1763803"/>
                <a:gd name="connsiteX13" fmla="*/ 701541 w 1344303"/>
                <a:gd name="connsiteY13" fmla="*/ 12361 h 1763803"/>
                <a:gd name="connsiteX14" fmla="*/ 694905 w 1344303"/>
                <a:gd name="connsiteY14" fmla="*/ 0 h 1763803"/>
                <a:gd name="connsiteX15" fmla="*/ 662672 w 1344303"/>
                <a:gd name="connsiteY15" fmla="*/ 0 h 1763803"/>
                <a:gd name="connsiteX16" fmla="*/ 655087 w 1344303"/>
                <a:gd name="connsiteY16" fmla="*/ 11410 h 1763803"/>
                <a:gd name="connsiteX17" fmla="*/ 607686 w 1344303"/>
                <a:gd name="connsiteY17" fmla="*/ 656078 h 1763803"/>
                <a:gd name="connsiteX18" fmla="*/ 593466 w 1344303"/>
                <a:gd name="connsiteY18" fmla="*/ 676996 h 1763803"/>
                <a:gd name="connsiteX19" fmla="*/ 9480 w 1344303"/>
                <a:gd name="connsiteY19" fmla="*/ 955592 h 1763803"/>
                <a:gd name="connsiteX20" fmla="*/ 0 w 1344303"/>
                <a:gd name="connsiteY20" fmla="*/ 966051 h 1763803"/>
                <a:gd name="connsiteX21" fmla="*/ 11376 w 1344303"/>
                <a:gd name="connsiteY21" fmla="*/ 995527 h 1763803"/>
                <a:gd name="connsiteX22" fmla="*/ 27493 w 1344303"/>
                <a:gd name="connsiteY22" fmla="*/ 997429 h 1763803"/>
                <a:gd name="connsiteX23" fmla="*/ 772643 w 1344303"/>
                <a:gd name="connsiteY23" fmla="*/ 731194 h 1763803"/>
                <a:gd name="connsiteX24" fmla="*/ 1268462 w 1344303"/>
                <a:gd name="connsiteY24" fmla="*/ 978412 h 1763803"/>
                <a:gd name="connsiteX25" fmla="*/ 750838 w 1344303"/>
                <a:gd name="connsiteY25" fmla="*/ 780638 h 1763803"/>
                <a:gd name="connsiteX26" fmla="*/ 772643 w 1344303"/>
                <a:gd name="connsiteY26" fmla="*/ 731194 h 1763803"/>
                <a:gd name="connsiteX27" fmla="*/ 772643 w 1344303"/>
                <a:gd name="connsiteY27" fmla="*/ 731194 h 1763803"/>
                <a:gd name="connsiteX28" fmla="*/ 678788 w 1344303"/>
                <a:gd name="connsiteY28" fmla="*/ 766375 h 1763803"/>
                <a:gd name="connsiteX29" fmla="*/ 632335 w 1344303"/>
                <a:gd name="connsiteY29" fmla="*/ 719784 h 1763803"/>
                <a:gd name="connsiteX30" fmla="*/ 678788 w 1344303"/>
                <a:gd name="connsiteY30" fmla="*/ 673193 h 1763803"/>
                <a:gd name="connsiteX31" fmla="*/ 725242 w 1344303"/>
                <a:gd name="connsiteY31" fmla="*/ 719784 h 1763803"/>
                <a:gd name="connsiteX32" fmla="*/ 725242 w 1344303"/>
                <a:gd name="connsiteY32" fmla="*/ 719784 h 1763803"/>
                <a:gd name="connsiteX33" fmla="*/ 678788 w 1344303"/>
                <a:gd name="connsiteY33" fmla="*/ 766375 h 1763803"/>
                <a:gd name="connsiteX34" fmla="*/ 678788 w 1344303"/>
                <a:gd name="connsiteY34" fmla="*/ 766375 h 1763803"/>
                <a:gd name="connsiteX35" fmla="*/ 792552 w 1344303"/>
                <a:gd name="connsiteY35" fmla="*/ 1715311 h 1763803"/>
                <a:gd name="connsiteX36" fmla="*/ 565025 w 1344303"/>
                <a:gd name="connsiteY36" fmla="*/ 1715311 h 1763803"/>
                <a:gd name="connsiteX37" fmla="*/ 570713 w 1344303"/>
                <a:gd name="connsiteY37" fmla="*/ 1661113 h 1763803"/>
                <a:gd name="connsiteX38" fmla="*/ 786863 w 1344303"/>
                <a:gd name="connsiteY38" fmla="*/ 1661113 h 1763803"/>
                <a:gd name="connsiteX39" fmla="*/ 792552 w 1344303"/>
                <a:gd name="connsiteY39" fmla="*/ 1715311 h 1763803"/>
                <a:gd name="connsiteX40" fmla="*/ 576401 w 1344303"/>
                <a:gd name="connsiteY40" fmla="*/ 1613572 h 1763803"/>
                <a:gd name="connsiteX41" fmla="*/ 667412 w 1344303"/>
                <a:gd name="connsiteY41" fmla="*/ 812966 h 1763803"/>
                <a:gd name="connsiteX42" fmla="*/ 678788 w 1344303"/>
                <a:gd name="connsiteY42" fmla="*/ 813917 h 1763803"/>
                <a:gd name="connsiteX43" fmla="*/ 690165 w 1344303"/>
                <a:gd name="connsiteY43" fmla="*/ 812966 h 1763803"/>
                <a:gd name="connsiteX44" fmla="*/ 781175 w 1344303"/>
                <a:gd name="connsiteY44" fmla="*/ 1613572 h 1763803"/>
                <a:gd name="connsiteX45" fmla="*/ 576401 w 1344303"/>
                <a:gd name="connsiteY45" fmla="*/ 1613572 h 1763803"/>
                <a:gd name="connsiteX46" fmla="*/ 678788 w 1344303"/>
                <a:gd name="connsiteY46" fmla="*/ 76067 h 1763803"/>
                <a:gd name="connsiteX47" fmla="*/ 705333 w 1344303"/>
                <a:gd name="connsiteY47" fmla="*/ 629455 h 1763803"/>
                <a:gd name="connsiteX48" fmla="*/ 652243 w 1344303"/>
                <a:gd name="connsiteY48" fmla="*/ 629455 h 1763803"/>
                <a:gd name="connsiteX49" fmla="*/ 678788 w 1344303"/>
                <a:gd name="connsiteY49" fmla="*/ 76067 h 1763803"/>
                <a:gd name="connsiteX50" fmla="*/ 678788 w 1344303"/>
                <a:gd name="connsiteY50" fmla="*/ 76067 h 1763803"/>
                <a:gd name="connsiteX51" fmla="*/ 584933 w 1344303"/>
                <a:gd name="connsiteY51" fmla="*/ 727391 h 1763803"/>
                <a:gd name="connsiteX52" fmla="*/ 604842 w 1344303"/>
                <a:gd name="connsiteY52" fmla="*/ 776834 h 1763803"/>
                <a:gd name="connsiteX53" fmla="*/ 93855 w 1344303"/>
                <a:gd name="connsiteY53" fmla="*/ 952739 h 1763803"/>
                <a:gd name="connsiteX54" fmla="*/ 78686 w 1344303"/>
                <a:gd name="connsiteY54" fmla="*/ 952739 h 1763803"/>
                <a:gd name="connsiteX55" fmla="*/ 584933 w 1344303"/>
                <a:gd name="connsiteY55" fmla="*/ 727391 h 1763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344303" h="1763803">
                  <a:moveTo>
                    <a:pt x="27493" y="997429"/>
                  </a:moveTo>
                  <a:cubicBezTo>
                    <a:pt x="49297" y="1000281"/>
                    <a:pt x="72050" y="1001232"/>
                    <a:pt x="93855" y="1001232"/>
                  </a:cubicBezTo>
                  <a:cubicBezTo>
                    <a:pt x="311901" y="1001232"/>
                    <a:pt x="531844" y="878574"/>
                    <a:pt x="617166" y="826278"/>
                  </a:cubicBezTo>
                  <a:lnTo>
                    <a:pt x="510987" y="1763804"/>
                  </a:lnTo>
                  <a:lnTo>
                    <a:pt x="845641" y="1763804"/>
                  </a:lnTo>
                  <a:lnTo>
                    <a:pt x="740410" y="831983"/>
                  </a:lnTo>
                  <a:cubicBezTo>
                    <a:pt x="830473" y="892837"/>
                    <a:pt x="1053259" y="1026905"/>
                    <a:pt x="1275098" y="1026905"/>
                  </a:cubicBezTo>
                  <a:cubicBezTo>
                    <a:pt x="1289318" y="1026905"/>
                    <a:pt x="1303539" y="1026905"/>
                    <a:pt x="1317759" y="1025003"/>
                  </a:cubicBezTo>
                  <a:lnTo>
                    <a:pt x="1331980" y="1024052"/>
                  </a:lnTo>
                  <a:lnTo>
                    <a:pt x="1344304" y="995527"/>
                  </a:lnTo>
                  <a:lnTo>
                    <a:pt x="1335772" y="984117"/>
                  </a:lnTo>
                  <a:cubicBezTo>
                    <a:pt x="1169867" y="769228"/>
                    <a:pt x="830473" y="694112"/>
                    <a:pt x="765059" y="680800"/>
                  </a:cubicBezTo>
                  <a:cubicBezTo>
                    <a:pt x="761267" y="672242"/>
                    <a:pt x="755578" y="663685"/>
                    <a:pt x="748942" y="657029"/>
                  </a:cubicBezTo>
                  <a:cubicBezTo>
                    <a:pt x="763163" y="591421"/>
                    <a:pt x="830473" y="251021"/>
                    <a:pt x="701541" y="12361"/>
                  </a:cubicBezTo>
                  <a:lnTo>
                    <a:pt x="694905" y="0"/>
                  </a:lnTo>
                  <a:lnTo>
                    <a:pt x="662672" y="0"/>
                  </a:lnTo>
                  <a:lnTo>
                    <a:pt x="655087" y="11410"/>
                  </a:lnTo>
                  <a:cubicBezTo>
                    <a:pt x="526156" y="251021"/>
                    <a:pt x="593466" y="590470"/>
                    <a:pt x="607686" y="656078"/>
                  </a:cubicBezTo>
                  <a:cubicBezTo>
                    <a:pt x="601998" y="662734"/>
                    <a:pt x="597258" y="669390"/>
                    <a:pt x="593466" y="676996"/>
                  </a:cubicBezTo>
                  <a:cubicBezTo>
                    <a:pt x="527104" y="687456"/>
                    <a:pt x="184865" y="748309"/>
                    <a:pt x="9480" y="955592"/>
                  </a:cubicBezTo>
                  <a:lnTo>
                    <a:pt x="0" y="966051"/>
                  </a:lnTo>
                  <a:lnTo>
                    <a:pt x="11376" y="995527"/>
                  </a:lnTo>
                  <a:lnTo>
                    <a:pt x="27493" y="997429"/>
                  </a:lnTo>
                  <a:close/>
                  <a:moveTo>
                    <a:pt x="772643" y="731194"/>
                  </a:moveTo>
                  <a:cubicBezTo>
                    <a:pt x="857018" y="750211"/>
                    <a:pt x="1117725" y="818671"/>
                    <a:pt x="1268462" y="978412"/>
                  </a:cubicBezTo>
                  <a:cubicBezTo>
                    <a:pt x="1048519" y="975559"/>
                    <a:pt x="820992" y="829130"/>
                    <a:pt x="750838" y="780638"/>
                  </a:cubicBezTo>
                  <a:cubicBezTo>
                    <a:pt x="762215" y="766375"/>
                    <a:pt x="769799" y="749260"/>
                    <a:pt x="772643" y="731194"/>
                  </a:cubicBezTo>
                  <a:lnTo>
                    <a:pt x="772643" y="731194"/>
                  </a:lnTo>
                  <a:close/>
                  <a:moveTo>
                    <a:pt x="678788" y="766375"/>
                  </a:moveTo>
                  <a:cubicBezTo>
                    <a:pt x="653191" y="766375"/>
                    <a:pt x="632335" y="745457"/>
                    <a:pt x="632335" y="719784"/>
                  </a:cubicBezTo>
                  <a:cubicBezTo>
                    <a:pt x="632335" y="694112"/>
                    <a:pt x="653191" y="673193"/>
                    <a:pt x="678788" y="673193"/>
                  </a:cubicBezTo>
                  <a:cubicBezTo>
                    <a:pt x="704385" y="673193"/>
                    <a:pt x="725242" y="694112"/>
                    <a:pt x="725242" y="719784"/>
                  </a:cubicBezTo>
                  <a:lnTo>
                    <a:pt x="725242" y="719784"/>
                  </a:lnTo>
                  <a:cubicBezTo>
                    <a:pt x="725242" y="745457"/>
                    <a:pt x="704385" y="766375"/>
                    <a:pt x="678788" y="766375"/>
                  </a:cubicBezTo>
                  <a:lnTo>
                    <a:pt x="678788" y="766375"/>
                  </a:lnTo>
                  <a:close/>
                  <a:moveTo>
                    <a:pt x="792552" y="1715311"/>
                  </a:moveTo>
                  <a:lnTo>
                    <a:pt x="565025" y="1715311"/>
                  </a:lnTo>
                  <a:lnTo>
                    <a:pt x="570713" y="1661113"/>
                  </a:lnTo>
                  <a:lnTo>
                    <a:pt x="786863" y="1661113"/>
                  </a:lnTo>
                  <a:lnTo>
                    <a:pt x="792552" y="1715311"/>
                  </a:lnTo>
                  <a:close/>
                  <a:moveTo>
                    <a:pt x="576401" y="1613572"/>
                  </a:moveTo>
                  <a:lnTo>
                    <a:pt x="667412" y="812966"/>
                  </a:lnTo>
                  <a:cubicBezTo>
                    <a:pt x="671204" y="813917"/>
                    <a:pt x="674996" y="813917"/>
                    <a:pt x="678788" y="813917"/>
                  </a:cubicBezTo>
                  <a:cubicBezTo>
                    <a:pt x="682580" y="813917"/>
                    <a:pt x="686372" y="813917"/>
                    <a:pt x="690165" y="812966"/>
                  </a:cubicBezTo>
                  <a:lnTo>
                    <a:pt x="781175" y="1613572"/>
                  </a:lnTo>
                  <a:lnTo>
                    <a:pt x="576401" y="1613572"/>
                  </a:lnTo>
                  <a:close/>
                  <a:moveTo>
                    <a:pt x="678788" y="76067"/>
                  </a:moveTo>
                  <a:cubicBezTo>
                    <a:pt x="764111" y="277645"/>
                    <a:pt x="722397" y="544830"/>
                    <a:pt x="705333" y="629455"/>
                  </a:cubicBezTo>
                  <a:cubicBezTo>
                    <a:pt x="688268" y="623750"/>
                    <a:pt x="669308" y="623750"/>
                    <a:pt x="652243" y="629455"/>
                  </a:cubicBezTo>
                  <a:cubicBezTo>
                    <a:pt x="635179" y="544830"/>
                    <a:pt x="593466" y="277645"/>
                    <a:pt x="678788" y="76067"/>
                  </a:cubicBezTo>
                  <a:lnTo>
                    <a:pt x="678788" y="76067"/>
                  </a:lnTo>
                  <a:close/>
                  <a:moveTo>
                    <a:pt x="584933" y="727391"/>
                  </a:moveTo>
                  <a:cubicBezTo>
                    <a:pt x="586829" y="745457"/>
                    <a:pt x="593466" y="762572"/>
                    <a:pt x="604842" y="776834"/>
                  </a:cubicBezTo>
                  <a:cubicBezTo>
                    <a:pt x="533740" y="821524"/>
                    <a:pt x="309057" y="952739"/>
                    <a:pt x="93855" y="952739"/>
                  </a:cubicBezTo>
                  <a:lnTo>
                    <a:pt x="78686" y="952739"/>
                  </a:lnTo>
                  <a:cubicBezTo>
                    <a:pt x="236059" y="800605"/>
                    <a:pt x="500559" y="742604"/>
                    <a:pt x="584933" y="727391"/>
                  </a:cubicBezTo>
                </a:path>
              </a:pathLst>
            </a:custGeom>
            <a:solidFill>
              <a:schemeClr val="tx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30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9B9FC573-EB04-FC89-1CC2-83E1F38E8F46}"/>
              </a:ext>
            </a:extLst>
          </p:cNvPr>
          <p:cNvGrpSpPr/>
          <p:nvPr/>
        </p:nvGrpSpPr>
        <p:grpSpPr>
          <a:xfrm>
            <a:off x="773872" y="1801743"/>
            <a:ext cx="1955876" cy="657851"/>
            <a:chOff x="554124" y="2115942"/>
            <a:chExt cx="1955876" cy="657851"/>
          </a:xfrm>
        </p:grpSpPr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6AC79585-3BEB-E16F-230C-10099DDC016A}"/>
                </a:ext>
              </a:extLst>
            </p:cNvPr>
            <p:cNvSpPr txBox="1"/>
            <p:nvPr/>
          </p:nvSpPr>
          <p:spPr>
            <a:xfrm>
              <a:off x="1104136" y="2115942"/>
              <a:ext cx="108172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400" b="1">
                  <a:solidFill>
                    <a:srgbClr val="003056"/>
                  </a:solidFill>
                  <a:latin typeface="Calibri" panose="020F0502020204030204"/>
                </a:rPr>
                <a:t>400</a:t>
              </a:r>
              <a:r>
                <a:rPr kumimoji="0" lang="de-DE" sz="2400" b="1" i="0" u="none" strike="noStrike" kern="120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MW</a:t>
              </a: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B37B0FD8-248E-36C8-4D6D-EDBDD787D629}"/>
                </a:ext>
              </a:extLst>
            </p:cNvPr>
            <p:cNvSpPr txBox="1"/>
            <p:nvPr/>
          </p:nvSpPr>
          <p:spPr>
            <a:xfrm>
              <a:off x="1104136" y="2466016"/>
              <a:ext cx="1405864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defRPr/>
              </a:pPr>
              <a:r>
                <a:rPr lang="en-AU" sz="1000" err="1">
                  <a:solidFill>
                    <a:srgbClr val="003056"/>
                  </a:solidFill>
                  <a:latin typeface="Calibri" panose="020F0502020204030204"/>
                </a:rPr>
                <a:t>Installierte</a:t>
              </a:r>
              <a:r>
                <a:rPr kumimoji="0" lang="en-AU" sz="1000" b="0" i="0" u="none" strike="noStrike" kern="120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lang="en-AU" sz="1000" err="1">
                  <a:solidFill>
                    <a:srgbClr val="003056"/>
                  </a:solidFill>
                  <a:latin typeface="Calibri" panose="020F0502020204030204"/>
                </a:rPr>
                <a:t>Kapazität</a:t>
              </a:r>
              <a:r>
                <a:rPr lang="en-AU" sz="1000">
                  <a:solidFill>
                    <a:srgbClr val="003056"/>
                  </a:solidFill>
                  <a:latin typeface="Calibri" panose="020F0502020204030204"/>
                </a:rPr>
                <a:t> </a:t>
              </a:r>
              <a:r>
                <a:rPr lang="en-AU" sz="1000" err="1">
                  <a:solidFill>
                    <a:srgbClr val="003056"/>
                  </a:solidFill>
                  <a:latin typeface="Calibri" panose="020F0502020204030204"/>
                </a:rPr>
                <a:t>Photvoltaik</a:t>
              </a:r>
              <a:endParaRPr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3056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endParaRP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640A2BC6-DF4F-028F-62D4-4E18CF1EEB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4124" y="2147757"/>
              <a:ext cx="468000" cy="46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7E9EA177-BD4C-7BDD-8D0C-E83955977D5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8514" y="2172147"/>
              <a:ext cx="419220" cy="419220"/>
            </a:xfrm>
            <a:prstGeom prst="ellipse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5" name="CustomIcon">
              <a:extLst>
                <a:ext uri="{FF2B5EF4-FFF2-40B4-BE49-F238E27FC236}">
                  <a16:creationId xmlns:a16="http://schemas.microsoft.com/office/drawing/2014/main" id="{AB6627BA-3570-2269-8B59-6AE91B76FF62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64844" y="2268217"/>
              <a:ext cx="237321" cy="246331"/>
            </a:xfrm>
            <a:prstGeom prst="rect">
              <a:avLst/>
            </a:prstGeom>
          </p:spPr>
        </p:pic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593D9A9-9D6E-A04B-BBB1-C9156BA9D83B}"/>
              </a:ext>
            </a:extLst>
          </p:cNvPr>
          <p:cNvGrpSpPr/>
          <p:nvPr/>
        </p:nvGrpSpPr>
        <p:grpSpPr>
          <a:xfrm>
            <a:off x="773872" y="3333008"/>
            <a:ext cx="1955876" cy="525623"/>
            <a:chOff x="554124" y="4145583"/>
            <a:chExt cx="1955876" cy="525623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E18D87B1-36C9-C653-2415-C50896A1C140}"/>
                </a:ext>
              </a:extLst>
            </p:cNvPr>
            <p:cNvSpPr txBox="1"/>
            <p:nvPr/>
          </p:nvSpPr>
          <p:spPr>
            <a:xfrm>
              <a:off x="1104136" y="4516480"/>
              <a:ext cx="1405864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defRPr/>
              </a:pPr>
              <a:r>
                <a:rPr lang="en-AU" sz="1000" dirty="0" err="1">
                  <a:solidFill>
                    <a:srgbClr val="003056"/>
                  </a:solidFill>
                  <a:latin typeface="Calibri" panose="020F0502020204030204"/>
                </a:rPr>
                <a:t>Genutztes</a:t>
              </a:r>
              <a:r>
                <a:rPr lang="en-AU" sz="1000" dirty="0">
                  <a:solidFill>
                    <a:srgbClr val="003056"/>
                  </a:solidFill>
                  <a:latin typeface="Calibri" panose="020F0502020204030204"/>
                </a:rPr>
                <a:t> </a:t>
              </a:r>
              <a:r>
                <a:rPr lang="en-AU" sz="1000" dirty="0" err="1">
                  <a:solidFill>
                    <a:srgbClr val="003056"/>
                  </a:solidFill>
                  <a:latin typeface="Calibri" panose="020F0502020204030204"/>
                </a:rPr>
                <a:t>Biogenes</a:t>
              </a: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O</a:t>
              </a:r>
              <a:r>
                <a:rPr kumimoji="0" lang="en-AU" sz="10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</a:t>
              </a: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1047571-E5AF-2D05-4FD4-F6637FB3D26A}"/>
                </a:ext>
              </a:extLst>
            </p:cNvPr>
            <p:cNvGrpSpPr/>
            <p:nvPr/>
          </p:nvGrpSpPr>
          <p:grpSpPr>
            <a:xfrm>
              <a:off x="554124" y="4145583"/>
              <a:ext cx="1631734" cy="525623"/>
              <a:chOff x="554124" y="4145583"/>
              <a:chExt cx="1631734" cy="525623"/>
            </a:xfrm>
          </p:grpSpPr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993AFE73-7F95-8109-A366-24A6EFA43F8D}"/>
                  </a:ext>
                </a:extLst>
              </p:cNvPr>
              <p:cNvSpPr txBox="1"/>
              <p:nvPr/>
            </p:nvSpPr>
            <p:spPr>
              <a:xfrm>
                <a:off x="1104136" y="4145583"/>
                <a:ext cx="1081722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400" b="1" dirty="0">
                    <a:solidFill>
                      <a:srgbClr val="003056"/>
                    </a:solidFill>
                    <a:latin typeface="Calibri" panose="020F0502020204030204"/>
                  </a:rPr>
                  <a:t>320</a:t>
                </a:r>
                <a:r>
                  <a:rPr kumimoji="0" lang="de-DE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05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kt/a</a:t>
                </a:r>
              </a:p>
            </p:txBody>
          </p:sp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02521594-6EAF-E8B9-BAE5-DB101BA65AA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4124" y="4203206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57247049-5E96-4A45-2D52-F75EA921247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8514" y="4227596"/>
                <a:ext cx="419220" cy="419220"/>
              </a:xfrm>
              <a:prstGeom prst="ellipse">
                <a:avLst/>
              </a:prstGeom>
              <a:noFill/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1A7968FD-845A-220E-649A-EDB115C8894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5100" y="4393470"/>
                <a:ext cx="88121" cy="177282"/>
              </a:xfrm>
              <a:custGeom>
                <a:avLst/>
                <a:gdLst>
                  <a:gd name="connsiteX0" fmla="*/ 44450 w 403225"/>
                  <a:gd name="connsiteY0" fmla="*/ 174625 h 811213"/>
                  <a:gd name="connsiteX1" fmla="*/ 60325 w 403225"/>
                  <a:gd name="connsiteY1" fmla="*/ 174625 h 811213"/>
                  <a:gd name="connsiteX2" fmla="*/ 76200 w 403225"/>
                  <a:gd name="connsiteY2" fmla="*/ 174625 h 811213"/>
                  <a:gd name="connsiteX3" fmla="*/ 327025 w 403225"/>
                  <a:gd name="connsiteY3" fmla="*/ 174625 h 811213"/>
                  <a:gd name="connsiteX4" fmla="*/ 342900 w 403225"/>
                  <a:gd name="connsiteY4" fmla="*/ 174625 h 811213"/>
                  <a:gd name="connsiteX5" fmla="*/ 358775 w 403225"/>
                  <a:gd name="connsiteY5" fmla="*/ 174625 h 811213"/>
                  <a:gd name="connsiteX6" fmla="*/ 403225 w 403225"/>
                  <a:gd name="connsiteY6" fmla="*/ 811213 h 811213"/>
                  <a:gd name="connsiteX7" fmla="*/ 387350 w 403225"/>
                  <a:gd name="connsiteY7" fmla="*/ 811213 h 811213"/>
                  <a:gd name="connsiteX8" fmla="*/ 371475 w 403225"/>
                  <a:gd name="connsiteY8" fmla="*/ 811213 h 811213"/>
                  <a:gd name="connsiteX9" fmla="*/ 31750 w 403225"/>
                  <a:gd name="connsiteY9" fmla="*/ 811213 h 811213"/>
                  <a:gd name="connsiteX10" fmla="*/ 15875 w 403225"/>
                  <a:gd name="connsiteY10" fmla="*/ 811213 h 811213"/>
                  <a:gd name="connsiteX11" fmla="*/ 0 w 403225"/>
                  <a:gd name="connsiteY11" fmla="*/ 811213 h 811213"/>
                  <a:gd name="connsiteX12" fmla="*/ 70997 w 403225"/>
                  <a:gd name="connsiteY12" fmla="*/ 0 h 811213"/>
                  <a:gd name="connsiteX13" fmla="*/ 331514 w 403225"/>
                  <a:gd name="connsiteY13" fmla="*/ 0 h 811213"/>
                  <a:gd name="connsiteX14" fmla="*/ 347260 w 403225"/>
                  <a:gd name="connsiteY14" fmla="*/ 14154 h 811213"/>
                  <a:gd name="connsiteX15" fmla="*/ 350838 w 403225"/>
                  <a:gd name="connsiteY15" fmla="*/ 58738 h 811213"/>
                  <a:gd name="connsiteX16" fmla="*/ 335093 w 403225"/>
                  <a:gd name="connsiteY16" fmla="*/ 58738 h 811213"/>
                  <a:gd name="connsiteX17" fmla="*/ 319347 w 403225"/>
                  <a:gd name="connsiteY17" fmla="*/ 58738 h 811213"/>
                  <a:gd name="connsiteX18" fmla="*/ 83879 w 403225"/>
                  <a:gd name="connsiteY18" fmla="*/ 58738 h 811213"/>
                  <a:gd name="connsiteX19" fmla="*/ 68134 w 403225"/>
                  <a:gd name="connsiteY19" fmla="*/ 58738 h 811213"/>
                  <a:gd name="connsiteX20" fmla="*/ 52388 w 403225"/>
                  <a:gd name="connsiteY20" fmla="*/ 58738 h 811213"/>
                  <a:gd name="connsiteX21" fmla="*/ 55251 w 403225"/>
                  <a:gd name="connsiteY21" fmla="*/ 14154 h 811213"/>
                  <a:gd name="connsiteX22" fmla="*/ 70997 w 403225"/>
                  <a:gd name="connsiteY22" fmla="*/ 0 h 811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03225" h="811213">
                    <a:moveTo>
                      <a:pt x="44450" y="174625"/>
                    </a:moveTo>
                    <a:lnTo>
                      <a:pt x="60325" y="174625"/>
                    </a:lnTo>
                    <a:lnTo>
                      <a:pt x="76200" y="174625"/>
                    </a:lnTo>
                    <a:lnTo>
                      <a:pt x="327025" y="174625"/>
                    </a:lnTo>
                    <a:lnTo>
                      <a:pt x="342900" y="174625"/>
                    </a:lnTo>
                    <a:lnTo>
                      <a:pt x="358775" y="174625"/>
                    </a:lnTo>
                    <a:lnTo>
                      <a:pt x="403225" y="811213"/>
                    </a:lnTo>
                    <a:lnTo>
                      <a:pt x="387350" y="811213"/>
                    </a:lnTo>
                    <a:lnTo>
                      <a:pt x="371475" y="811213"/>
                    </a:lnTo>
                    <a:lnTo>
                      <a:pt x="31750" y="811213"/>
                    </a:lnTo>
                    <a:lnTo>
                      <a:pt x="15875" y="811213"/>
                    </a:lnTo>
                    <a:lnTo>
                      <a:pt x="0" y="811213"/>
                    </a:lnTo>
                    <a:close/>
                    <a:moveTo>
                      <a:pt x="70997" y="0"/>
                    </a:moveTo>
                    <a:cubicBezTo>
                      <a:pt x="70997" y="0"/>
                      <a:pt x="70997" y="0"/>
                      <a:pt x="331514" y="0"/>
                    </a:cubicBezTo>
                    <a:cubicBezTo>
                      <a:pt x="340103" y="0"/>
                      <a:pt x="347260" y="6369"/>
                      <a:pt x="347260" y="14154"/>
                    </a:cubicBezTo>
                    <a:cubicBezTo>
                      <a:pt x="347260" y="14154"/>
                      <a:pt x="347260" y="14154"/>
                      <a:pt x="350838" y="58738"/>
                    </a:cubicBezTo>
                    <a:cubicBezTo>
                      <a:pt x="350838" y="58738"/>
                      <a:pt x="350838" y="58738"/>
                      <a:pt x="335093" y="58738"/>
                    </a:cubicBezTo>
                    <a:cubicBezTo>
                      <a:pt x="335093" y="58738"/>
                      <a:pt x="335093" y="58738"/>
                      <a:pt x="319347" y="58738"/>
                    </a:cubicBezTo>
                    <a:cubicBezTo>
                      <a:pt x="319347" y="58738"/>
                      <a:pt x="319347" y="58738"/>
                      <a:pt x="83879" y="58738"/>
                    </a:cubicBezTo>
                    <a:lnTo>
                      <a:pt x="68134" y="58738"/>
                    </a:lnTo>
                    <a:cubicBezTo>
                      <a:pt x="68134" y="58738"/>
                      <a:pt x="68134" y="58738"/>
                      <a:pt x="52388" y="58738"/>
                    </a:cubicBezTo>
                    <a:cubicBezTo>
                      <a:pt x="52388" y="58738"/>
                      <a:pt x="52388" y="58738"/>
                      <a:pt x="55251" y="14154"/>
                    </a:cubicBezTo>
                    <a:cubicBezTo>
                      <a:pt x="55967" y="6369"/>
                      <a:pt x="62408" y="0"/>
                      <a:pt x="7099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C0967A8B-9460-9D47-80DA-266084034AA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1345" y="4285000"/>
                <a:ext cx="147697" cy="139694"/>
              </a:xfrm>
              <a:custGeom>
                <a:avLst/>
                <a:gdLst>
                  <a:gd name="connsiteX0" fmla="*/ 15698 w 675834"/>
                  <a:gd name="connsiteY0" fmla="*/ 586828 h 639216"/>
                  <a:gd name="connsiteX1" fmla="*/ 22121 w 675834"/>
                  <a:gd name="connsiteY1" fmla="*/ 586828 h 639216"/>
                  <a:gd name="connsiteX2" fmla="*/ 37819 w 675834"/>
                  <a:gd name="connsiteY2" fmla="*/ 586828 h 639216"/>
                  <a:gd name="connsiteX3" fmla="*/ 53517 w 675834"/>
                  <a:gd name="connsiteY3" fmla="*/ 586828 h 639216"/>
                  <a:gd name="connsiteX4" fmla="*/ 292558 w 675834"/>
                  <a:gd name="connsiteY4" fmla="*/ 586828 h 639216"/>
                  <a:gd name="connsiteX5" fmla="*/ 308257 w 675834"/>
                  <a:gd name="connsiteY5" fmla="*/ 586828 h 639216"/>
                  <a:gd name="connsiteX6" fmla="*/ 323955 w 675834"/>
                  <a:gd name="connsiteY6" fmla="*/ 586828 h 639216"/>
                  <a:gd name="connsiteX7" fmla="*/ 330377 w 675834"/>
                  <a:gd name="connsiteY7" fmla="*/ 586828 h 639216"/>
                  <a:gd name="connsiteX8" fmla="*/ 346075 w 675834"/>
                  <a:gd name="connsiteY8" fmla="*/ 602403 h 639216"/>
                  <a:gd name="connsiteX9" fmla="*/ 346075 w 675834"/>
                  <a:gd name="connsiteY9" fmla="*/ 623641 h 639216"/>
                  <a:gd name="connsiteX10" fmla="*/ 330377 w 675834"/>
                  <a:gd name="connsiteY10" fmla="*/ 639216 h 639216"/>
                  <a:gd name="connsiteX11" fmla="*/ 327523 w 675834"/>
                  <a:gd name="connsiteY11" fmla="*/ 639216 h 639216"/>
                  <a:gd name="connsiteX12" fmla="*/ 311825 w 675834"/>
                  <a:gd name="connsiteY12" fmla="*/ 639216 h 639216"/>
                  <a:gd name="connsiteX13" fmla="*/ 296126 w 675834"/>
                  <a:gd name="connsiteY13" fmla="*/ 639216 h 639216"/>
                  <a:gd name="connsiteX14" fmla="*/ 49236 w 675834"/>
                  <a:gd name="connsiteY14" fmla="*/ 639216 h 639216"/>
                  <a:gd name="connsiteX15" fmla="*/ 33537 w 675834"/>
                  <a:gd name="connsiteY15" fmla="*/ 639216 h 639216"/>
                  <a:gd name="connsiteX16" fmla="*/ 17839 w 675834"/>
                  <a:gd name="connsiteY16" fmla="*/ 639216 h 639216"/>
                  <a:gd name="connsiteX17" fmla="*/ 15698 w 675834"/>
                  <a:gd name="connsiteY17" fmla="*/ 639216 h 639216"/>
                  <a:gd name="connsiteX18" fmla="*/ 0 w 675834"/>
                  <a:gd name="connsiteY18" fmla="*/ 623641 h 639216"/>
                  <a:gd name="connsiteX19" fmla="*/ 0 w 675834"/>
                  <a:gd name="connsiteY19" fmla="*/ 602403 h 639216"/>
                  <a:gd name="connsiteX20" fmla="*/ 15698 w 675834"/>
                  <a:gd name="connsiteY20" fmla="*/ 586828 h 639216"/>
                  <a:gd name="connsiteX21" fmla="*/ 412768 w 675834"/>
                  <a:gd name="connsiteY21" fmla="*/ 34 h 639216"/>
                  <a:gd name="connsiteX22" fmla="*/ 491729 w 675834"/>
                  <a:gd name="connsiteY22" fmla="*/ 49042 h 639216"/>
                  <a:gd name="connsiteX23" fmla="*/ 492443 w 675834"/>
                  <a:gd name="connsiteY23" fmla="*/ 48328 h 639216"/>
                  <a:gd name="connsiteX24" fmla="*/ 495301 w 675834"/>
                  <a:gd name="connsiteY24" fmla="*/ 47614 h 639216"/>
                  <a:gd name="connsiteX25" fmla="*/ 573168 w 675834"/>
                  <a:gd name="connsiteY25" fmla="*/ 59040 h 639216"/>
                  <a:gd name="connsiteX26" fmla="*/ 593884 w 675834"/>
                  <a:gd name="connsiteY26" fmla="*/ 56183 h 639216"/>
                  <a:gd name="connsiteX27" fmla="*/ 594599 w 675834"/>
                  <a:gd name="connsiteY27" fmla="*/ 56183 h 639216"/>
                  <a:gd name="connsiteX28" fmla="*/ 601028 w 675834"/>
                  <a:gd name="connsiteY28" fmla="*/ 56897 h 639216"/>
                  <a:gd name="connsiteX29" fmla="*/ 602457 w 675834"/>
                  <a:gd name="connsiteY29" fmla="*/ 56897 h 639216"/>
                  <a:gd name="connsiteX30" fmla="*/ 609601 w 675834"/>
                  <a:gd name="connsiteY30" fmla="*/ 58326 h 639216"/>
                  <a:gd name="connsiteX31" fmla="*/ 616744 w 675834"/>
                  <a:gd name="connsiteY31" fmla="*/ 59754 h 639216"/>
                  <a:gd name="connsiteX32" fmla="*/ 620316 w 675834"/>
                  <a:gd name="connsiteY32" fmla="*/ 61182 h 639216"/>
                  <a:gd name="connsiteX33" fmla="*/ 631032 w 675834"/>
                  <a:gd name="connsiteY33" fmla="*/ 65467 h 639216"/>
                  <a:gd name="connsiteX34" fmla="*/ 642462 w 675834"/>
                  <a:gd name="connsiteY34" fmla="*/ 72609 h 639216"/>
                  <a:gd name="connsiteX35" fmla="*/ 658893 w 675834"/>
                  <a:gd name="connsiteY35" fmla="*/ 89034 h 639216"/>
                  <a:gd name="connsiteX36" fmla="*/ 668894 w 675834"/>
                  <a:gd name="connsiteY36" fmla="*/ 104745 h 639216"/>
                  <a:gd name="connsiteX37" fmla="*/ 670323 w 675834"/>
                  <a:gd name="connsiteY37" fmla="*/ 109030 h 639216"/>
                  <a:gd name="connsiteX38" fmla="*/ 673894 w 675834"/>
                  <a:gd name="connsiteY38" fmla="*/ 121170 h 639216"/>
                  <a:gd name="connsiteX39" fmla="*/ 674609 w 675834"/>
                  <a:gd name="connsiteY39" fmla="*/ 124741 h 639216"/>
                  <a:gd name="connsiteX40" fmla="*/ 626746 w 675834"/>
                  <a:gd name="connsiteY40" fmla="*/ 215437 h 639216"/>
                  <a:gd name="connsiteX41" fmla="*/ 612458 w 675834"/>
                  <a:gd name="connsiteY41" fmla="*/ 221864 h 639216"/>
                  <a:gd name="connsiteX42" fmla="*/ 611744 w 675834"/>
                  <a:gd name="connsiteY42" fmla="*/ 222578 h 639216"/>
                  <a:gd name="connsiteX43" fmla="*/ 611029 w 675834"/>
                  <a:gd name="connsiteY43" fmla="*/ 225435 h 639216"/>
                  <a:gd name="connsiteX44" fmla="*/ 610315 w 675834"/>
                  <a:gd name="connsiteY44" fmla="*/ 226149 h 639216"/>
                  <a:gd name="connsiteX45" fmla="*/ 608886 w 675834"/>
                  <a:gd name="connsiteY45" fmla="*/ 228291 h 639216"/>
                  <a:gd name="connsiteX46" fmla="*/ 608172 w 675834"/>
                  <a:gd name="connsiteY46" fmla="*/ 229720 h 639216"/>
                  <a:gd name="connsiteX47" fmla="*/ 607458 w 675834"/>
                  <a:gd name="connsiteY47" fmla="*/ 231862 h 639216"/>
                  <a:gd name="connsiteX48" fmla="*/ 606029 w 675834"/>
                  <a:gd name="connsiteY48" fmla="*/ 232576 h 639216"/>
                  <a:gd name="connsiteX49" fmla="*/ 605314 w 675834"/>
                  <a:gd name="connsiteY49" fmla="*/ 234719 h 639216"/>
                  <a:gd name="connsiteX50" fmla="*/ 603886 w 675834"/>
                  <a:gd name="connsiteY50" fmla="*/ 236147 h 639216"/>
                  <a:gd name="connsiteX51" fmla="*/ 603171 w 675834"/>
                  <a:gd name="connsiteY51" fmla="*/ 237575 h 639216"/>
                  <a:gd name="connsiteX52" fmla="*/ 601743 w 675834"/>
                  <a:gd name="connsiteY52" fmla="*/ 239004 h 639216"/>
                  <a:gd name="connsiteX53" fmla="*/ 601028 w 675834"/>
                  <a:gd name="connsiteY53" fmla="*/ 240432 h 639216"/>
                  <a:gd name="connsiteX54" fmla="*/ 599599 w 675834"/>
                  <a:gd name="connsiteY54" fmla="*/ 241860 h 639216"/>
                  <a:gd name="connsiteX55" fmla="*/ 598171 w 675834"/>
                  <a:gd name="connsiteY55" fmla="*/ 243288 h 639216"/>
                  <a:gd name="connsiteX56" fmla="*/ 597456 w 675834"/>
                  <a:gd name="connsiteY56" fmla="*/ 244717 h 639216"/>
                  <a:gd name="connsiteX57" fmla="*/ 596028 w 675834"/>
                  <a:gd name="connsiteY57" fmla="*/ 246145 h 639216"/>
                  <a:gd name="connsiteX58" fmla="*/ 594599 w 675834"/>
                  <a:gd name="connsiteY58" fmla="*/ 247573 h 639216"/>
                  <a:gd name="connsiteX59" fmla="*/ 593170 w 675834"/>
                  <a:gd name="connsiteY59" fmla="*/ 249002 h 639216"/>
                  <a:gd name="connsiteX60" fmla="*/ 591741 w 675834"/>
                  <a:gd name="connsiteY60" fmla="*/ 249716 h 639216"/>
                  <a:gd name="connsiteX61" fmla="*/ 590313 w 675834"/>
                  <a:gd name="connsiteY61" fmla="*/ 251144 h 639216"/>
                  <a:gd name="connsiteX62" fmla="*/ 588884 w 675834"/>
                  <a:gd name="connsiteY62" fmla="*/ 252572 h 639216"/>
                  <a:gd name="connsiteX63" fmla="*/ 587455 w 675834"/>
                  <a:gd name="connsiteY63" fmla="*/ 253286 h 639216"/>
                  <a:gd name="connsiteX64" fmla="*/ 586026 w 675834"/>
                  <a:gd name="connsiteY64" fmla="*/ 254715 h 639216"/>
                  <a:gd name="connsiteX65" fmla="*/ 583883 w 675834"/>
                  <a:gd name="connsiteY65" fmla="*/ 255429 h 639216"/>
                  <a:gd name="connsiteX66" fmla="*/ 582454 w 675834"/>
                  <a:gd name="connsiteY66" fmla="*/ 256857 h 639216"/>
                  <a:gd name="connsiteX67" fmla="*/ 581026 w 675834"/>
                  <a:gd name="connsiteY67" fmla="*/ 257571 h 639216"/>
                  <a:gd name="connsiteX68" fmla="*/ 579597 w 675834"/>
                  <a:gd name="connsiteY68" fmla="*/ 259000 h 639216"/>
                  <a:gd name="connsiteX69" fmla="*/ 577454 w 675834"/>
                  <a:gd name="connsiteY69" fmla="*/ 259714 h 639216"/>
                  <a:gd name="connsiteX70" fmla="*/ 576025 w 675834"/>
                  <a:gd name="connsiteY70" fmla="*/ 260428 h 639216"/>
                  <a:gd name="connsiteX71" fmla="*/ 572453 w 675834"/>
                  <a:gd name="connsiteY71" fmla="*/ 262570 h 639216"/>
                  <a:gd name="connsiteX72" fmla="*/ 568881 w 675834"/>
                  <a:gd name="connsiteY72" fmla="*/ 263999 h 639216"/>
                  <a:gd name="connsiteX73" fmla="*/ 568167 w 675834"/>
                  <a:gd name="connsiteY73" fmla="*/ 263999 h 639216"/>
                  <a:gd name="connsiteX74" fmla="*/ 565309 w 675834"/>
                  <a:gd name="connsiteY74" fmla="*/ 264713 h 639216"/>
                  <a:gd name="connsiteX75" fmla="*/ 564595 w 675834"/>
                  <a:gd name="connsiteY75" fmla="*/ 265427 h 639216"/>
                  <a:gd name="connsiteX76" fmla="*/ 561023 w 675834"/>
                  <a:gd name="connsiteY76" fmla="*/ 266141 h 639216"/>
                  <a:gd name="connsiteX77" fmla="*/ 560309 w 675834"/>
                  <a:gd name="connsiteY77" fmla="*/ 266855 h 639216"/>
                  <a:gd name="connsiteX78" fmla="*/ 558166 w 675834"/>
                  <a:gd name="connsiteY78" fmla="*/ 267569 h 639216"/>
                  <a:gd name="connsiteX79" fmla="*/ 556737 w 675834"/>
                  <a:gd name="connsiteY79" fmla="*/ 267569 h 639216"/>
                  <a:gd name="connsiteX80" fmla="*/ 554594 w 675834"/>
                  <a:gd name="connsiteY80" fmla="*/ 268283 h 639216"/>
                  <a:gd name="connsiteX81" fmla="*/ 553165 w 675834"/>
                  <a:gd name="connsiteY81" fmla="*/ 268283 h 639216"/>
                  <a:gd name="connsiteX82" fmla="*/ 549593 w 675834"/>
                  <a:gd name="connsiteY82" fmla="*/ 268998 h 639216"/>
                  <a:gd name="connsiteX83" fmla="*/ 548164 w 675834"/>
                  <a:gd name="connsiteY83" fmla="*/ 268998 h 639216"/>
                  <a:gd name="connsiteX84" fmla="*/ 546736 w 675834"/>
                  <a:gd name="connsiteY84" fmla="*/ 268998 h 639216"/>
                  <a:gd name="connsiteX85" fmla="*/ 544593 w 675834"/>
                  <a:gd name="connsiteY85" fmla="*/ 268998 h 639216"/>
                  <a:gd name="connsiteX86" fmla="*/ 543164 w 675834"/>
                  <a:gd name="connsiteY86" fmla="*/ 268998 h 639216"/>
                  <a:gd name="connsiteX87" fmla="*/ 541735 w 675834"/>
                  <a:gd name="connsiteY87" fmla="*/ 268998 h 639216"/>
                  <a:gd name="connsiteX88" fmla="*/ 538878 w 675834"/>
                  <a:gd name="connsiteY88" fmla="*/ 269712 h 639216"/>
                  <a:gd name="connsiteX89" fmla="*/ 536734 w 675834"/>
                  <a:gd name="connsiteY89" fmla="*/ 268998 h 639216"/>
                  <a:gd name="connsiteX90" fmla="*/ 535306 w 675834"/>
                  <a:gd name="connsiteY90" fmla="*/ 268998 h 639216"/>
                  <a:gd name="connsiteX91" fmla="*/ 533163 w 675834"/>
                  <a:gd name="connsiteY91" fmla="*/ 268998 h 639216"/>
                  <a:gd name="connsiteX92" fmla="*/ 531734 w 675834"/>
                  <a:gd name="connsiteY92" fmla="*/ 268998 h 639216"/>
                  <a:gd name="connsiteX93" fmla="*/ 527448 w 675834"/>
                  <a:gd name="connsiteY93" fmla="*/ 268283 h 639216"/>
                  <a:gd name="connsiteX94" fmla="*/ 526019 w 675834"/>
                  <a:gd name="connsiteY94" fmla="*/ 271854 h 639216"/>
                  <a:gd name="connsiteX95" fmla="*/ 525304 w 675834"/>
                  <a:gd name="connsiteY95" fmla="*/ 271854 h 639216"/>
                  <a:gd name="connsiteX96" fmla="*/ 523876 w 675834"/>
                  <a:gd name="connsiteY96" fmla="*/ 275425 h 639216"/>
                  <a:gd name="connsiteX97" fmla="*/ 521733 w 675834"/>
                  <a:gd name="connsiteY97" fmla="*/ 278995 h 639216"/>
                  <a:gd name="connsiteX98" fmla="*/ 521733 w 675834"/>
                  <a:gd name="connsiteY98" fmla="*/ 279710 h 639216"/>
                  <a:gd name="connsiteX99" fmla="*/ 520304 w 675834"/>
                  <a:gd name="connsiteY99" fmla="*/ 282566 h 639216"/>
                  <a:gd name="connsiteX100" fmla="*/ 519589 w 675834"/>
                  <a:gd name="connsiteY100" fmla="*/ 282566 h 639216"/>
                  <a:gd name="connsiteX101" fmla="*/ 517446 w 675834"/>
                  <a:gd name="connsiteY101" fmla="*/ 285423 h 639216"/>
                  <a:gd name="connsiteX102" fmla="*/ 517446 w 675834"/>
                  <a:gd name="connsiteY102" fmla="*/ 286137 h 639216"/>
                  <a:gd name="connsiteX103" fmla="*/ 515303 w 675834"/>
                  <a:gd name="connsiteY103" fmla="*/ 288993 h 639216"/>
                  <a:gd name="connsiteX104" fmla="*/ 514589 w 675834"/>
                  <a:gd name="connsiteY104" fmla="*/ 289708 h 639216"/>
                  <a:gd name="connsiteX105" fmla="*/ 512446 w 675834"/>
                  <a:gd name="connsiteY105" fmla="*/ 291850 h 639216"/>
                  <a:gd name="connsiteX106" fmla="*/ 511731 w 675834"/>
                  <a:gd name="connsiteY106" fmla="*/ 292564 h 639216"/>
                  <a:gd name="connsiteX107" fmla="*/ 510303 w 675834"/>
                  <a:gd name="connsiteY107" fmla="*/ 294707 h 639216"/>
                  <a:gd name="connsiteX108" fmla="*/ 508874 w 675834"/>
                  <a:gd name="connsiteY108" fmla="*/ 296135 h 639216"/>
                  <a:gd name="connsiteX109" fmla="*/ 507445 w 675834"/>
                  <a:gd name="connsiteY109" fmla="*/ 297563 h 639216"/>
                  <a:gd name="connsiteX110" fmla="*/ 506016 w 675834"/>
                  <a:gd name="connsiteY110" fmla="*/ 298991 h 639216"/>
                  <a:gd name="connsiteX111" fmla="*/ 503873 w 675834"/>
                  <a:gd name="connsiteY111" fmla="*/ 300420 h 639216"/>
                  <a:gd name="connsiteX112" fmla="*/ 502444 w 675834"/>
                  <a:gd name="connsiteY112" fmla="*/ 301848 h 639216"/>
                  <a:gd name="connsiteX113" fmla="*/ 501016 w 675834"/>
                  <a:gd name="connsiteY113" fmla="*/ 303276 h 639216"/>
                  <a:gd name="connsiteX114" fmla="*/ 499587 w 675834"/>
                  <a:gd name="connsiteY114" fmla="*/ 304705 h 639216"/>
                  <a:gd name="connsiteX115" fmla="*/ 497444 w 675834"/>
                  <a:gd name="connsiteY115" fmla="*/ 306133 h 639216"/>
                  <a:gd name="connsiteX116" fmla="*/ 496015 w 675834"/>
                  <a:gd name="connsiteY116" fmla="*/ 306847 h 639216"/>
                  <a:gd name="connsiteX117" fmla="*/ 493872 w 675834"/>
                  <a:gd name="connsiteY117" fmla="*/ 308275 h 639216"/>
                  <a:gd name="connsiteX118" fmla="*/ 491729 w 675834"/>
                  <a:gd name="connsiteY118" fmla="*/ 309704 h 639216"/>
                  <a:gd name="connsiteX119" fmla="*/ 490300 w 675834"/>
                  <a:gd name="connsiteY119" fmla="*/ 310418 h 639216"/>
                  <a:gd name="connsiteX120" fmla="*/ 488157 w 675834"/>
                  <a:gd name="connsiteY120" fmla="*/ 311846 h 639216"/>
                  <a:gd name="connsiteX121" fmla="*/ 486728 w 675834"/>
                  <a:gd name="connsiteY121" fmla="*/ 312560 h 639216"/>
                  <a:gd name="connsiteX122" fmla="*/ 482442 w 675834"/>
                  <a:gd name="connsiteY122" fmla="*/ 314703 h 639216"/>
                  <a:gd name="connsiteX123" fmla="*/ 478156 w 675834"/>
                  <a:gd name="connsiteY123" fmla="*/ 316131 h 639216"/>
                  <a:gd name="connsiteX124" fmla="*/ 476727 w 675834"/>
                  <a:gd name="connsiteY124" fmla="*/ 316845 h 639216"/>
                  <a:gd name="connsiteX125" fmla="*/ 474584 w 675834"/>
                  <a:gd name="connsiteY125" fmla="*/ 317559 h 639216"/>
                  <a:gd name="connsiteX126" fmla="*/ 471726 w 675834"/>
                  <a:gd name="connsiteY126" fmla="*/ 318273 h 639216"/>
                  <a:gd name="connsiteX127" fmla="*/ 470298 w 675834"/>
                  <a:gd name="connsiteY127" fmla="*/ 318987 h 639216"/>
                  <a:gd name="connsiteX128" fmla="*/ 467440 w 675834"/>
                  <a:gd name="connsiteY128" fmla="*/ 319702 h 639216"/>
                  <a:gd name="connsiteX129" fmla="*/ 466011 w 675834"/>
                  <a:gd name="connsiteY129" fmla="*/ 320416 h 639216"/>
                  <a:gd name="connsiteX130" fmla="*/ 463154 w 675834"/>
                  <a:gd name="connsiteY130" fmla="*/ 321130 h 639216"/>
                  <a:gd name="connsiteX131" fmla="*/ 461725 w 675834"/>
                  <a:gd name="connsiteY131" fmla="*/ 321130 h 639216"/>
                  <a:gd name="connsiteX132" fmla="*/ 458868 w 675834"/>
                  <a:gd name="connsiteY132" fmla="*/ 321844 h 639216"/>
                  <a:gd name="connsiteX133" fmla="*/ 457439 w 675834"/>
                  <a:gd name="connsiteY133" fmla="*/ 321844 h 639216"/>
                  <a:gd name="connsiteX134" fmla="*/ 453867 w 675834"/>
                  <a:gd name="connsiteY134" fmla="*/ 321844 h 639216"/>
                  <a:gd name="connsiteX135" fmla="*/ 453153 w 675834"/>
                  <a:gd name="connsiteY135" fmla="*/ 321844 h 639216"/>
                  <a:gd name="connsiteX136" fmla="*/ 449581 w 675834"/>
                  <a:gd name="connsiteY136" fmla="*/ 322558 h 639216"/>
                  <a:gd name="connsiteX137" fmla="*/ 448866 w 675834"/>
                  <a:gd name="connsiteY137" fmla="*/ 322558 h 639216"/>
                  <a:gd name="connsiteX138" fmla="*/ 445294 w 675834"/>
                  <a:gd name="connsiteY138" fmla="*/ 322558 h 639216"/>
                  <a:gd name="connsiteX139" fmla="*/ 444580 w 675834"/>
                  <a:gd name="connsiteY139" fmla="*/ 322558 h 639216"/>
                  <a:gd name="connsiteX140" fmla="*/ 441008 w 675834"/>
                  <a:gd name="connsiteY140" fmla="*/ 322558 h 639216"/>
                  <a:gd name="connsiteX141" fmla="*/ 436722 w 675834"/>
                  <a:gd name="connsiteY141" fmla="*/ 321844 h 639216"/>
                  <a:gd name="connsiteX142" fmla="*/ 436008 w 675834"/>
                  <a:gd name="connsiteY142" fmla="*/ 321844 h 639216"/>
                  <a:gd name="connsiteX143" fmla="*/ 403146 w 675834"/>
                  <a:gd name="connsiteY143" fmla="*/ 363978 h 639216"/>
                  <a:gd name="connsiteX144" fmla="*/ 383858 w 675834"/>
                  <a:gd name="connsiteY144" fmla="*/ 368977 h 639216"/>
                  <a:gd name="connsiteX145" fmla="*/ 383144 w 675834"/>
                  <a:gd name="connsiteY145" fmla="*/ 370406 h 639216"/>
                  <a:gd name="connsiteX146" fmla="*/ 379572 w 675834"/>
                  <a:gd name="connsiteY146" fmla="*/ 372548 h 639216"/>
                  <a:gd name="connsiteX147" fmla="*/ 378858 w 675834"/>
                  <a:gd name="connsiteY147" fmla="*/ 373262 h 639216"/>
                  <a:gd name="connsiteX148" fmla="*/ 375286 w 675834"/>
                  <a:gd name="connsiteY148" fmla="*/ 376119 h 639216"/>
                  <a:gd name="connsiteX149" fmla="*/ 374571 w 675834"/>
                  <a:gd name="connsiteY149" fmla="*/ 376833 h 639216"/>
                  <a:gd name="connsiteX150" fmla="*/ 373143 w 675834"/>
                  <a:gd name="connsiteY150" fmla="*/ 377547 h 639216"/>
                  <a:gd name="connsiteX151" fmla="*/ 344568 w 675834"/>
                  <a:gd name="connsiteY151" fmla="*/ 405399 h 639216"/>
                  <a:gd name="connsiteX152" fmla="*/ 313849 w 675834"/>
                  <a:gd name="connsiteY152" fmla="*/ 410398 h 639216"/>
                  <a:gd name="connsiteX153" fmla="*/ 283846 w 675834"/>
                  <a:gd name="connsiteY153" fmla="*/ 441820 h 639216"/>
                  <a:gd name="connsiteX154" fmla="*/ 235983 w 675834"/>
                  <a:gd name="connsiteY154" fmla="*/ 441820 h 639216"/>
                  <a:gd name="connsiteX155" fmla="*/ 214551 w 675834"/>
                  <a:gd name="connsiteY155" fmla="*/ 458959 h 639216"/>
                  <a:gd name="connsiteX156" fmla="*/ 157401 w 675834"/>
                  <a:gd name="connsiteY156" fmla="*/ 453960 h 639216"/>
                  <a:gd name="connsiteX157" fmla="*/ 149543 w 675834"/>
                  <a:gd name="connsiteY157" fmla="*/ 458959 h 639216"/>
                  <a:gd name="connsiteX158" fmla="*/ 72391 w 675834"/>
                  <a:gd name="connsiteY158" fmla="*/ 430394 h 639216"/>
                  <a:gd name="connsiteX159" fmla="*/ 76677 w 675834"/>
                  <a:gd name="connsiteY159" fmla="*/ 373976 h 639216"/>
                  <a:gd name="connsiteX160" fmla="*/ 65247 w 675834"/>
                  <a:gd name="connsiteY160" fmla="*/ 357551 h 639216"/>
                  <a:gd name="connsiteX161" fmla="*/ 94536 w 675834"/>
                  <a:gd name="connsiteY161" fmla="*/ 280424 h 639216"/>
                  <a:gd name="connsiteX162" fmla="*/ 100251 w 675834"/>
                  <a:gd name="connsiteY162" fmla="*/ 278281 h 639216"/>
                  <a:gd name="connsiteX163" fmla="*/ 95251 w 675834"/>
                  <a:gd name="connsiteY163" fmla="*/ 270426 h 639216"/>
                  <a:gd name="connsiteX164" fmla="*/ 113110 w 675834"/>
                  <a:gd name="connsiteY164" fmla="*/ 200440 h 639216"/>
                  <a:gd name="connsiteX165" fmla="*/ 143114 w 675834"/>
                  <a:gd name="connsiteY165" fmla="*/ 126169 h 639216"/>
                  <a:gd name="connsiteX166" fmla="*/ 168117 w 675834"/>
                  <a:gd name="connsiteY166" fmla="*/ 121170 h 639216"/>
                  <a:gd name="connsiteX167" fmla="*/ 235268 w 675834"/>
                  <a:gd name="connsiteY167" fmla="*/ 31903 h 639216"/>
                  <a:gd name="connsiteX168" fmla="*/ 344568 w 675834"/>
                  <a:gd name="connsiteY168" fmla="*/ 38330 h 639216"/>
                  <a:gd name="connsiteX169" fmla="*/ 380286 w 675834"/>
                  <a:gd name="connsiteY169" fmla="*/ 7622 h 639216"/>
                  <a:gd name="connsiteX170" fmla="*/ 412768 w 675834"/>
                  <a:gd name="connsiteY170" fmla="*/ 34 h 639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</a:cxnLst>
                <a:rect l="l" t="t" r="r" b="b"/>
                <a:pathLst>
                  <a:path w="675834" h="639216">
                    <a:moveTo>
                      <a:pt x="15698" y="586828"/>
                    </a:moveTo>
                    <a:cubicBezTo>
                      <a:pt x="15698" y="586828"/>
                      <a:pt x="15698" y="586828"/>
                      <a:pt x="22121" y="586828"/>
                    </a:cubicBezTo>
                    <a:cubicBezTo>
                      <a:pt x="22121" y="586828"/>
                      <a:pt x="22121" y="586828"/>
                      <a:pt x="37819" y="586828"/>
                    </a:cubicBezTo>
                    <a:cubicBezTo>
                      <a:pt x="37819" y="586828"/>
                      <a:pt x="37819" y="586828"/>
                      <a:pt x="53517" y="586828"/>
                    </a:cubicBezTo>
                    <a:cubicBezTo>
                      <a:pt x="53517" y="586828"/>
                      <a:pt x="53517" y="586828"/>
                      <a:pt x="292558" y="586828"/>
                    </a:cubicBezTo>
                    <a:cubicBezTo>
                      <a:pt x="292558" y="586828"/>
                      <a:pt x="292558" y="586828"/>
                      <a:pt x="308257" y="586828"/>
                    </a:cubicBezTo>
                    <a:cubicBezTo>
                      <a:pt x="308257" y="586828"/>
                      <a:pt x="308257" y="586828"/>
                      <a:pt x="323955" y="586828"/>
                    </a:cubicBezTo>
                    <a:cubicBezTo>
                      <a:pt x="323955" y="586828"/>
                      <a:pt x="323955" y="586828"/>
                      <a:pt x="330377" y="586828"/>
                    </a:cubicBezTo>
                    <a:cubicBezTo>
                      <a:pt x="338940" y="586828"/>
                      <a:pt x="346075" y="593908"/>
                      <a:pt x="346075" y="602403"/>
                    </a:cubicBezTo>
                    <a:cubicBezTo>
                      <a:pt x="346075" y="602403"/>
                      <a:pt x="346075" y="602403"/>
                      <a:pt x="346075" y="623641"/>
                    </a:cubicBezTo>
                    <a:cubicBezTo>
                      <a:pt x="346075" y="632137"/>
                      <a:pt x="338940" y="639216"/>
                      <a:pt x="330377" y="639216"/>
                    </a:cubicBezTo>
                    <a:cubicBezTo>
                      <a:pt x="330377" y="639216"/>
                      <a:pt x="330377" y="639216"/>
                      <a:pt x="327523" y="639216"/>
                    </a:cubicBezTo>
                    <a:cubicBezTo>
                      <a:pt x="327523" y="639216"/>
                      <a:pt x="327523" y="639216"/>
                      <a:pt x="311825" y="639216"/>
                    </a:cubicBezTo>
                    <a:cubicBezTo>
                      <a:pt x="311825" y="639216"/>
                      <a:pt x="311825" y="639216"/>
                      <a:pt x="296126" y="639216"/>
                    </a:cubicBezTo>
                    <a:cubicBezTo>
                      <a:pt x="296126" y="639216"/>
                      <a:pt x="296126" y="639216"/>
                      <a:pt x="49236" y="639216"/>
                    </a:cubicBezTo>
                    <a:cubicBezTo>
                      <a:pt x="49236" y="639216"/>
                      <a:pt x="49236" y="639216"/>
                      <a:pt x="33537" y="639216"/>
                    </a:cubicBezTo>
                    <a:cubicBezTo>
                      <a:pt x="33537" y="639216"/>
                      <a:pt x="33537" y="639216"/>
                      <a:pt x="17839" y="639216"/>
                    </a:cubicBezTo>
                    <a:cubicBezTo>
                      <a:pt x="17839" y="639216"/>
                      <a:pt x="17839" y="639216"/>
                      <a:pt x="15698" y="639216"/>
                    </a:cubicBezTo>
                    <a:cubicBezTo>
                      <a:pt x="7136" y="639216"/>
                      <a:pt x="0" y="632137"/>
                      <a:pt x="0" y="623641"/>
                    </a:cubicBezTo>
                    <a:cubicBezTo>
                      <a:pt x="0" y="623641"/>
                      <a:pt x="0" y="623641"/>
                      <a:pt x="0" y="602403"/>
                    </a:cubicBezTo>
                    <a:cubicBezTo>
                      <a:pt x="0" y="593908"/>
                      <a:pt x="7136" y="586828"/>
                      <a:pt x="15698" y="586828"/>
                    </a:cubicBezTo>
                    <a:close/>
                    <a:moveTo>
                      <a:pt x="412768" y="34"/>
                    </a:moveTo>
                    <a:cubicBezTo>
                      <a:pt x="445518" y="-903"/>
                      <a:pt x="477263" y="17441"/>
                      <a:pt x="491729" y="49042"/>
                    </a:cubicBezTo>
                    <a:cubicBezTo>
                      <a:pt x="491729" y="49042"/>
                      <a:pt x="492443" y="49042"/>
                      <a:pt x="492443" y="48328"/>
                    </a:cubicBezTo>
                    <a:cubicBezTo>
                      <a:pt x="493158" y="48328"/>
                      <a:pt x="493872" y="47614"/>
                      <a:pt x="495301" y="47614"/>
                    </a:cubicBezTo>
                    <a:cubicBezTo>
                      <a:pt x="522447" y="36187"/>
                      <a:pt x="551736" y="41186"/>
                      <a:pt x="573168" y="59040"/>
                    </a:cubicBezTo>
                    <a:cubicBezTo>
                      <a:pt x="580311" y="56897"/>
                      <a:pt x="587455" y="56183"/>
                      <a:pt x="593884" y="56183"/>
                    </a:cubicBezTo>
                    <a:cubicBezTo>
                      <a:pt x="594599" y="56183"/>
                      <a:pt x="594599" y="56183"/>
                      <a:pt x="594599" y="56183"/>
                    </a:cubicBezTo>
                    <a:cubicBezTo>
                      <a:pt x="596742" y="56183"/>
                      <a:pt x="598885" y="56897"/>
                      <a:pt x="601028" y="56897"/>
                    </a:cubicBezTo>
                    <a:cubicBezTo>
                      <a:pt x="601743" y="56897"/>
                      <a:pt x="601743" y="56897"/>
                      <a:pt x="602457" y="56897"/>
                    </a:cubicBezTo>
                    <a:cubicBezTo>
                      <a:pt x="604600" y="57612"/>
                      <a:pt x="607458" y="57612"/>
                      <a:pt x="609601" y="58326"/>
                    </a:cubicBezTo>
                    <a:cubicBezTo>
                      <a:pt x="611744" y="58326"/>
                      <a:pt x="614601" y="59040"/>
                      <a:pt x="616744" y="59754"/>
                    </a:cubicBezTo>
                    <a:cubicBezTo>
                      <a:pt x="618173" y="60468"/>
                      <a:pt x="618888" y="60468"/>
                      <a:pt x="620316" y="61182"/>
                    </a:cubicBezTo>
                    <a:cubicBezTo>
                      <a:pt x="624603" y="62611"/>
                      <a:pt x="628174" y="64039"/>
                      <a:pt x="631032" y="65467"/>
                    </a:cubicBezTo>
                    <a:cubicBezTo>
                      <a:pt x="635318" y="67610"/>
                      <a:pt x="638890" y="69752"/>
                      <a:pt x="642462" y="72609"/>
                    </a:cubicBezTo>
                    <a:cubicBezTo>
                      <a:pt x="648891" y="76893"/>
                      <a:pt x="653892" y="82607"/>
                      <a:pt x="658893" y="89034"/>
                    </a:cubicBezTo>
                    <a:cubicBezTo>
                      <a:pt x="662464" y="94033"/>
                      <a:pt x="666036" y="99032"/>
                      <a:pt x="668894" y="104745"/>
                    </a:cubicBezTo>
                    <a:cubicBezTo>
                      <a:pt x="668894" y="106173"/>
                      <a:pt x="669608" y="107602"/>
                      <a:pt x="670323" y="109030"/>
                    </a:cubicBezTo>
                    <a:cubicBezTo>
                      <a:pt x="671751" y="112601"/>
                      <a:pt x="673180" y="116885"/>
                      <a:pt x="673894" y="121170"/>
                    </a:cubicBezTo>
                    <a:cubicBezTo>
                      <a:pt x="673894" y="122598"/>
                      <a:pt x="674609" y="123313"/>
                      <a:pt x="674609" y="124741"/>
                    </a:cubicBezTo>
                    <a:cubicBezTo>
                      <a:pt x="681038" y="161162"/>
                      <a:pt x="661750" y="199012"/>
                      <a:pt x="626746" y="215437"/>
                    </a:cubicBezTo>
                    <a:cubicBezTo>
                      <a:pt x="623174" y="216865"/>
                      <a:pt x="618173" y="219008"/>
                      <a:pt x="612458" y="221864"/>
                    </a:cubicBezTo>
                    <a:cubicBezTo>
                      <a:pt x="612458" y="221864"/>
                      <a:pt x="611744" y="221864"/>
                      <a:pt x="611744" y="222578"/>
                    </a:cubicBezTo>
                    <a:cubicBezTo>
                      <a:pt x="611744" y="223292"/>
                      <a:pt x="611029" y="224007"/>
                      <a:pt x="611029" y="225435"/>
                    </a:cubicBezTo>
                    <a:cubicBezTo>
                      <a:pt x="610315" y="225435"/>
                      <a:pt x="610315" y="226149"/>
                      <a:pt x="610315" y="226149"/>
                    </a:cubicBezTo>
                    <a:cubicBezTo>
                      <a:pt x="609601" y="226863"/>
                      <a:pt x="609601" y="227577"/>
                      <a:pt x="608886" y="228291"/>
                    </a:cubicBezTo>
                    <a:cubicBezTo>
                      <a:pt x="608886" y="229006"/>
                      <a:pt x="608172" y="229006"/>
                      <a:pt x="608172" y="229720"/>
                    </a:cubicBezTo>
                    <a:cubicBezTo>
                      <a:pt x="608172" y="230434"/>
                      <a:pt x="607458" y="231148"/>
                      <a:pt x="607458" y="231862"/>
                    </a:cubicBezTo>
                    <a:cubicBezTo>
                      <a:pt x="606743" y="231862"/>
                      <a:pt x="606743" y="232576"/>
                      <a:pt x="606029" y="232576"/>
                    </a:cubicBezTo>
                    <a:cubicBezTo>
                      <a:pt x="606029" y="233290"/>
                      <a:pt x="605314" y="234005"/>
                      <a:pt x="605314" y="234719"/>
                    </a:cubicBezTo>
                    <a:cubicBezTo>
                      <a:pt x="604600" y="235433"/>
                      <a:pt x="604600" y="235433"/>
                      <a:pt x="603886" y="236147"/>
                    </a:cubicBezTo>
                    <a:cubicBezTo>
                      <a:pt x="603886" y="236861"/>
                      <a:pt x="603171" y="236861"/>
                      <a:pt x="603171" y="237575"/>
                    </a:cubicBezTo>
                    <a:cubicBezTo>
                      <a:pt x="602457" y="238289"/>
                      <a:pt x="602457" y="238289"/>
                      <a:pt x="601743" y="239004"/>
                    </a:cubicBezTo>
                    <a:cubicBezTo>
                      <a:pt x="601743" y="239718"/>
                      <a:pt x="601028" y="239718"/>
                      <a:pt x="601028" y="240432"/>
                    </a:cubicBezTo>
                    <a:cubicBezTo>
                      <a:pt x="600314" y="241146"/>
                      <a:pt x="600314" y="241146"/>
                      <a:pt x="599599" y="241860"/>
                    </a:cubicBezTo>
                    <a:cubicBezTo>
                      <a:pt x="598885" y="242574"/>
                      <a:pt x="598885" y="242574"/>
                      <a:pt x="598171" y="243288"/>
                    </a:cubicBezTo>
                    <a:cubicBezTo>
                      <a:pt x="598171" y="244003"/>
                      <a:pt x="597456" y="244003"/>
                      <a:pt x="597456" y="244717"/>
                    </a:cubicBezTo>
                    <a:cubicBezTo>
                      <a:pt x="596742" y="245431"/>
                      <a:pt x="596028" y="245431"/>
                      <a:pt x="596028" y="246145"/>
                    </a:cubicBezTo>
                    <a:cubicBezTo>
                      <a:pt x="595313" y="246145"/>
                      <a:pt x="594599" y="246859"/>
                      <a:pt x="594599" y="247573"/>
                    </a:cubicBezTo>
                    <a:cubicBezTo>
                      <a:pt x="593884" y="247573"/>
                      <a:pt x="593884" y="248287"/>
                      <a:pt x="593170" y="249002"/>
                    </a:cubicBezTo>
                    <a:cubicBezTo>
                      <a:pt x="592456" y="249002"/>
                      <a:pt x="592456" y="249716"/>
                      <a:pt x="591741" y="249716"/>
                    </a:cubicBezTo>
                    <a:cubicBezTo>
                      <a:pt x="591027" y="250430"/>
                      <a:pt x="591027" y="250430"/>
                      <a:pt x="590313" y="251144"/>
                    </a:cubicBezTo>
                    <a:cubicBezTo>
                      <a:pt x="589598" y="251858"/>
                      <a:pt x="589598" y="251858"/>
                      <a:pt x="588884" y="252572"/>
                    </a:cubicBezTo>
                    <a:cubicBezTo>
                      <a:pt x="588169" y="252572"/>
                      <a:pt x="587455" y="253286"/>
                      <a:pt x="587455" y="253286"/>
                    </a:cubicBezTo>
                    <a:cubicBezTo>
                      <a:pt x="586741" y="254001"/>
                      <a:pt x="586026" y="254001"/>
                      <a:pt x="586026" y="254715"/>
                    </a:cubicBezTo>
                    <a:cubicBezTo>
                      <a:pt x="585312" y="254715"/>
                      <a:pt x="584598" y="255429"/>
                      <a:pt x="583883" y="255429"/>
                    </a:cubicBezTo>
                    <a:cubicBezTo>
                      <a:pt x="583883" y="256143"/>
                      <a:pt x="583169" y="256143"/>
                      <a:pt x="582454" y="256857"/>
                    </a:cubicBezTo>
                    <a:cubicBezTo>
                      <a:pt x="581740" y="256857"/>
                      <a:pt x="581026" y="257571"/>
                      <a:pt x="581026" y="257571"/>
                    </a:cubicBezTo>
                    <a:cubicBezTo>
                      <a:pt x="580311" y="258285"/>
                      <a:pt x="579597" y="258285"/>
                      <a:pt x="579597" y="259000"/>
                    </a:cubicBezTo>
                    <a:cubicBezTo>
                      <a:pt x="578883" y="259000"/>
                      <a:pt x="578168" y="259714"/>
                      <a:pt x="577454" y="259714"/>
                    </a:cubicBezTo>
                    <a:cubicBezTo>
                      <a:pt x="576739" y="260428"/>
                      <a:pt x="576025" y="260428"/>
                      <a:pt x="576025" y="260428"/>
                    </a:cubicBezTo>
                    <a:cubicBezTo>
                      <a:pt x="574596" y="261142"/>
                      <a:pt x="573882" y="261856"/>
                      <a:pt x="572453" y="262570"/>
                    </a:cubicBezTo>
                    <a:cubicBezTo>
                      <a:pt x="571024" y="262570"/>
                      <a:pt x="570310" y="263284"/>
                      <a:pt x="568881" y="263999"/>
                    </a:cubicBezTo>
                    <a:cubicBezTo>
                      <a:pt x="568881" y="263999"/>
                      <a:pt x="568167" y="263999"/>
                      <a:pt x="568167" y="263999"/>
                    </a:cubicBezTo>
                    <a:cubicBezTo>
                      <a:pt x="567453" y="264713"/>
                      <a:pt x="566738" y="264713"/>
                      <a:pt x="565309" y="264713"/>
                    </a:cubicBezTo>
                    <a:cubicBezTo>
                      <a:pt x="565309" y="265427"/>
                      <a:pt x="564595" y="265427"/>
                      <a:pt x="564595" y="265427"/>
                    </a:cubicBezTo>
                    <a:cubicBezTo>
                      <a:pt x="563166" y="265427"/>
                      <a:pt x="562452" y="266141"/>
                      <a:pt x="561023" y="266141"/>
                    </a:cubicBezTo>
                    <a:cubicBezTo>
                      <a:pt x="561023" y="266141"/>
                      <a:pt x="561023" y="266855"/>
                      <a:pt x="560309" y="266855"/>
                    </a:cubicBezTo>
                    <a:cubicBezTo>
                      <a:pt x="559594" y="266855"/>
                      <a:pt x="558880" y="266855"/>
                      <a:pt x="558166" y="267569"/>
                    </a:cubicBezTo>
                    <a:cubicBezTo>
                      <a:pt x="557451" y="267569"/>
                      <a:pt x="556737" y="267569"/>
                      <a:pt x="556737" y="267569"/>
                    </a:cubicBezTo>
                    <a:cubicBezTo>
                      <a:pt x="556023" y="267569"/>
                      <a:pt x="555308" y="267569"/>
                      <a:pt x="554594" y="268283"/>
                    </a:cubicBezTo>
                    <a:cubicBezTo>
                      <a:pt x="553879" y="268283"/>
                      <a:pt x="553165" y="268283"/>
                      <a:pt x="553165" y="268283"/>
                    </a:cubicBezTo>
                    <a:cubicBezTo>
                      <a:pt x="551736" y="268283"/>
                      <a:pt x="551022" y="268283"/>
                      <a:pt x="549593" y="268998"/>
                    </a:cubicBezTo>
                    <a:cubicBezTo>
                      <a:pt x="549593" y="268998"/>
                      <a:pt x="548879" y="268998"/>
                      <a:pt x="548164" y="268998"/>
                    </a:cubicBezTo>
                    <a:cubicBezTo>
                      <a:pt x="548164" y="268998"/>
                      <a:pt x="547450" y="268998"/>
                      <a:pt x="546736" y="268998"/>
                    </a:cubicBezTo>
                    <a:cubicBezTo>
                      <a:pt x="546021" y="268998"/>
                      <a:pt x="545307" y="268998"/>
                      <a:pt x="544593" y="268998"/>
                    </a:cubicBezTo>
                    <a:cubicBezTo>
                      <a:pt x="544593" y="268998"/>
                      <a:pt x="543878" y="268998"/>
                      <a:pt x="543164" y="268998"/>
                    </a:cubicBezTo>
                    <a:cubicBezTo>
                      <a:pt x="542449" y="268998"/>
                      <a:pt x="541735" y="268998"/>
                      <a:pt x="541735" y="268998"/>
                    </a:cubicBezTo>
                    <a:cubicBezTo>
                      <a:pt x="540306" y="269712"/>
                      <a:pt x="539592" y="269712"/>
                      <a:pt x="538878" y="269712"/>
                    </a:cubicBezTo>
                    <a:cubicBezTo>
                      <a:pt x="538163" y="268998"/>
                      <a:pt x="537449" y="268998"/>
                      <a:pt x="536734" y="268998"/>
                    </a:cubicBezTo>
                    <a:cubicBezTo>
                      <a:pt x="536020" y="268998"/>
                      <a:pt x="536020" y="268998"/>
                      <a:pt x="535306" y="268998"/>
                    </a:cubicBezTo>
                    <a:cubicBezTo>
                      <a:pt x="534591" y="268998"/>
                      <a:pt x="533877" y="268998"/>
                      <a:pt x="533163" y="268998"/>
                    </a:cubicBezTo>
                    <a:cubicBezTo>
                      <a:pt x="533163" y="268998"/>
                      <a:pt x="532448" y="268998"/>
                      <a:pt x="531734" y="268998"/>
                    </a:cubicBezTo>
                    <a:cubicBezTo>
                      <a:pt x="530305" y="268998"/>
                      <a:pt x="528876" y="268283"/>
                      <a:pt x="527448" y="268283"/>
                    </a:cubicBezTo>
                    <a:cubicBezTo>
                      <a:pt x="526733" y="269712"/>
                      <a:pt x="526019" y="270426"/>
                      <a:pt x="526019" y="271854"/>
                    </a:cubicBezTo>
                    <a:cubicBezTo>
                      <a:pt x="526019" y="271854"/>
                      <a:pt x="525304" y="271854"/>
                      <a:pt x="525304" y="271854"/>
                    </a:cubicBezTo>
                    <a:cubicBezTo>
                      <a:pt x="525304" y="273282"/>
                      <a:pt x="524590" y="273996"/>
                      <a:pt x="523876" y="275425"/>
                    </a:cubicBezTo>
                    <a:cubicBezTo>
                      <a:pt x="523161" y="276853"/>
                      <a:pt x="522447" y="277567"/>
                      <a:pt x="521733" y="278995"/>
                    </a:cubicBezTo>
                    <a:cubicBezTo>
                      <a:pt x="521733" y="278995"/>
                      <a:pt x="521733" y="278995"/>
                      <a:pt x="521733" y="279710"/>
                    </a:cubicBezTo>
                    <a:cubicBezTo>
                      <a:pt x="521018" y="280424"/>
                      <a:pt x="520304" y="281138"/>
                      <a:pt x="520304" y="282566"/>
                    </a:cubicBezTo>
                    <a:cubicBezTo>
                      <a:pt x="519589" y="282566"/>
                      <a:pt x="519589" y="282566"/>
                      <a:pt x="519589" y="282566"/>
                    </a:cubicBezTo>
                    <a:cubicBezTo>
                      <a:pt x="518875" y="283994"/>
                      <a:pt x="518161" y="284709"/>
                      <a:pt x="517446" y="285423"/>
                    </a:cubicBezTo>
                    <a:cubicBezTo>
                      <a:pt x="517446" y="286137"/>
                      <a:pt x="517446" y="286137"/>
                      <a:pt x="517446" y="286137"/>
                    </a:cubicBezTo>
                    <a:cubicBezTo>
                      <a:pt x="516732" y="286851"/>
                      <a:pt x="516018" y="288279"/>
                      <a:pt x="515303" y="288993"/>
                    </a:cubicBezTo>
                    <a:cubicBezTo>
                      <a:pt x="515303" y="288993"/>
                      <a:pt x="514589" y="288993"/>
                      <a:pt x="514589" y="289708"/>
                    </a:cubicBezTo>
                    <a:cubicBezTo>
                      <a:pt x="513874" y="290422"/>
                      <a:pt x="513160" y="291136"/>
                      <a:pt x="512446" y="291850"/>
                    </a:cubicBezTo>
                    <a:cubicBezTo>
                      <a:pt x="512446" y="292564"/>
                      <a:pt x="512446" y="292564"/>
                      <a:pt x="511731" y="292564"/>
                    </a:cubicBezTo>
                    <a:cubicBezTo>
                      <a:pt x="511017" y="293278"/>
                      <a:pt x="511017" y="293992"/>
                      <a:pt x="510303" y="294707"/>
                    </a:cubicBezTo>
                    <a:cubicBezTo>
                      <a:pt x="509588" y="295421"/>
                      <a:pt x="509588" y="295421"/>
                      <a:pt x="508874" y="296135"/>
                    </a:cubicBezTo>
                    <a:cubicBezTo>
                      <a:pt x="508159" y="296849"/>
                      <a:pt x="508159" y="297563"/>
                      <a:pt x="507445" y="297563"/>
                    </a:cubicBezTo>
                    <a:cubicBezTo>
                      <a:pt x="506731" y="298277"/>
                      <a:pt x="506731" y="298277"/>
                      <a:pt x="506016" y="298991"/>
                    </a:cubicBezTo>
                    <a:cubicBezTo>
                      <a:pt x="505302" y="299706"/>
                      <a:pt x="504588" y="300420"/>
                      <a:pt x="503873" y="300420"/>
                    </a:cubicBezTo>
                    <a:cubicBezTo>
                      <a:pt x="503873" y="301134"/>
                      <a:pt x="503159" y="301134"/>
                      <a:pt x="502444" y="301848"/>
                    </a:cubicBezTo>
                    <a:cubicBezTo>
                      <a:pt x="502444" y="302562"/>
                      <a:pt x="501730" y="302562"/>
                      <a:pt x="501016" y="303276"/>
                    </a:cubicBezTo>
                    <a:cubicBezTo>
                      <a:pt x="500301" y="303990"/>
                      <a:pt x="499587" y="303990"/>
                      <a:pt x="499587" y="304705"/>
                    </a:cubicBezTo>
                    <a:cubicBezTo>
                      <a:pt x="498873" y="304705"/>
                      <a:pt x="498158" y="305419"/>
                      <a:pt x="497444" y="306133"/>
                    </a:cubicBezTo>
                    <a:cubicBezTo>
                      <a:pt x="496729" y="306133"/>
                      <a:pt x="496015" y="306847"/>
                      <a:pt x="496015" y="306847"/>
                    </a:cubicBezTo>
                    <a:cubicBezTo>
                      <a:pt x="495301" y="307561"/>
                      <a:pt x="494586" y="307561"/>
                      <a:pt x="493872" y="308275"/>
                    </a:cubicBezTo>
                    <a:cubicBezTo>
                      <a:pt x="493158" y="308989"/>
                      <a:pt x="492443" y="308989"/>
                      <a:pt x="491729" y="309704"/>
                    </a:cubicBezTo>
                    <a:cubicBezTo>
                      <a:pt x="491729" y="309704"/>
                      <a:pt x="491014" y="310418"/>
                      <a:pt x="490300" y="310418"/>
                    </a:cubicBezTo>
                    <a:cubicBezTo>
                      <a:pt x="489586" y="311132"/>
                      <a:pt x="488871" y="311132"/>
                      <a:pt x="488157" y="311846"/>
                    </a:cubicBezTo>
                    <a:cubicBezTo>
                      <a:pt x="487443" y="311846"/>
                      <a:pt x="486728" y="312560"/>
                      <a:pt x="486728" y="312560"/>
                    </a:cubicBezTo>
                    <a:cubicBezTo>
                      <a:pt x="485299" y="313274"/>
                      <a:pt x="483871" y="313988"/>
                      <a:pt x="482442" y="314703"/>
                    </a:cubicBezTo>
                    <a:cubicBezTo>
                      <a:pt x="481013" y="315417"/>
                      <a:pt x="479584" y="315417"/>
                      <a:pt x="478156" y="316131"/>
                    </a:cubicBezTo>
                    <a:cubicBezTo>
                      <a:pt x="478156" y="316845"/>
                      <a:pt x="477441" y="316845"/>
                      <a:pt x="476727" y="316845"/>
                    </a:cubicBezTo>
                    <a:cubicBezTo>
                      <a:pt x="476013" y="317559"/>
                      <a:pt x="475298" y="317559"/>
                      <a:pt x="474584" y="317559"/>
                    </a:cubicBezTo>
                    <a:cubicBezTo>
                      <a:pt x="473869" y="318273"/>
                      <a:pt x="472441" y="318273"/>
                      <a:pt x="471726" y="318273"/>
                    </a:cubicBezTo>
                    <a:cubicBezTo>
                      <a:pt x="471726" y="318987"/>
                      <a:pt x="471012" y="318987"/>
                      <a:pt x="470298" y="318987"/>
                    </a:cubicBezTo>
                    <a:cubicBezTo>
                      <a:pt x="468869" y="319702"/>
                      <a:pt x="468154" y="319702"/>
                      <a:pt x="467440" y="319702"/>
                    </a:cubicBezTo>
                    <a:cubicBezTo>
                      <a:pt x="466726" y="319702"/>
                      <a:pt x="466726" y="320416"/>
                      <a:pt x="466011" y="320416"/>
                    </a:cubicBezTo>
                    <a:cubicBezTo>
                      <a:pt x="464583" y="320416"/>
                      <a:pt x="463868" y="320416"/>
                      <a:pt x="463154" y="321130"/>
                    </a:cubicBezTo>
                    <a:cubicBezTo>
                      <a:pt x="462439" y="321130"/>
                      <a:pt x="462439" y="321130"/>
                      <a:pt x="461725" y="321130"/>
                    </a:cubicBezTo>
                    <a:cubicBezTo>
                      <a:pt x="460296" y="321130"/>
                      <a:pt x="459582" y="321130"/>
                      <a:pt x="458868" y="321844"/>
                    </a:cubicBezTo>
                    <a:cubicBezTo>
                      <a:pt x="458153" y="321844"/>
                      <a:pt x="458153" y="321844"/>
                      <a:pt x="457439" y="321844"/>
                    </a:cubicBezTo>
                    <a:cubicBezTo>
                      <a:pt x="456010" y="321844"/>
                      <a:pt x="455296" y="321844"/>
                      <a:pt x="453867" y="321844"/>
                    </a:cubicBezTo>
                    <a:cubicBezTo>
                      <a:pt x="453867" y="321844"/>
                      <a:pt x="453867" y="321844"/>
                      <a:pt x="453153" y="321844"/>
                    </a:cubicBezTo>
                    <a:cubicBezTo>
                      <a:pt x="451724" y="322558"/>
                      <a:pt x="451009" y="322558"/>
                      <a:pt x="449581" y="322558"/>
                    </a:cubicBezTo>
                    <a:cubicBezTo>
                      <a:pt x="449581" y="322558"/>
                      <a:pt x="449581" y="322558"/>
                      <a:pt x="448866" y="322558"/>
                    </a:cubicBezTo>
                    <a:cubicBezTo>
                      <a:pt x="448152" y="322558"/>
                      <a:pt x="446723" y="322558"/>
                      <a:pt x="445294" y="322558"/>
                    </a:cubicBezTo>
                    <a:cubicBezTo>
                      <a:pt x="445294" y="322558"/>
                      <a:pt x="445294" y="322558"/>
                      <a:pt x="444580" y="322558"/>
                    </a:cubicBezTo>
                    <a:cubicBezTo>
                      <a:pt x="443866" y="322558"/>
                      <a:pt x="442437" y="322558"/>
                      <a:pt x="441008" y="322558"/>
                    </a:cubicBezTo>
                    <a:cubicBezTo>
                      <a:pt x="439579" y="321844"/>
                      <a:pt x="438151" y="321844"/>
                      <a:pt x="436722" y="321844"/>
                    </a:cubicBezTo>
                    <a:cubicBezTo>
                      <a:pt x="436722" y="321844"/>
                      <a:pt x="436008" y="321844"/>
                      <a:pt x="436008" y="321844"/>
                    </a:cubicBezTo>
                    <a:cubicBezTo>
                      <a:pt x="432436" y="339698"/>
                      <a:pt x="421006" y="356123"/>
                      <a:pt x="403146" y="363978"/>
                    </a:cubicBezTo>
                    <a:cubicBezTo>
                      <a:pt x="396717" y="366835"/>
                      <a:pt x="390288" y="368263"/>
                      <a:pt x="383858" y="368977"/>
                    </a:cubicBezTo>
                    <a:cubicBezTo>
                      <a:pt x="383144" y="369691"/>
                      <a:pt x="383144" y="369691"/>
                      <a:pt x="383144" y="370406"/>
                    </a:cubicBezTo>
                    <a:cubicBezTo>
                      <a:pt x="381715" y="371120"/>
                      <a:pt x="381001" y="371834"/>
                      <a:pt x="379572" y="372548"/>
                    </a:cubicBezTo>
                    <a:cubicBezTo>
                      <a:pt x="379572" y="373262"/>
                      <a:pt x="379572" y="373262"/>
                      <a:pt x="378858" y="373262"/>
                    </a:cubicBezTo>
                    <a:cubicBezTo>
                      <a:pt x="377429" y="373976"/>
                      <a:pt x="376714" y="375405"/>
                      <a:pt x="375286" y="376119"/>
                    </a:cubicBezTo>
                    <a:cubicBezTo>
                      <a:pt x="375286" y="376119"/>
                      <a:pt x="374571" y="376833"/>
                      <a:pt x="374571" y="376833"/>
                    </a:cubicBezTo>
                    <a:cubicBezTo>
                      <a:pt x="373857" y="376833"/>
                      <a:pt x="373857" y="377547"/>
                      <a:pt x="373143" y="377547"/>
                    </a:cubicBezTo>
                    <a:cubicBezTo>
                      <a:pt x="367428" y="389687"/>
                      <a:pt x="357426" y="399685"/>
                      <a:pt x="344568" y="405399"/>
                    </a:cubicBezTo>
                    <a:cubicBezTo>
                      <a:pt x="334566" y="409683"/>
                      <a:pt x="323851" y="411112"/>
                      <a:pt x="313849" y="410398"/>
                    </a:cubicBezTo>
                    <a:cubicBezTo>
                      <a:pt x="308134" y="423966"/>
                      <a:pt x="298133" y="435392"/>
                      <a:pt x="283846" y="441820"/>
                    </a:cubicBezTo>
                    <a:cubicBezTo>
                      <a:pt x="268129" y="448961"/>
                      <a:pt x="250984" y="448247"/>
                      <a:pt x="235983" y="441820"/>
                    </a:cubicBezTo>
                    <a:cubicBezTo>
                      <a:pt x="230982" y="448961"/>
                      <a:pt x="223124" y="455388"/>
                      <a:pt x="214551" y="458959"/>
                    </a:cubicBezTo>
                    <a:cubicBezTo>
                      <a:pt x="195263" y="467529"/>
                      <a:pt x="173832" y="465386"/>
                      <a:pt x="157401" y="453960"/>
                    </a:cubicBezTo>
                    <a:cubicBezTo>
                      <a:pt x="155258" y="456103"/>
                      <a:pt x="152401" y="457531"/>
                      <a:pt x="149543" y="458959"/>
                    </a:cubicBezTo>
                    <a:cubicBezTo>
                      <a:pt x="120254" y="472528"/>
                      <a:pt x="85249" y="459673"/>
                      <a:pt x="72391" y="430394"/>
                    </a:cubicBezTo>
                    <a:cubicBezTo>
                      <a:pt x="63818" y="411112"/>
                      <a:pt x="65961" y="390402"/>
                      <a:pt x="76677" y="373976"/>
                    </a:cubicBezTo>
                    <a:cubicBezTo>
                      <a:pt x="72391" y="369691"/>
                      <a:pt x="68104" y="363978"/>
                      <a:pt x="65247" y="357551"/>
                    </a:cubicBezTo>
                    <a:cubicBezTo>
                      <a:pt x="52388" y="328271"/>
                      <a:pt x="65247" y="293992"/>
                      <a:pt x="94536" y="280424"/>
                    </a:cubicBezTo>
                    <a:cubicBezTo>
                      <a:pt x="95965" y="279710"/>
                      <a:pt x="98108" y="278995"/>
                      <a:pt x="100251" y="278281"/>
                    </a:cubicBezTo>
                    <a:cubicBezTo>
                      <a:pt x="98108" y="276139"/>
                      <a:pt x="96679" y="273282"/>
                      <a:pt x="95251" y="270426"/>
                    </a:cubicBezTo>
                    <a:cubicBezTo>
                      <a:pt x="83821" y="245431"/>
                      <a:pt x="91679" y="216865"/>
                      <a:pt x="113110" y="200440"/>
                    </a:cubicBezTo>
                    <a:cubicBezTo>
                      <a:pt x="101680" y="171874"/>
                      <a:pt x="114539" y="139024"/>
                      <a:pt x="143114" y="126169"/>
                    </a:cubicBezTo>
                    <a:cubicBezTo>
                      <a:pt x="150972" y="122598"/>
                      <a:pt x="159544" y="121170"/>
                      <a:pt x="168117" y="121170"/>
                    </a:cubicBezTo>
                    <a:cubicBezTo>
                      <a:pt x="173832" y="83321"/>
                      <a:pt x="198121" y="49042"/>
                      <a:pt x="235268" y="31903"/>
                    </a:cubicBezTo>
                    <a:cubicBezTo>
                      <a:pt x="272416" y="15477"/>
                      <a:pt x="313135" y="19048"/>
                      <a:pt x="344568" y="38330"/>
                    </a:cubicBezTo>
                    <a:cubicBezTo>
                      <a:pt x="353140" y="25475"/>
                      <a:pt x="365284" y="14763"/>
                      <a:pt x="380286" y="7622"/>
                    </a:cubicBezTo>
                    <a:cubicBezTo>
                      <a:pt x="390823" y="2801"/>
                      <a:pt x="401851" y="346"/>
                      <a:pt x="412768" y="3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2002DE1D-6A57-824A-20A4-F0C2C7BDA4FA}"/>
              </a:ext>
            </a:extLst>
          </p:cNvPr>
          <p:cNvGrpSpPr/>
          <p:nvPr/>
        </p:nvGrpSpPr>
        <p:grpSpPr>
          <a:xfrm>
            <a:off x="773872" y="4004336"/>
            <a:ext cx="1955876" cy="673571"/>
            <a:chOff x="554124" y="4822130"/>
            <a:chExt cx="1955876" cy="673571"/>
          </a:xfrm>
        </p:grpSpPr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9F51586E-17C7-0B81-5FEB-F6BAE9F5C3F9}"/>
                </a:ext>
              </a:extLst>
            </p:cNvPr>
            <p:cNvSpPr txBox="1"/>
            <p:nvPr/>
          </p:nvSpPr>
          <p:spPr>
            <a:xfrm>
              <a:off x="1104136" y="4822130"/>
              <a:ext cx="108172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400" b="1">
                  <a:solidFill>
                    <a:srgbClr val="003056"/>
                  </a:solidFill>
                  <a:latin typeface="Calibri" panose="020F0502020204030204"/>
                </a:rPr>
                <a:t>280</a:t>
              </a:r>
              <a:r>
                <a:rPr kumimoji="0" lang="de-DE" sz="2400" b="1" i="0" u="none" strike="noStrike" kern="120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MW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4666AEC4-5811-F7F2-458F-DD6984C24DE2}"/>
                </a:ext>
              </a:extLst>
            </p:cNvPr>
            <p:cNvSpPr txBox="1"/>
            <p:nvPr/>
          </p:nvSpPr>
          <p:spPr>
            <a:xfrm>
              <a:off x="1104136" y="5187924"/>
              <a:ext cx="1405864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defRPr/>
              </a:pPr>
              <a:r>
                <a:rPr lang="en-AU" sz="1000" err="1">
                  <a:solidFill>
                    <a:srgbClr val="003056"/>
                  </a:solidFill>
                  <a:latin typeface="Calibri" panose="020F0502020204030204"/>
                </a:rPr>
                <a:t>Installierte</a:t>
              </a:r>
              <a:r>
                <a:rPr kumimoji="0" lang="en-AU" sz="1000" b="0" i="0" u="none" strike="noStrike" kern="120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lang="en-AU" sz="1000" err="1">
                  <a:solidFill>
                    <a:srgbClr val="003056"/>
                  </a:solidFill>
                  <a:latin typeface="Calibri" panose="020F0502020204030204"/>
                </a:rPr>
                <a:t>Kapazität</a:t>
              </a:r>
              <a:r>
                <a:rPr lang="en-AU" sz="1000">
                  <a:solidFill>
                    <a:srgbClr val="003056"/>
                  </a:solidFill>
                  <a:latin typeface="Calibri" panose="020F0502020204030204"/>
                </a:rPr>
                <a:t> </a:t>
              </a:r>
              <a:r>
                <a:rPr lang="en-AU" sz="1000" err="1">
                  <a:solidFill>
                    <a:srgbClr val="003056"/>
                  </a:solidFill>
                  <a:latin typeface="Calibri" panose="020F0502020204030204"/>
                </a:rPr>
                <a:t>Elektrolyse</a:t>
              </a:r>
              <a:endParaRPr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3056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endParaRPr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3A4E2818-040D-48E6-0C99-0B938954F4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4124" y="4855859"/>
              <a:ext cx="468000" cy="46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43664FEF-255D-C139-8A69-0C58452B79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8514" y="4880249"/>
              <a:ext cx="419220" cy="419220"/>
            </a:xfrm>
            <a:prstGeom prst="ellipse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694B4D83-158E-783B-5445-402B1625C243}"/>
                </a:ext>
              </a:extLst>
            </p:cNvPr>
            <p:cNvGrpSpPr/>
            <p:nvPr/>
          </p:nvGrpSpPr>
          <p:grpSpPr>
            <a:xfrm>
              <a:off x="681517" y="4923555"/>
              <a:ext cx="212514" cy="295478"/>
              <a:chOff x="681517" y="4923555"/>
              <a:chExt cx="212514" cy="295478"/>
            </a:xfrm>
          </p:grpSpPr>
          <p:sp>
            <p:nvSpPr>
              <p:cNvPr id="42" name="Rechteck: abgerundete Ecken 41">
                <a:extLst>
                  <a:ext uri="{FF2B5EF4-FFF2-40B4-BE49-F238E27FC236}">
                    <a16:creationId xmlns:a16="http://schemas.microsoft.com/office/drawing/2014/main" id="{568D83A7-0BE9-7B0A-3FEB-FE1DC1E744CA}"/>
                  </a:ext>
                </a:extLst>
              </p:cNvPr>
              <p:cNvSpPr/>
              <p:nvPr/>
            </p:nvSpPr>
            <p:spPr>
              <a:xfrm>
                <a:off x="681517" y="5007887"/>
                <a:ext cx="212514" cy="211146"/>
              </a:xfrm>
              <a:prstGeom prst="roundRect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500" b="0" i="0" u="none" strike="noStrike" kern="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Rechteck 42">
                <a:extLst>
                  <a:ext uri="{FF2B5EF4-FFF2-40B4-BE49-F238E27FC236}">
                    <a16:creationId xmlns:a16="http://schemas.microsoft.com/office/drawing/2014/main" id="{B554AA59-F21C-CF6F-17E8-893FBDB4D028}"/>
                  </a:ext>
                </a:extLst>
              </p:cNvPr>
              <p:cNvSpPr/>
              <p:nvPr/>
            </p:nvSpPr>
            <p:spPr>
              <a:xfrm>
                <a:off x="721097" y="5024788"/>
                <a:ext cx="33148" cy="181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500" b="0" i="0" u="none" strike="noStrike" kern="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Rechteck 43">
                <a:extLst>
                  <a:ext uri="{FF2B5EF4-FFF2-40B4-BE49-F238E27FC236}">
                    <a16:creationId xmlns:a16="http://schemas.microsoft.com/office/drawing/2014/main" id="{2AE4705E-13FE-6781-6173-487E0EFE4A47}"/>
                  </a:ext>
                </a:extLst>
              </p:cNvPr>
              <p:cNvSpPr/>
              <p:nvPr/>
            </p:nvSpPr>
            <p:spPr>
              <a:xfrm>
                <a:off x="822141" y="5024788"/>
                <a:ext cx="33148" cy="181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500" b="0" i="0" u="none" strike="noStrike" kern="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8917E05E-C456-EFAE-8E11-A895AE0A037D}"/>
                  </a:ext>
                </a:extLst>
              </p:cNvPr>
              <p:cNvCxnSpPr/>
              <p:nvPr/>
            </p:nvCxnSpPr>
            <p:spPr>
              <a:xfrm>
                <a:off x="838715" y="4969274"/>
                <a:ext cx="0" cy="55026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6FDDEF6C-9A5E-9B39-D452-8170A3DB5F86}"/>
                  </a:ext>
                </a:extLst>
              </p:cNvPr>
              <p:cNvCxnSpPr/>
              <p:nvPr/>
            </p:nvCxnSpPr>
            <p:spPr>
              <a:xfrm>
                <a:off x="737671" y="4969274"/>
                <a:ext cx="0" cy="55026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miter lim="800000"/>
              </a:ln>
              <a:effectLst/>
            </p:spPr>
          </p:cxnSp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87CDD3AF-18B1-1664-0A5F-D3D66B252913}"/>
                  </a:ext>
                </a:extLst>
              </p:cNvPr>
              <p:cNvSpPr txBox="1"/>
              <p:nvPr/>
            </p:nvSpPr>
            <p:spPr>
              <a:xfrm>
                <a:off x="706680" y="4923555"/>
                <a:ext cx="29311" cy="79592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500" b="0" i="0" u="none" strike="noStrike" kern="0" cap="none" spc="0" normalizeH="0" baseline="0" noProof="0">
                    <a:ln>
                      <a:noFill/>
                    </a:ln>
                    <a:solidFill>
                      <a:srgbClr val="00305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+</a:t>
                </a:r>
                <a:endParaRPr kumimoji="0" lang="de-DE" sz="500" b="0" i="0" u="none" strike="noStrike" kern="0" cap="none" spc="2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39F385A7-737B-EE44-D0C3-ED8847B597D8}"/>
                  </a:ext>
                </a:extLst>
              </p:cNvPr>
              <p:cNvSpPr txBox="1"/>
              <p:nvPr/>
            </p:nvSpPr>
            <p:spPr>
              <a:xfrm>
                <a:off x="850123" y="4923555"/>
                <a:ext cx="29311" cy="79592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500" b="0" i="0" u="none" strike="noStrike" kern="0" cap="none" spc="0" normalizeH="0" baseline="0" noProof="0">
                    <a:ln>
                      <a:noFill/>
                    </a:ln>
                    <a:solidFill>
                      <a:srgbClr val="00305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-</a:t>
                </a:r>
                <a:endParaRPr kumimoji="0" lang="de-DE" sz="500" b="0" i="0" u="none" strike="noStrike" kern="0" cap="none" spc="2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A77CD8E4-36D0-9551-02E0-B0946CAFC901}"/>
              </a:ext>
            </a:extLst>
          </p:cNvPr>
          <p:cNvGrpSpPr/>
          <p:nvPr/>
        </p:nvGrpSpPr>
        <p:grpSpPr>
          <a:xfrm>
            <a:off x="773872" y="4776628"/>
            <a:ext cx="1955876" cy="687536"/>
            <a:chOff x="554124" y="5498677"/>
            <a:chExt cx="1955876" cy="687536"/>
          </a:xfrm>
        </p:grpSpPr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8BF35401-84A9-0B2E-7FC2-0B1DB61D69F0}"/>
                </a:ext>
              </a:extLst>
            </p:cNvPr>
            <p:cNvSpPr txBox="1"/>
            <p:nvPr/>
          </p:nvSpPr>
          <p:spPr>
            <a:xfrm>
              <a:off x="1104136" y="5498677"/>
              <a:ext cx="108172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120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0 </a:t>
              </a:r>
              <a:r>
                <a:rPr kumimoji="0" lang="de-DE" sz="2400" b="1" i="0" u="none" strike="noStrike" kern="1200" cap="none" spc="0" normalizeH="0" baseline="0" noProof="0" err="1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t</a:t>
              </a:r>
              <a:r>
                <a:rPr kumimoji="0" lang="de-DE" sz="2400" b="1" i="0" u="none" strike="noStrike" kern="120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/a</a:t>
              </a:r>
            </a:p>
          </p:txBody>
        </p: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AEDC1E6A-8A04-35EB-A370-766560E6FE2A}"/>
                </a:ext>
              </a:extLst>
            </p:cNvPr>
            <p:cNvSpPr txBox="1"/>
            <p:nvPr/>
          </p:nvSpPr>
          <p:spPr>
            <a:xfrm>
              <a:off x="1104136" y="5878436"/>
              <a:ext cx="1405864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defRPr/>
              </a:pPr>
              <a:r>
                <a:rPr lang="en-AU" sz="1000" err="1">
                  <a:solidFill>
                    <a:srgbClr val="003056"/>
                  </a:solidFill>
                  <a:latin typeface="Calibri" panose="020F0502020204030204"/>
                </a:rPr>
                <a:t>Produzierte</a:t>
              </a:r>
              <a:r>
                <a:rPr lang="en-AU" sz="1000">
                  <a:solidFill>
                    <a:srgbClr val="003056"/>
                  </a:solidFill>
                  <a:latin typeface="Calibri" panose="020F0502020204030204"/>
                </a:rPr>
                <a:t> Menge an</a:t>
              </a:r>
              <a:r>
                <a:rPr kumimoji="0" lang="en-AU" sz="1000" b="0" i="0" u="none" strike="noStrike" kern="1200" cap="none" spc="0" normalizeH="0" baseline="0" noProof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AU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ethanol</a:t>
              </a:r>
              <a:endParaRPr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3056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endParaRPr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50623B95-28E8-E5F0-E4CC-ADB41BF7C0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4124" y="5573903"/>
              <a:ext cx="468000" cy="468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672B243F-0000-C31C-4D0E-E80E993FF1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8514" y="5598293"/>
              <a:ext cx="419220" cy="419220"/>
            </a:xfrm>
            <a:prstGeom prst="ellipse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5" name="Grafik 54" descr="Ölfass Silhouette">
              <a:extLst>
                <a:ext uri="{FF2B5EF4-FFF2-40B4-BE49-F238E27FC236}">
                  <a16:creationId xmlns:a16="http://schemas.microsoft.com/office/drawing/2014/main" id="{DB3198EB-4990-0D10-7EEB-91BF58EE4D5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40950" y="5669201"/>
              <a:ext cx="293648" cy="293648"/>
            </a:xfrm>
            <a:prstGeom prst="rect">
              <a:avLst/>
            </a:prstGeom>
          </p:spPr>
        </p:pic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CC8A6835-2000-D592-8C28-07D4D03FC6AB}"/>
              </a:ext>
            </a:extLst>
          </p:cNvPr>
          <p:cNvGrpSpPr/>
          <p:nvPr/>
        </p:nvGrpSpPr>
        <p:grpSpPr>
          <a:xfrm>
            <a:off x="782219" y="5590761"/>
            <a:ext cx="1931486" cy="675504"/>
            <a:chOff x="578514" y="5498677"/>
            <a:chExt cx="1931486" cy="675504"/>
          </a:xfrm>
        </p:grpSpPr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20828589-A045-196A-16BD-141226423B36}"/>
                </a:ext>
              </a:extLst>
            </p:cNvPr>
            <p:cNvSpPr txBox="1"/>
            <p:nvPr/>
          </p:nvSpPr>
          <p:spPr>
            <a:xfrm>
              <a:off x="1104136" y="5498677"/>
              <a:ext cx="108172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400" b="1" dirty="0">
                  <a:solidFill>
                    <a:srgbClr val="003056"/>
                  </a:solidFill>
                  <a:latin typeface="Calibri" panose="020F0502020204030204"/>
                </a:rPr>
                <a:t>72</a:t>
              </a:r>
              <a:r>
                <a:rPr kumimoji="0" lang="de-DE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kt/a</a:t>
              </a:r>
            </a:p>
          </p:txBody>
        </p: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B2D837A0-8854-E8B9-E145-015B92F2E57A}"/>
                </a:ext>
              </a:extLst>
            </p:cNvPr>
            <p:cNvSpPr txBox="1"/>
            <p:nvPr/>
          </p:nvSpPr>
          <p:spPr>
            <a:xfrm>
              <a:off x="1104136" y="5866404"/>
              <a:ext cx="1405864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defRPr/>
              </a:pPr>
              <a:r>
                <a:rPr lang="en-AU" sz="1000" dirty="0" err="1">
                  <a:solidFill>
                    <a:srgbClr val="003056"/>
                  </a:solidFill>
                  <a:latin typeface="Calibri" panose="020F0502020204030204"/>
                </a:rPr>
                <a:t>Produzierte</a:t>
              </a:r>
              <a:r>
                <a:rPr lang="en-AU" sz="1000" dirty="0">
                  <a:solidFill>
                    <a:srgbClr val="003056"/>
                  </a:solidFill>
                  <a:latin typeface="Calibri" panose="020F0502020204030204"/>
                </a:rPr>
                <a:t> Menge an</a:t>
              </a: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AU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05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Kerosin</a:t>
              </a:r>
              <a:r>
                <a:rPr lang="en-AU" sz="1000" dirty="0">
                  <a:solidFill>
                    <a:srgbClr val="003056"/>
                  </a:solidFill>
                  <a:latin typeface="Calibri" panose="020F0502020204030204"/>
                </a:rPr>
                <a:t>/</a:t>
              </a:r>
              <a:r>
                <a:rPr lang="en-AU" sz="1000" dirty="0" err="1">
                  <a:solidFill>
                    <a:srgbClr val="003056"/>
                  </a:solidFill>
                  <a:latin typeface="Calibri" panose="020F0502020204030204"/>
                </a:rPr>
                <a:t>eSAF</a:t>
              </a:r>
              <a:endParaRPr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003056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endParaRPr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A456AFA1-BC8A-81F5-F83D-2A61415B01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8514" y="5598293"/>
              <a:ext cx="419220" cy="419220"/>
            </a:xfrm>
            <a:prstGeom prst="ellipse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63" name="Grafik 62">
            <a:extLst>
              <a:ext uri="{FF2B5EF4-FFF2-40B4-BE49-F238E27FC236}">
                <a16:creationId xmlns:a16="http://schemas.microsoft.com/office/drawing/2014/main" id="{012B0EB3-E240-67EA-CE08-F0BC885627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13" y="5694851"/>
            <a:ext cx="416862" cy="414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8226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A7D30-AD26-D5FF-4B08-17899900F5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EC7CE2-F43E-E7A9-9872-3FC5BD31D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Standort</a:t>
            </a:r>
            <a:r>
              <a:rPr lang="en-AU" dirty="0"/>
              <a:t> </a:t>
            </a:r>
            <a:r>
              <a:rPr lang="en-AU" dirty="0" err="1"/>
              <a:t>im</a:t>
            </a:r>
            <a:r>
              <a:rPr lang="en-AU" dirty="0"/>
              <a:t> </a:t>
            </a:r>
            <a:r>
              <a:rPr lang="en-AU" dirty="0" err="1"/>
              <a:t>Industriepark</a:t>
            </a:r>
            <a:r>
              <a:rPr lang="en-AU" dirty="0"/>
              <a:t> Schwarze </a:t>
            </a:r>
            <a:r>
              <a:rPr lang="en-AU" dirty="0" err="1"/>
              <a:t>Pump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A97548-12EA-12C1-1092-CF2FB812B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„Energie braucht Netze“ - Netzwerkveranstaltung 24. April 2026 in Görlit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0DFC40-5552-2281-F01E-9377BAC1C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de-DE" smtClean="0"/>
              <a:t>7</a:t>
            </a:fld>
            <a:endParaRPr lang="de-DE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0D39D7CD-4935-2ED6-DCB4-494D5EEF2A2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Green </a:t>
            </a:r>
            <a:r>
              <a:rPr lang="de-DE" err="1"/>
              <a:t>Fuels</a:t>
            </a:r>
            <a:r>
              <a:rPr lang="de-DE"/>
              <a:t> Lausitz – Grünes Methanol aus der Lausitz</a:t>
            </a:r>
          </a:p>
        </p:txBody>
      </p:sp>
      <p:sp>
        <p:nvSpPr>
          <p:cNvPr id="5" name="Datumsplatzhalter 5">
            <a:extLst>
              <a:ext uri="{FF2B5EF4-FFF2-40B4-BE49-F238E27FC236}">
                <a16:creationId xmlns:a16="http://schemas.microsoft.com/office/drawing/2014/main" id="{26CB7EBF-3E87-399B-D872-D986BEB84D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</p:spPr>
        <p:txBody>
          <a:bodyPr/>
          <a:lstStyle/>
          <a:p>
            <a:fld id="{D4238CDE-D499-4352-90F9-E9806DBAE72F}" type="datetime1">
              <a:rPr lang="de-DE" smtClean="0"/>
              <a:t>24.04.2026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1B9530E-A6E1-F13E-C863-1FCA188CAFF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790101" y="319550"/>
            <a:ext cx="1903760" cy="720841"/>
          </a:xfrm>
          <a:prstGeom prst="rect">
            <a:avLst/>
          </a:prstGeom>
        </p:spPr>
      </p:pic>
      <p:pic>
        <p:nvPicPr>
          <p:cNvPr id="9" name="Grafik 8" descr="Ein Bild, das Luftfotografie, Luftbild, draußen, Vogelperspektive enthält.&#10;&#10;KI-generierte Inhalte können fehlerhaft sein.">
            <a:extLst>
              <a:ext uri="{FF2B5EF4-FFF2-40B4-BE49-F238E27FC236}">
                <a16:creationId xmlns:a16="http://schemas.microsoft.com/office/drawing/2014/main" id="{FEDCB922-B800-66C1-1805-F7139EB5C63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85" t="4857" r="4995" b="23387"/>
          <a:stretch>
            <a:fillRect/>
          </a:stretch>
        </p:blipFill>
        <p:spPr>
          <a:xfrm>
            <a:off x="1399525" y="1395046"/>
            <a:ext cx="8768940" cy="4934654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C29911BC-D05A-DD46-B6DC-13BABD1ADDFE}"/>
              </a:ext>
            </a:extLst>
          </p:cNvPr>
          <p:cNvSpPr/>
          <p:nvPr/>
        </p:nvSpPr>
        <p:spPr>
          <a:xfrm>
            <a:off x="2292443" y="3077256"/>
            <a:ext cx="2064630" cy="2515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600" b="1">
                <a:solidFill>
                  <a:schemeClr val="bg1"/>
                </a:solidFill>
                <a:ea typeface="Calibri"/>
                <a:cs typeface="Calibri"/>
              </a:rPr>
              <a:t>Papierfabrik</a:t>
            </a:r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3324F869-465F-CB73-71F6-1B4C52CCB8D9}"/>
              </a:ext>
            </a:extLst>
          </p:cNvPr>
          <p:cNvSpPr/>
          <p:nvPr/>
        </p:nvSpPr>
        <p:spPr>
          <a:xfrm>
            <a:off x="7520934" y="3428947"/>
            <a:ext cx="2064630" cy="2515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600" b="1">
                <a:solidFill>
                  <a:schemeClr val="bg1"/>
                </a:solidFill>
                <a:ea typeface="Calibri"/>
                <a:cs typeface="Calibri"/>
              </a:rPr>
              <a:t>EBS-Kraftwerk</a:t>
            </a:r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C6E5BBE-0BC5-2F83-209D-CF83E81EDB10}"/>
              </a:ext>
            </a:extLst>
          </p:cNvPr>
          <p:cNvSpPr/>
          <p:nvPr/>
        </p:nvSpPr>
        <p:spPr>
          <a:xfrm>
            <a:off x="4050902" y="3686854"/>
            <a:ext cx="2064630" cy="2515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600" b="1">
                <a:solidFill>
                  <a:schemeClr val="bg1"/>
                </a:solidFill>
                <a:ea typeface="Calibri"/>
                <a:cs typeface="Calibri"/>
              </a:rPr>
              <a:t>Carbon Capture Unit</a:t>
            </a:r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CCF32AF-9073-DE31-F786-5316232E6527}"/>
              </a:ext>
            </a:extLst>
          </p:cNvPr>
          <p:cNvSpPr/>
          <p:nvPr/>
        </p:nvSpPr>
        <p:spPr>
          <a:xfrm>
            <a:off x="5457670" y="5187407"/>
            <a:ext cx="2064630" cy="2515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600" b="1">
                <a:solidFill>
                  <a:schemeClr val="bg1"/>
                </a:solidFill>
                <a:ea typeface="Calibri"/>
                <a:cs typeface="Calibri"/>
              </a:rPr>
              <a:t>Elektrolysewerke</a:t>
            </a:r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58DF336-5608-C967-7D96-FAC6B856F6A3}"/>
              </a:ext>
            </a:extLst>
          </p:cNvPr>
          <p:cNvSpPr/>
          <p:nvPr/>
        </p:nvSpPr>
        <p:spPr>
          <a:xfrm>
            <a:off x="8939422" y="5128790"/>
            <a:ext cx="2064630" cy="2398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600" b="1">
                <a:solidFill>
                  <a:schemeClr val="bg1"/>
                </a:solidFill>
                <a:ea typeface="Calibri"/>
                <a:cs typeface="Calibri"/>
              </a:rPr>
              <a:t>Methanol-Tanks</a:t>
            </a:r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03400A5-E8DE-C1C6-AB71-FB55097492F2}"/>
              </a:ext>
            </a:extLst>
          </p:cNvPr>
          <p:cNvSpPr/>
          <p:nvPr/>
        </p:nvSpPr>
        <p:spPr>
          <a:xfrm>
            <a:off x="7227856" y="4226115"/>
            <a:ext cx="2064630" cy="2515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600" b="1" err="1">
                <a:solidFill>
                  <a:schemeClr val="bg1"/>
                </a:solidFill>
                <a:ea typeface="Calibri"/>
                <a:cs typeface="Calibri"/>
              </a:rPr>
              <a:t>Methanolsynthese</a:t>
            </a:r>
            <a:endParaRPr lang="de-DE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3A23B31-C85F-D54C-E408-FB1F5014B30E}"/>
              </a:ext>
            </a:extLst>
          </p:cNvPr>
          <p:cNvSpPr/>
          <p:nvPr/>
        </p:nvSpPr>
        <p:spPr>
          <a:xfrm>
            <a:off x="9162160" y="4706759"/>
            <a:ext cx="2064630" cy="2515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600" b="1">
                <a:solidFill>
                  <a:schemeClr val="bg1"/>
                </a:solidFill>
                <a:ea typeface="Calibri"/>
                <a:cs typeface="Calibri"/>
              </a:rPr>
              <a:t>Zugverladestatio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07879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12">
            <a:extLst>
              <a:ext uri="{FF2B5EF4-FFF2-40B4-BE49-F238E27FC236}">
                <a16:creationId xmlns:a16="http://schemas.microsoft.com/office/drawing/2014/main" id="{570B4BBC-052D-E874-60A5-1CF6C870355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" b="14"/>
          <a:stretch/>
        </p:blipFill>
        <p:spPr/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47932B6-C351-7046-3DB6-C58EA8DBBE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07D74C62-5BB8-2ACB-D645-BD10A8B4D6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Gehen wir gemeinsam </a:t>
            </a:r>
            <a:br>
              <a:rPr lang="de-DE"/>
            </a:br>
            <a:r>
              <a:rPr lang="de-DE"/>
              <a:t>eine Energie voraus.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0093ED1E-17ED-4C75-9D2C-4832CEFED9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NERTRAG | Gut Dauerthal | 17291 Dauerthal | +49 39854 6459-0</a:t>
            </a:r>
          </a:p>
          <a:p>
            <a:endParaRPr lang="de-DE" dirty="0"/>
          </a:p>
          <a:p>
            <a:r>
              <a:rPr lang="de-DE" dirty="0"/>
              <a:t>Christoph Menzel |Wilhelm-Külz-Straße 17 | 03046 Cottbus</a:t>
            </a:r>
          </a:p>
          <a:p>
            <a:r>
              <a:rPr lang="de-DE" dirty="0"/>
              <a:t>Mob. +49 172 7164335 | E </a:t>
            </a:r>
            <a:r>
              <a:rPr lang="de-DE" u="sng" dirty="0">
                <a:hlinkClick r:id="rId4"/>
              </a:rPr>
              <a:t>christoph.menzel@enertrag.com</a:t>
            </a:r>
            <a:endParaRPr lang="de-DE" dirty="0"/>
          </a:p>
          <a:p>
            <a:br>
              <a:rPr lang="de-DE" dirty="0"/>
            </a:br>
            <a:r>
              <a:rPr lang="de-DE" dirty="0"/>
              <a:t>enertrag@enertrag.com | </a:t>
            </a:r>
            <a:r>
              <a:rPr lang="de-DE" b="1" dirty="0"/>
              <a:t>enertrag.com</a:t>
            </a:r>
          </a:p>
        </p:txBody>
      </p:sp>
    </p:spTree>
    <p:extLst>
      <p:ext uri="{BB962C8B-B14F-4D97-AF65-F5344CB8AC3E}">
        <p14:creationId xmlns:p14="http://schemas.microsoft.com/office/powerpoint/2010/main" val="2655148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DHvA.dyKG4O3uLyHzs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lUnm2bBrmF3.XnAkVT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ENERTRAG 16x9 PP-Vorlage">
  <a:themeElements>
    <a:clrScheme name="enertrag_colors">
      <a:dk1>
        <a:srgbClr val="003056"/>
      </a:dk1>
      <a:lt1>
        <a:sysClr val="window" lastClr="FFFFFF"/>
      </a:lt1>
      <a:dk2>
        <a:srgbClr val="003056"/>
      </a:dk2>
      <a:lt2>
        <a:srgbClr val="F2F2F2"/>
      </a:lt2>
      <a:accent1>
        <a:srgbClr val="AA9C8F"/>
      </a:accent1>
      <a:accent2>
        <a:srgbClr val="FECB00"/>
      </a:accent2>
      <a:accent3>
        <a:srgbClr val="005A8B"/>
      </a:accent3>
      <a:accent4>
        <a:srgbClr val="00B1EB"/>
      </a:accent4>
      <a:accent5>
        <a:srgbClr val="3BAA35"/>
      </a:accent5>
      <a:accent6>
        <a:srgbClr val="969696"/>
      </a:accent6>
      <a:hlink>
        <a:srgbClr val="003056"/>
      </a:hlink>
      <a:folHlink>
        <a:srgbClr val="00305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25000"/>
          </a:lnSpc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2B675E9-D650-4EDE-BAF5-6D0F41DAB20E}" vid="{66C9A17E-A477-4CE3-A5EF-A00ED24F431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D6175074B34F7448FF7C63FEDEB611D" ma:contentTypeVersion="17" ma:contentTypeDescription="Ein neues Dokument erstellen." ma:contentTypeScope="" ma:versionID="b64f1465c89ab18d4e311c14d0c661ce">
  <xsd:schema xmlns:xsd="http://www.w3.org/2001/XMLSchema" xmlns:xs="http://www.w3.org/2001/XMLSchema" xmlns:p="http://schemas.microsoft.com/office/2006/metadata/properties" xmlns:ns2="9ee33273-d2ea-457c-baa9-ba9e1dcd931c" xmlns:ns3="000c9005-3f61-44f5-b7f2-fb46126b7690" targetNamespace="http://schemas.microsoft.com/office/2006/metadata/properties" ma:root="true" ma:fieldsID="20ead0af0e0d69444ee17fc97e2abf77" ns2:_="" ns3:_="">
    <xsd:import namespace="9ee33273-d2ea-457c-baa9-ba9e1dcd931c"/>
    <xsd:import namespace="000c9005-3f61-44f5-b7f2-fb46126b76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e33273-d2ea-457c-baa9-ba9e1dcd93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Bildmarkierungen" ma:readOnly="false" ma:fieldId="{5cf76f15-5ced-4ddc-b409-7134ff3c332f}" ma:taxonomyMulti="true" ma:sspId="eec5dd85-a86e-4f0b-b789-cd95bdd743d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0c9005-3f61-44f5-b7f2-fb46126b7690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957f2d72-d041-4e8b-8155-ddb21bc40dbb}" ma:internalName="TaxCatchAll" ma:showField="CatchAllData" ma:web="000c9005-3f61-44f5-b7f2-fb46126b76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00c9005-3f61-44f5-b7f2-fb46126b7690" xsi:nil="true"/>
    <lcf76f155ced4ddcb4097134ff3c332f xmlns="9ee33273-d2ea-457c-baa9-ba9e1dcd931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AE5AF15-A6F5-41EB-BFDA-4381B1AA6B91}"/>
</file>

<file path=customXml/itemProps2.xml><?xml version="1.0" encoding="utf-8"?>
<ds:datastoreItem xmlns:ds="http://schemas.openxmlformats.org/officeDocument/2006/customXml" ds:itemID="{033CB744-2778-4588-BB68-AE0539BFE82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BE8AC1-718C-435A-BCA8-0D9D7D1F3F1A}">
  <ds:schemaRefs>
    <ds:schemaRef ds:uri="http://schemas.microsoft.com/office/2006/metadata/properties"/>
    <ds:schemaRef ds:uri="http://schemas.microsoft.com/office/infopath/2007/PartnerControls"/>
    <ds:schemaRef ds:uri="6c80ace6-c338-465e-aee0-7f27426d7f15"/>
    <ds:schemaRef ds:uri="47f52787-17ec-47bd-a38d-5a320f470d32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5</Words>
  <Application>Microsoft Office PowerPoint</Application>
  <PresentationFormat>Breitbild</PresentationFormat>
  <Paragraphs>105</Paragraphs>
  <Slides>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Arial</vt:lpstr>
      <vt:lpstr>Calibri</vt:lpstr>
      <vt:lpstr>Dax Offc</vt:lpstr>
      <vt:lpstr>Verdana</vt:lpstr>
      <vt:lpstr>ENERTRAG 16x9 PP-Vorlage</vt:lpstr>
      <vt:lpstr>think-cell Slide</vt:lpstr>
      <vt:lpstr>PowerPoint-Präsentation</vt:lpstr>
      <vt:lpstr>Auf einen Blick </vt:lpstr>
      <vt:lpstr>Erneuerbare Energien Kraftwerksbetreiber</vt:lpstr>
      <vt:lpstr>ENERTRAG Verbundkraftwerk® Uckermark, 40 x 40 km</vt:lpstr>
      <vt:lpstr>GFL im Industriepark Schwarze Pumpe</vt:lpstr>
      <vt:lpstr>Wertschöpfungskette von „Green Fuels Lausitz(+)“ </vt:lpstr>
      <vt:lpstr>Standort im Industriepark Schwarze Pumpe</vt:lpstr>
      <vt:lpstr>Gehen wir gemeinsam  eine Energie voraus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n Fuels Lausitz: Projektübersicht</dc:title>
  <dc:creator>Christoph Menzel</dc:creator>
  <cp:lastModifiedBy>Christoph Menzel</cp:lastModifiedBy>
  <cp:revision>58</cp:revision>
  <dcterms:created xsi:type="dcterms:W3CDTF">2024-02-29T09:46:24Z</dcterms:created>
  <dcterms:modified xsi:type="dcterms:W3CDTF">2026-04-24T08:0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lpwstr>100.000000000000</vt:lpwstr>
  </property>
  <property fmtid="{D5CDD505-2E9C-101B-9397-08002B2CF9AE}" pid="3" name="ContentTypeId">
    <vt:lpwstr>0x0101008D6175074B34F7448FF7C63FEDEB611D</vt:lpwstr>
  </property>
  <property fmtid="{D5CDD505-2E9C-101B-9397-08002B2CF9AE}" pid="4" name="MediaServiceImageTags">
    <vt:lpwstr/>
  </property>
</Properties>
</file>